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0" r:id="rId5"/>
    <p:sldMasterId id="2147483678" r:id="rId6"/>
    <p:sldMasterId id="2147483684" r:id="rId7"/>
    <p:sldMasterId id="2147483692" r:id="rId8"/>
    <p:sldMasterId id="2147483700" r:id="rId9"/>
  </p:sldMasterIdLst>
  <p:notesMasterIdLst>
    <p:notesMasterId r:id="rId29"/>
  </p:notesMasterIdLst>
  <p:sldIdLst>
    <p:sldId id="2145707481" r:id="rId10"/>
    <p:sldId id="2145707482" r:id="rId11"/>
    <p:sldId id="2145707509" r:id="rId12"/>
    <p:sldId id="2145707510" r:id="rId13"/>
    <p:sldId id="3980" r:id="rId14"/>
    <p:sldId id="2145707511" r:id="rId15"/>
    <p:sldId id="1382" r:id="rId16"/>
    <p:sldId id="2145707489" r:id="rId17"/>
    <p:sldId id="1449" r:id="rId18"/>
    <p:sldId id="2145707495" r:id="rId19"/>
    <p:sldId id="2145707499" r:id="rId20"/>
    <p:sldId id="2145707502" r:id="rId21"/>
    <p:sldId id="2145707484" r:id="rId22"/>
    <p:sldId id="2145707485" r:id="rId23"/>
    <p:sldId id="2145707503" r:id="rId24"/>
    <p:sldId id="541" r:id="rId25"/>
    <p:sldId id="540" r:id="rId26"/>
    <p:sldId id="2145707508" r:id="rId27"/>
    <p:sldId id="2145707498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idah Asmall" initials="SA" lastIdx="1" clrIdx="0">
    <p:extLst>
      <p:ext uri="{19B8F6BF-5375-455C-9EA6-DF929625EA0E}">
        <p15:presenceInfo xmlns:p15="http://schemas.microsoft.com/office/powerpoint/2012/main" userId="cf12bfccdccb841f" providerId="Windows Live"/>
      </p:ext>
    </p:extLst>
  </p:cmAuthor>
  <p:cmAuthor id="2" name="Patrick Moonasar" initials="PM" lastIdx="18" clrIdx="1">
    <p:extLst>
      <p:ext uri="{19B8F6BF-5375-455C-9EA6-DF929625EA0E}">
        <p15:presenceInfo xmlns:p15="http://schemas.microsoft.com/office/powerpoint/2012/main" userId="S::Patrick.Moonasar@health.gov.za::b9e510db-db93-43f8-934a-a218bdb1aa7e" providerId="AD"/>
      </p:ext>
    </p:extLst>
  </p:cmAuthor>
  <p:cmAuthor id="3" name="Elizabeth Leonard" initials="EL" lastIdx="2" clrIdx="2">
    <p:extLst>
      <p:ext uri="{19B8F6BF-5375-455C-9EA6-DF929625EA0E}">
        <p15:presenceInfo xmlns:p15="http://schemas.microsoft.com/office/powerpoint/2012/main" userId="S::eleonard@clintonhealthaccess.org::f31b002c-22bb-4e4e-b016-18f9492fec42" providerId="AD"/>
      </p:ext>
    </p:extLst>
  </p:cmAuthor>
  <p:cmAuthor id="4" name="Dr Tshi Neluheni-Tshinaba" initials="DTN" lastIdx="10" clrIdx="3">
    <p:extLst>
      <p:ext uri="{19B8F6BF-5375-455C-9EA6-DF929625EA0E}">
        <p15:presenceInfo xmlns:p15="http://schemas.microsoft.com/office/powerpoint/2012/main" userId="S::tshi@ihps-sa.org::0d484bd6-c568-43b3-ac5e-b0254d2b8e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28"/>
    <a:srgbClr val="6699FF"/>
    <a:srgbClr val="5277FF"/>
    <a:srgbClr val="FFC000"/>
    <a:srgbClr val="FCAB26"/>
    <a:srgbClr val="D0016B"/>
    <a:srgbClr val="FF7C80"/>
    <a:srgbClr val="E7EAE8"/>
    <a:srgbClr val="C7B392"/>
    <a:srgbClr val="CCDF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87" autoAdjust="0"/>
    <p:restoredTop sz="93792" autoAdjust="0"/>
  </p:normalViewPr>
  <p:slideViewPr>
    <p:cSldViewPr snapToGrid="0">
      <p:cViewPr varScale="1">
        <p:scale>
          <a:sx n="73" d="100"/>
          <a:sy n="73" d="100"/>
        </p:scale>
        <p:origin x="546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commentAuthors" Target="commentAuthors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eryl.baxter\Documents\CAPRISA\Grants\COVID-19\COVID-19%20cases_15%20Ma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heryl.baxter\Documents\CAPRISA\Grants\COVID-19\COVID-19%20cases_15%20Ma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cheryl.baxter\Documents\CAPRISA\Grants\COVID-19\Provincial%20COVID-19%20data_5%20July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cheryl.baxter\Documents\CAPRISA\Grants\COVID-19\Provincial%20COVID-19%20data_5%20July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leonard\Box\COVID-19\2.%20Daily%20Minister's%20Reports\1.%20Minister's%20Report\May%202021\21%20May\21.05.2021_Consolidated%20COVID19%20Framework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21908170569596"/>
          <c:y val="0.13011624591494311"/>
          <c:w val="0.83583204826669388"/>
          <c:h val="0.79623429035158921"/>
        </c:manualLayout>
      </c:layout>
      <c:barChart>
        <c:barDir val="bar"/>
        <c:grouping val="clustered"/>
        <c:varyColors val="0"/>
        <c:ser>
          <c:idx val="0"/>
          <c:order val="0"/>
          <c:tx>
            <c:v>Proportion tests positive</c:v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master!$Q$9,master!$Q$16,master!$Q$23,master!$Q$30,master!$Q$37,master!$Q$44,master!$Q$51,master!$Q$58,master!$Q$65,master!$Q$72,master!$Q$79,master!$Q$86,master!$Q$93,master!$Q$100,master!$Q$107,master!$Q$114,master!$Q$121,master!$Q$128,master!$Q$135,master!$Q$142,master!$Q$149,master!$Q$156,master!$Q$163,master!$Q$170,master!$Q$177,master!$Q$184,master!$Q$191,master!$Q$198,master!$Q$205,master!$Q$212,master!$Q$219,master!$Q$226,master!$Q$233,master!$Q$240,master!$Q$247,master!$Q$254,master!$Q$261,master!$Q$268,master!$Q$275,master!$Q$282,master!$Q$289,master!$Q$296,master!$Q$303,master!$Q$310,master!$Q$317,master!$Q$324,master!$Q$331,master!$Q$338,master!$Q$345,master!$Q$352,master!$Q$359,master!$Q$366,master!$Q$373,master!$Q$380,master!$Q$387,master!$Q$394,master!$Q$401,master!$Q$408,master!$Q$415,master!$Q$422,master!$Q$429,master!$Q$436,master!$Q$443,master!$Q$450)</c:f>
              <c:strCache>
                <c:ptCount val="64"/>
                <c:pt idx="0">
                  <c:v>06 Mar - 12 Mar</c:v>
                </c:pt>
                <c:pt idx="1">
                  <c:v>13 Mar - 19 Mar</c:v>
                </c:pt>
                <c:pt idx="2">
                  <c:v>20 Mar - 26 Mar</c:v>
                </c:pt>
                <c:pt idx="3">
                  <c:v>27 Mar - 02 Apr</c:v>
                </c:pt>
                <c:pt idx="4">
                  <c:v>03 Apr - 09 Apr</c:v>
                </c:pt>
                <c:pt idx="5">
                  <c:v>10 Apr - 16 Apr</c:v>
                </c:pt>
                <c:pt idx="6">
                  <c:v>17 Apr - 23 Apr</c:v>
                </c:pt>
                <c:pt idx="7">
                  <c:v>24 Apr - 30 Apr</c:v>
                </c:pt>
                <c:pt idx="8">
                  <c:v>01 May - 07 May</c:v>
                </c:pt>
                <c:pt idx="9">
                  <c:v>08 May - 14 May</c:v>
                </c:pt>
                <c:pt idx="10">
                  <c:v>15 May - 21 May</c:v>
                </c:pt>
                <c:pt idx="11">
                  <c:v>22 May - 28 May</c:v>
                </c:pt>
                <c:pt idx="12">
                  <c:v>29 May - 04 Jun</c:v>
                </c:pt>
                <c:pt idx="13">
                  <c:v>05 Jun - 11 Jun</c:v>
                </c:pt>
                <c:pt idx="14">
                  <c:v>12 Jun - 18 Jun</c:v>
                </c:pt>
                <c:pt idx="15">
                  <c:v>19 Jun - 25 Jun</c:v>
                </c:pt>
                <c:pt idx="16">
                  <c:v>26 Jun- 02 Jul</c:v>
                </c:pt>
                <c:pt idx="17">
                  <c:v>03 Jul - 09 Jul</c:v>
                </c:pt>
                <c:pt idx="18">
                  <c:v>10 Jul - 16 Jul </c:v>
                </c:pt>
                <c:pt idx="19">
                  <c:v>17 Jul - 23 Jul</c:v>
                </c:pt>
                <c:pt idx="20">
                  <c:v>24  Jul - 30 Jul</c:v>
                </c:pt>
                <c:pt idx="21">
                  <c:v>31  Jul - 06 Aug</c:v>
                </c:pt>
                <c:pt idx="22">
                  <c:v>07 Aug - 13 Aug</c:v>
                </c:pt>
                <c:pt idx="23">
                  <c:v>14 Aug - 20 Aug</c:v>
                </c:pt>
                <c:pt idx="24">
                  <c:v>21 Aug - 27 Aug</c:v>
                </c:pt>
                <c:pt idx="25">
                  <c:v>28 Aug - 2 Sept</c:v>
                </c:pt>
                <c:pt idx="26">
                  <c:v>4 Sept - 10 Sept</c:v>
                </c:pt>
                <c:pt idx="27">
                  <c:v>11 Sept - 17 Sept</c:v>
                </c:pt>
                <c:pt idx="28">
                  <c:v>18 Sept - 24 Sept</c:v>
                </c:pt>
                <c:pt idx="29">
                  <c:v>25 Sept - 01 Oct</c:v>
                </c:pt>
                <c:pt idx="30">
                  <c:v>2 Oct - 8 Oct</c:v>
                </c:pt>
                <c:pt idx="31">
                  <c:v>9 Oct - 15 Oct</c:v>
                </c:pt>
                <c:pt idx="32">
                  <c:v>16 Oct - 22 Oct</c:v>
                </c:pt>
                <c:pt idx="33">
                  <c:v>23 Oct - 29 Oct</c:v>
                </c:pt>
                <c:pt idx="34">
                  <c:v>30 Oct - 5 Nov</c:v>
                </c:pt>
                <c:pt idx="35">
                  <c:v>6 Nov - 12 Nov</c:v>
                </c:pt>
                <c:pt idx="36">
                  <c:v>13 Nov - 19 Nov</c:v>
                </c:pt>
                <c:pt idx="37">
                  <c:v>20 Nov - 26 Nov</c:v>
                </c:pt>
                <c:pt idx="38">
                  <c:v>27 Nov - 03 Dec</c:v>
                </c:pt>
                <c:pt idx="39">
                  <c:v>04 Dec - 10 Dec</c:v>
                </c:pt>
                <c:pt idx="40">
                  <c:v>11 Dec - 17 Dec</c:v>
                </c:pt>
                <c:pt idx="41">
                  <c:v>18 Dec - 24 Dec</c:v>
                </c:pt>
                <c:pt idx="42">
                  <c:v>25 Dec - 31 Dec</c:v>
                </c:pt>
                <c:pt idx="43">
                  <c:v>01 Jan - 07 Jan</c:v>
                </c:pt>
                <c:pt idx="44">
                  <c:v>08 Jan - 14 Jan</c:v>
                </c:pt>
                <c:pt idx="45">
                  <c:v>15 Jan - 21 Jan</c:v>
                </c:pt>
                <c:pt idx="46">
                  <c:v>22 Jan - 28 Jan</c:v>
                </c:pt>
                <c:pt idx="47">
                  <c:v>29 Jan - 4 Feb</c:v>
                </c:pt>
                <c:pt idx="48">
                  <c:v>5 Feb - 11 Feb</c:v>
                </c:pt>
                <c:pt idx="49">
                  <c:v>12 Feb - 18 Feb</c:v>
                </c:pt>
                <c:pt idx="50">
                  <c:v>19 Feb - 25 Feb</c:v>
                </c:pt>
                <c:pt idx="51">
                  <c:v>26 Feb - 4 March</c:v>
                </c:pt>
                <c:pt idx="52">
                  <c:v>5 Mar - 11 March</c:v>
                </c:pt>
                <c:pt idx="53">
                  <c:v>12 Mar - 18 March</c:v>
                </c:pt>
                <c:pt idx="54">
                  <c:v>19 Mar - 25 March</c:v>
                </c:pt>
                <c:pt idx="55">
                  <c:v>26 Mar - 1 April</c:v>
                </c:pt>
                <c:pt idx="56">
                  <c:v>2 April - 8 April</c:v>
                </c:pt>
                <c:pt idx="57">
                  <c:v>9 April - 15 April</c:v>
                </c:pt>
                <c:pt idx="58">
                  <c:v>16 April - 22 April</c:v>
                </c:pt>
                <c:pt idx="59">
                  <c:v>23 April - 29 April</c:v>
                </c:pt>
                <c:pt idx="60">
                  <c:v>30 April - 6 May</c:v>
                </c:pt>
                <c:pt idx="61">
                  <c:v>7 May - 13 May</c:v>
                </c:pt>
                <c:pt idx="62">
                  <c:v>14 May - 20 May</c:v>
                </c:pt>
                <c:pt idx="63">
                  <c:v>21 May - 27 May</c:v>
                </c:pt>
              </c:strCache>
            </c:strRef>
          </c:cat>
          <c:val>
            <c:numRef>
              <c:f>(master!$AB$9,master!$AB$16,master!$AB$23,master!$AB$30,master!$AB$37,master!$AB$44,master!$AB$51,master!$AB$58,master!$AB$65,master!$AB$72,master!$AB$79,master!$AB$86,master!$AB$93,master!$AB$100,master!$AB$107,master!$AB$114,master!$AB$121,master!$AB$128,master!$AB$135,master!$AB$142,master!$AB$149,master!$AB$156,master!$AB$163,master!$AB$170,master!$AB$177,master!$AB$184,master!$AB$191,master!$AB$198,master!$AB$205,master!$AB$212,master!$AB$219,master!$AB$226,master!$AB$233,master!$AB$240,master!$AB$247,master!$AB$254,master!$AB$261,master!$AB$268,master!$AB$275,master!$AB$282,master!$AB$289,master!$AB$296,master!$AB$303,master!$AB$310,master!$AB$317,master!$AB$324,master!$AB$331,master!$AB$338,master!$AB$345,master!$AB$352,master!$AB$359,master!$AB$366,master!$AB$373,master!$AB$380,master!$AB$387,master!$AB$394,master!$AB$401,master!$AB$408,master!$AB$415,master!$AB$422,master!$AB$429,master!$AB$436,master!$AB$443,master!$AB$450)</c:f>
              <c:numCache>
                <c:formatCode>0.0%</c:formatCode>
                <c:ptCount val="64"/>
                <c:pt idx="0">
                  <c:v>2.2760539952658174E-2</c:v>
                </c:pt>
                <c:pt idx="1">
                  <c:v>7.9383324924783755E-2</c:v>
                </c:pt>
                <c:pt idx="2">
                  <c:v>4.7485265828359061E-2</c:v>
                </c:pt>
                <c:pt idx="3">
                  <c:v>1.6841811810319546E-2</c:v>
                </c:pt>
                <c:pt idx="4">
                  <c:v>2.3275641281483146E-2</c:v>
                </c:pt>
                <c:pt idx="5">
                  <c:v>2.5412964377645272E-2</c:v>
                </c:pt>
                <c:pt idx="6">
                  <c:v>2.7709527619973199E-2</c:v>
                </c:pt>
                <c:pt idx="7">
                  <c:v>2.6267146245895802E-2</c:v>
                </c:pt>
                <c:pt idx="8">
                  <c:v>3.0557577158615089E-2</c:v>
                </c:pt>
                <c:pt idx="9">
                  <c:v>4.0994506432117619E-2</c:v>
                </c:pt>
                <c:pt idx="10">
                  <c:v>5.2756520209460728E-2</c:v>
                </c:pt>
                <c:pt idx="11">
                  <c:v>6.5081187896758139E-2</c:v>
                </c:pt>
                <c:pt idx="12">
                  <c:v>8.0742766836366262E-2</c:v>
                </c:pt>
                <c:pt idx="13">
                  <c:v>8.7631726755577774E-2</c:v>
                </c:pt>
                <c:pt idx="14">
                  <c:v>0.12711488755967934</c:v>
                </c:pt>
                <c:pt idx="15">
                  <c:v>0.14925346424819211</c:v>
                </c:pt>
                <c:pt idx="16">
                  <c:v>0.20185504876768554</c:v>
                </c:pt>
                <c:pt idx="17">
                  <c:v>0.23913093943291303</c:v>
                </c:pt>
                <c:pt idx="18">
                  <c:v>0.26701100082228935</c:v>
                </c:pt>
                <c:pt idx="19">
                  <c:v>0.27243971536843969</c:v>
                </c:pt>
                <c:pt idx="20">
                  <c:v>0.25833480501941336</c:v>
                </c:pt>
                <c:pt idx="21">
                  <c:v>0.24062465692882937</c:v>
                </c:pt>
                <c:pt idx="22">
                  <c:v>0.20762048466261881</c:v>
                </c:pt>
                <c:pt idx="23">
                  <c:v>0.16318828824438805</c:v>
                </c:pt>
                <c:pt idx="24">
                  <c:v>0.134585518402284</c:v>
                </c:pt>
                <c:pt idx="25">
                  <c:v>0.11419646124753714</c:v>
                </c:pt>
                <c:pt idx="26">
                  <c:v>9.7766228295759983E-2</c:v>
                </c:pt>
                <c:pt idx="27">
                  <c:v>9.1508665450940344E-2</c:v>
                </c:pt>
                <c:pt idx="28">
                  <c:v>9.8348206197206287E-2</c:v>
                </c:pt>
                <c:pt idx="29">
                  <c:v>8.6037440126585332E-2</c:v>
                </c:pt>
                <c:pt idx="30">
                  <c:v>8.254114470487918E-2</c:v>
                </c:pt>
                <c:pt idx="31">
                  <c:v>7.96813635145599E-2</c:v>
                </c:pt>
                <c:pt idx="32">
                  <c:v>8.0655121754944881E-2</c:v>
                </c:pt>
                <c:pt idx="33">
                  <c:v>7.7848263942546195E-2</c:v>
                </c:pt>
                <c:pt idx="34">
                  <c:v>7.5992449369510315E-2</c:v>
                </c:pt>
                <c:pt idx="35">
                  <c:v>8.5806413998963341E-2</c:v>
                </c:pt>
                <c:pt idx="36">
                  <c:v>9.9212869552535332E-2</c:v>
                </c:pt>
                <c:pt idx="37">
                  <c:v>0.14769827186241377</c:v>
                </c:pt>
                <c:pt idx="38">
                  <c:v>0.11697383826331489</c:v>
                </c:pt>
                <c:pt idx="39">
                  <c:v>0.15376224465372632</c:v>
                </c:pt>
                <c:pt idx="40">
                  <c:v>0.20343725030176715</c:v>
                </c:pt>
                <c:pt idx="41">
                  <c:v>0.23963002952080514</c:v>
                </c:pt>
                <c:pt idx="42">
                  <c:v>0.31244722146150306</c:v>
                </c:pt>
                <c:pt idx="43">
                  <c:v>0.31855691590582269</c:v>
                </c:pt>
                <c:pt idx="44">
                  <c:v>0.2708742755311872</c:v>
                </c:pt>
                <c:pt idx="45">
                  <c:v>0.21715311901374115</c:v>
                </c:pt>
                <c:pt idx="46">
                  <c:v>0.16818449355298001</c:v>
                </c:pt>
                <c:pt idx="47">
                  <c:v>0.11759212510272479</c:v>
                </c:pt>
                <c:pt idx="48">
                  <c:v>8.7536358680933818E-2</c:v>
                </c:pt>
                <c:pt idx="49">
                  <c:v>6.8244959373596661E-2</c:v>
                </c:pt>
                <c:pt idx="50">
                  <c:v>5.3526482176426866E-2</c:v>
                </c:pt>
                <c:pt idx="51">
                  <c:v>4.7456465138605727E-2</c:v>
                </c:pt>
                <c:pt idx="52">
                  <c:v>4.2361688294592116E-2</c:v>
                </c:pt>
                <c:pt idx="53">
                  <c:v>4.4123984885036896E-2</c:v>
                </c:pt>
                <c:pt idx="54">
                  <c:v>4.4508028038634129E-2</c:v>
                </c:pt>
                <c:pt idx="55">
                  <c:v>4.1019149322599757E-2</c:v>
                </c:pt>
                <c:pt idx="56">
                  <c:v>3.8336085985780595E-2</c:v>
                </c:pt>
                <c:pt idx="57">
                  <c:v>3.9422398563522379E-2</c:v>
                </c:pt>
                <c:pt idx="58">
                  <c:v>4.7943545519189064E-2</c:v>
                </c:pt>
                <c:pt idx="59">
                  <c:v>4.7565008953622409E-2</c:v>
                </c:pt>
                <c:pt idx="60">
                  <c:v>6.0123305703382625E-2</c:v>
                </c:pt>
                <c:pt idx="61">
                  <c:v>7.1571998055137628E-2</c:v>
                </c:pt>
                <c:pt idx="62">
                  <c:v>9.8580655506851689E-2</c:v>
                </c:pt>
                <c:pt idx="63">
                  <c:v>0.10078722720465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98-49BD-9160-ED5AE4944E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70047232"/>
        <c:axId val="70048768"/>
      </c:barChart>
      <c:catAx>
        <c:axId val="7004723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one"/>
        <c:crossAx val="70048768"/>
        <c:crosses val="autoZero"/>
        <c:auto val="1"/>
        <c:lblAlgn val="ctr"/>
        <c:lblOffset val="100"/>
        <c:noMultiLvlLbl val="0"/>
      </c:catAx>
      <c:valAx>
        <c:axId val="7004876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 sz="1400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verage</a:t>
                </a:r>
                <a:r>
                  <a:rPr lang="en-ZA" sz="1400" b="1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eekly proportion of tests positive</a:t>
                </a:r>
                <a:endParaRPr lang="en-ZA" sz="1400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.0%" sourceLinked="1"/>
        <c:majorTickMark val="none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047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21908170569593"/>
          <c:y val="0.13568727655561164"/>
          <c:w val="0.83583204826669388"/>
          <c:h val="0.79066325971092033"/>
        </c:manualLayout>
      </c:layout>
      <c:barChart>
        <c:barDir val="bar"/>
        <c:grouping val="clustered"/>
        <c:varyColors val="0"/>
        <c:ser>
          <c:idx val="0"/>
          <c:order val="0"/>
          <c:tx>
            <c:v>total tests</c:v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2B5C-4B36-975A-6D3FCFFE6C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master!$Q$10,master!$Q$17,master!$Q$24,master!$Q$31,master!$Q$38,master!$Q$45,master!$Q$52,master!$Q$59,master!$Q$66,master!$Q$73,master!$Q$80,master!$Q$87,master!$Q$93,master!$Q$100,master!$Q$107,master!$Q$114,master!$Q$121,master!$Q$128,master!$Q$135,master!$Q$142,master!$Q$149,master!$Q$156,master!$Q$163,master!$Q$170,master!$Q$177,master!$Q$184,master!$Q$191,master!$Q$198,master!$Q$205,master!$Q$212,master!$Q$219,master!$Q$226,master!$Q$233,master!$Q$240,master!$Q$247,master!$Q$254,master!$Q$261,master!$Q$268,master!$Q$275,master!$Q$282,master!$Q$289,master!$Q$296,master!$Q$303,master!$Q$310,master!$Q$317,master!$Q$324,master!$Q$331,master!$Q$338,master!$Q$345,master!$Q$352,master!$Q$359,master!$Q$366,master!$Q$373,master!$Q$380,master!$Q$387,master!$Q$394,master!$Q$401,master!$Q$408,master!$Q$415,master!$Q$422,master!$Q$429,master!$Q$436,master!$Q$443,master!$Q$450)</c:f>
              <c:strCache>
                <c:ptCount val="64"/>
                <c:pt idx="0">
                  <c:v>07 Mar - 13 Mar</c:v>
                </c:pt>
                <c:pt idx="1">
                  <c:v>14 Mar - 20 Mar</c:v>
                </c:pt>
                <c:pt idx="2">
                  <c:v>21 Mar - 27 Mar</c:v>
                </c:pt>
                <c:pt idx="3">
                  <c:v>28 Mar - 03 Apr</c:v>
                </c:pt>
                <c:pt idx="4">
                  <c:v>04 Apr - 10 Apr</c:v>
                </c:pt>
                <c:pt idx="5">
                  <c:v>11 Apr - 17 Apr</c:v>
                </c:pt>
                <c:pt idx="6">
                  <c:v>18 Apr - 24 Apr</c:v>
                </c:pt>
                <c:pt idx="7">
                  <c:v>25 Apr - 1 May</c:v>
                </c:pt>
                <c:pt idx="8">
                  <c:v>02 May - 08 May</c:v>
                </c:pt>
                <c:pt idx="9">
                  <c:v>09 May - 15 May</c:v>
                </c:pt>
                <c:pt idx="10">
                  <c:v>16 May - 22 May</c:v>
                </c:pt>
                <c:pt idx="11">
                  <c:v>23 May - 28 May</c:v>
                </c:pt>
                <c:pt idx="12">
                  <c:v>29 May - 04 Jun</c:v>
                </c:pt>
                <c:pt idx="13">
                  <c:v>05 Jun - 11 Jun</c:v>
                </c:pt>
                <c:pt idx="14">
                  <c:v>12 Jun - 18 Jun</c:v>
                </c:pt>
                <c:pt idx="15">
                  <c:v>19 Jun - 25 Jun</c:v>
                </c:pt>
                <c:pt idx="16">
                  <c:v>26 Jun- 02 Jul</c:v>
                </c:pt>
                <c:pt idx="17">
                  <c:v>03 Jul - 09 Jul</c:v>
                </c:pt>
                <c:pt idx="18">
                  <c:v>10 Jul - 16 Jul </c:v>
                </c:pt>
                <c:pt idx="19">
                  <c:v>17 Jul - 23 Jul</c:v>
                </c:pt>
                <c:pt idx="20">
                  <c:v>24  Jul - 30 Jul</c:v>
                </c:pt>
                <c:pt idx="21">
                  <c:v>31  Jul - 06 Aug</c:v>
                </c:pt>
                <c:pt idx="22">
                  <c:v>07 Aug - 13 Aug</c:v>
                </c:pt>
                <c:pt idx="23">
                  <c:v>14 Aug - 20 Aug</c:v>
                </c:pt>
                <c:pt idx="24">
                  <c:v>21 Aug - 27 Aug</c:v>
                </c:pt>
                <c:pt idx="25">
                  <c:v>28 Aug - 2 Sept</c:v>
                </c:pt>
                <c:pt idx="26">
                  <c:v>4 Sept - 10 Sept</c:v>
                </c:pt>
                <c:pt idx="27">
                  <c:v>11 Sept - 17 Sept</c:v>
                </c:pt>
                <c:pt idx="28">
                  <c:v>18 Sept - 24 Sept</c:v>
                </c:pt>
                <c:pt idx="29">
                  <c:v>25 Sept - 01 Oct</c:v>
                </c:pt>
                <c:pt idx="30">
                  <c:v>2 Oct - 8 Oct</c:v>
                </c:pt>
                <c:pt idx="31">
                  <c:v>9 Oct - 15 Oct</c:v>
                </c:pt>
                <c:pt idx="32">
                  <c:v>16 Oct - 22 Oct</c:v>
                </c:pt>
                <c:pt idx="33">
                  <c:v>23 Oct - 29 Oct</c:v>
                </c:pt>
                <c:pt idx="34">
                  <c:v>30 Oct - 5 Nov</c:v>
                </c:pt>
                <c:pt idx="35">
                  <c:v>6 Nov - 12 Nov</c:v>
                </c:pt>
                <c:pt idx="36">
                  <c:v>13 Nov - 19 Nov</c:v>
                </c:pt>
                <c:pt idx="37">
                  <c:v>20 Nov - 26 Nov</c:v>
                </c:pt>
                <c:pt idx="38">
                  <c:v>27 Nov - 03 Dec</c:v>
                </c:pt>
                <c:pt idx="39">
                  <c:v>04 Dec - 10 Dec</c:v>
                </c:pt>
                <c:pt idx="40">
                  <c:v>11 Dec - 17 Dec</c:v>
                </c:pt>
                <c:pt idx="41">
                  <c:v>18 Dec - 24 Dec</c:v>
                </c:pt>
                <c:pt idx="42">
                  <c:v>25 Dec - 31 Dec</c:v>
                </c:pt>
                <c:pt idx="43">
                  <c:v>01 Jan - 07 Jan</c:v>
                </c:pt>
                <c:pt idx="44">
                  <c:v>08 Jan - 14 Jan</c:v>
                </c:pt>
                <c:pt idx="45">
                  <c:v>15 Jan - 21 Jan</c:v>
                </c:pt>
                <c:pt idx="46">
                  <c:v>22 Jan - 28 Jan</c:v>
                </c:pt>
                <c:pt idx="47">
                  <c:v>29 Jan - 4 Feb</c:v>
                </c:pt>
                <c:pt idx="48">
                  <c:v>5 Feb - 11 Feb</c:v>
                </c:pt>
                <c:pt idx="49">
                  <c:v>12 Feb - 18 Feb</c:v>
                </c:pt>
                <c:pt idx="50">
                  <c:v>19 Feb - 25 Feb</c:v>
                </c:pt>
                <c:pt idx="51">
                  <c:v>26 Feb - 4 March</c:v>
                </c:pt>
                <c:pt idx="52">
                  <c:v>5 Mar - 11 March</c:v>
                </c:pt>
                <c:pt idx="53">
                  <c:v>12 Mar - 18 March</c:v>
                </c:pt>
                <c:pt idx="54">
                  <c:v>19 Mar - 25 March</c:v>
                </c:pt>
                <c:pt idx="55">
                  <c:v>26 Mar - 1 April</c:v>
                </c:pt>
                <c:pt idx="56">
                  <c:v>2 April - 8 April</c:v>
                </c:pt>
                <c:pt idx="57">
                  <c:v>9 April - 15 April</c:v>
                </c:pt>
                <c:pt idx="58">
                  <c:v>16 April - 22 April</c:v>
                </c:pt>
                <c:pt idx="59">
                  <c:v>23 April - 29 April</c:v>
                </c:pt>
                <c:pt idx="60">
                  <c:v>30 April - 6 May</c:v>
                </c:pt>
                <c:pt idx="61">
                  <c:v>7 May - 13 May</c:v>
                </c:pt>
                <c:pt idx="62">
                  <c:v>14 May - 20 May</c:v>
                </c:pt>
                <c:pt idx="63">
                  <c:v>21 May - 27 May</c:v>
                </c:pt>
              </c:strCache>
            </c:strRef>
          </c:cat>
          <c:val>
            <c:numRef>
              <c:f>(master!$R$10,master!$R$17,master!$R$24,master!$R$31,master!$R$38,master!$R$45,master!$R$52,master!$R$59,master!$R$66,master!$R$73,master!$R$80,master!$R$87,master!$R$93,master!$R$100,master!$R$107,master!$R$114,master!$R$121,master!$R$128,master!$R$135,master!$R$142,master!$R$149,master!$R$156,master!$R$163,master!$R$170,master!$R$177,master!$R$184,master!$R$191,master!$R$198,master!$R$205,master!$R$212,master!$R$219,master!$R$226,master!$R$233,master!$R$240,master!$R$247,master!$R$254,master!$R$261,master!$R$268,master!$R$275,master!$R$282,master!$R$289,master!$R$296,master!$R$303,master!$R$310,master!$R$317,master!$R$324,master!$R$331,master!$R$338,master!$R$345,master!$R$352,master!$R$359,master!$R$366,master!$R$373,master!$R$380,master!$R$387,master!$R$394,master!$R$401,master!$R$408,master!$R$415,master!$R$422,master!$R$429,master!$R$436,master!$R$443,master!$R$450)</c:f>
              <c:numCache>
                <c:formatCode>0</c:formatCode>
                <c:ptCount val="64"/>
                <c:pt idx="0">
                  <c:v>103</c:v>
                </c:pt>
                <c:pt idx="1">
                  <c:v>788</c:v>
                </c:pt>
                <c:pt idx="2" formatCode="General">
                  <c:v>3157</c:v>
                </c:pt>
                <c:pt idx="3">
                  <c:v>3117.7142857142853</c:v>
                </c:pt>
                <c:pt idx="4">
                  <c:v>3238.1428571428569</c:v>
                </c:pt>
                <c:pt idx="5">
                  <c:v>3971.2857142857142</c:v>
                </c:pt>
                <c:pt idx="6">
                  <c:v>7366.1428571428569</c:v>
                </c:pt>
                <c:pt idx="7">
                  <c:v>9304.5714285714312</c:v>
                </c:pt>
                <c:pt idx="8">
                  <c:v>12890</c:v>
                </c:pt>
                <c:pt idx="9">
                  <c:v>16257.571428571431</c:v>
                </c:pt>
                <c:pt idx="10">
                  <c:v>17353.857142857138</c:v>
                </c:pt>
                <c:pt idx="11">
                  <c:v>22857.166666666664</c:v>
                </c:pt>
                <c:pt idx="12">
                  <c:v>23564.571428571424</c:v>
                </c:pt>
                <c:pt idx="13">
                  <c:v>29674.857142857138</c:v>
                </c:pt>
                <c:pt idx="14">
                  <c:v>28528.428571428572</c:v>
                </c:pt>
                <c:pt idx="15">
                  <c:v>33130.57142857142</c:v>
                </c:pt>
                <c:pt idx="16">
                  <c:v>35159.28571428571</c:v>
                </c:pt>
                <c:pt idx="17">
                  <c:v>42063.14285714287</c:v>
                </c:pt>
                <c:pt idx="18">
                  <c:v>46336.28571428571</c:v>
                </c:pt>
                <c:pt idx="19">
                  <c:v>43883.28571428571</c:v>
                </c:pt>
                <c:pt idx="20">
                  <c:v>40849</c:v>
                </c:pt>
                <c:pt idx="21">
                  <c:v>33108.28571428571</c:v>
                </c:pt>
                <c:pt idx="22">
                  <c:v>23670</c:v>
                </c:pt>
                <c:pt idx="23">
                  <c:v>23540.857142857138</c:v>
                </c:pt>
                <c:pt idx="24">
                  <c:v>19671.285714285717</c:v>
                </c:pt>
                <c:pt idx="25">
                  <c:v>18445.571428571424</c:v>
                </c:pt>
                <c:pt idx="26">
                  <c:v>16621.714285714294</c:v>
                </c:pt>
                <c:pt idx="27">
                  <c:v>17154.285714285717</c:v>
                </c:pt>
                <c:pt idx="28">
                  <c:v>16947</c:v>
                </c:pt>
                <c:pt idx="29">
                  <c:v>15269.571428571431</c:v>
                </c:pt>
                <c:pt idx="30">
                  <c:v>18662.428571428572</c:v>
                </c:pt>
                <c:pt idx="31">
                  <c:v>20238.285714285717</c:v>
                </c:pt>
                <c:pt idx="32">
                  <c:v>21759.571428571424</c:v>
                </c:pt>
                <c:pt idx="33">
                  <c:v>20562.571428571424</c:v>
                </c:pt>
                <c:pt idx="34">
                  <c:v>20002.285714285717</c:v>
                </c:pt>
                <c:pt idx="35">
                  <c:v>20833.142857142859</c:v>
                </c:pt>
                <c:pt idx="36">
                  <c:v>21511.285714285717</c:v>
                </c:pt>
                <c:pt idx="37">
                  <c:v>21291.714285714294</c:v>
                </c:pt>
                <c:pt idx="38">
                  <c:v>27228.571428571424</c:v>
                </c:pt>
                <c:pt idx="39">
                  <c:v>33543</c:v>
                </c:pt>
                <c:pt idx="40">
                  <c:v>39395</c:v>
                </c:pt>
                <c:pt idx="41">
                  <c:v>44935.57142857142</c:v>
                </c:pt>
                <c:pt idx="42">
                  <c:v>40489.14285714287</c:v>
                </c:pt>
                <c:pt idx="43">
                  <c:v>51181.428571428587</c:v>
                </c:pt>
                <c:pt idx="44">
                  <c:v>66584.714285714275</c:v>
                </c:pt>
                <c:pt idx="45">
                  <c:v>55291.714285714275</c:v>
                </c:pt>
                <c:pt idx="46">
                  <c:v>47946.57142857142</c:v>
                </c:pt>
                <c:pt idx="47">
                  <c:v>34868.57142857142</c:v>
                </c:pt>
                <c:pt idx="48">
                  <c:v>29344.285714285717</c:v>
                </c:pt>
                <c:pt idx="49">
                  <c:v>28795.714285714294</c:v>
                </c:pt>
                <c:pt idx="50">
                  <c:v>27431.857142857138</c:v>
                </c:pt>
                <c:pt idx="51">
                  <c:v>25571.571428571424</c:v>
                </c:pt>
                <c:pt idx="52">
                  <c:v>27324.428571428572</c:v>
                </c:pt>
                <c:pt idx="53">
                  <c:v>26687.142857142859</c:v>
                </c:pt>
                <c:pt idx="54">
                  <c:v>23773.857142857138</c:v>
                </c:pt>
                <c:pt idx="55">
                  <c:v>27036</c:v>
                </c:pt>
                <c:pt idx="56">
                  <c:v>20546.571428571424</c:v>
                </c:pt>
                <c:pt idx="57">
                  <c:v>29109.285714285717</c:v>
                </c:pt>
                <c:pt idx="58">
                  <c:v>26858.428571428572</c:v>
                </c:pt>
                <c:pt idx="59">
                  <c:v>25336.714285714294</c:v>
                </c:pt>
                <c:pt idx="60">
                  <c:v>25824.857142857138</c:v>
                </c:pt>
                <c:pt idx="61">
                  <c:v>29313.571428571424</c:v>
                </c:pt>
                <c:pt idx="62">
                  <c:v>33702.57142857142</c:v>
                </c:pt>
                <c:pt idx="63">
                  <c:v>355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0A-4A61-8D84-06E2A93D99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70202496"/>
        <c:axId val="70204032"/>
      </c:barChart>
      <c:catAx>
        <c:axId val="7020249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204032"/>
        <c:crosses val="autoZero"/>
        <c:auto val="1"/>
        <c:lblAlgn val="ctr"/>
        <c:lblOffset val="100"/>
        <c:noMultiLvlLbl val="0"/>
      </c:catAx>
      <c:valAx>
        <c:axId val="70204032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ZA" sz="1400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verage daily number of tests each week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202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647861773591085"/>
          <c:y val="8.0221558512082569E-2"/>
          <c:w val="0.75958879776897981"/>
          <c:h val="0.79639689866352925"/>
        </c:manualLayout>
      </c:layout>
      <c:lineChart>
        <c:grouping val="standard"/>
        <c:varyColors val="0"/>
        <c:ser>
          <c:idx val="2"/>
          <c:order val="0"/>
          <c:tx>
            <c:v>KwaZulu-Natal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277"/>
              <c:layout>
                <c:manualLayout>
                  <c:x val="8.3489957774612517E-2"/>
                  <c:y val="-0.2663051011305439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accent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89908C70-B44B-456E-AE31-44C350FCE482}" type="SERIESNAME">
                      <a:rPr lang="en-US" sz="1200"/>
                      <a:pPr>
                        <a:defRPr sz="1050" b="1" i="0" u="none" strike="noStrike" kern="1200" baseline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SERIES NAME]</a:t>
                    </a:fld>
                    <a:endParaRPr lang="en-ZA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Q$5:$CQ$451</c:f>
              <c:numCache>
                <c:formatCode>General</c:formatCode>
                <c:ptCount val="447"/>
                <c:pt idx="3" formatCode="0.0">
                  <c:v>1.2654543613884565E-2</c:v>
                </c:pt>
                <c:pt idx="4" formatCode="0.0">
                  <c:v>1.2654543613884562E-2</c:v>
                </c:pt>
                <c:pt idx="5" formatCode="0.0">
                  <c:v>1.3919997975273017E-2</c:v>
                </c:pt>
                <c:pt idx="6" formatCode="0.0">
                  <c:v>1.2654543613884565E-2</c:v>
                </c:pt>
                <c:pt idx="7" formatCode="0.0">
                  <c:v>1.2654543613884565E-2</c:v>
                </c:pt>
                <c:pt idx="8" formatCode="0.0">
                  <c:v>1.5185452336661482E-2</c:v>
                </c:pt>
                <c:pt idx="9" formatCode="0.0">
                  <c:v>1.7716361059438395E-2</c:v>
                </c:pt>
                <c:pt idx="10" formatCode="0.0">
                  <c:v>1.6450906698049935E-2</c:v>
                </c:pt>
                <c:pt idx="11" formatCode="0.0">
                  <c:v>1.8981815420826852E-2</c:v>
                </c:pt>
                <c:pt idx="12" formatCode="0.0">
                  <c:v>2.9105450311934504E-2</c:v>
                </c:pt>
                <c:pt idx="13" formatCode="0.0">
                  <c:v>6.0741809346645907E-2</c:v>
                </c:pt>
                <c:pt idx="14" formatCode="0.0">
                  <c:v>8.0989079128861233E-2</c:v>
                </c:pt>
                <c:pt idx="15" formatCode="0.0">
                  <c:v>9.111271401996883E-2</c:v>
                </c:pt>
                <c:pt idx="16" formatCode="0.0">
                  <c:v>0.14173088847550716</c:v>
                </c:pt>
                <c:pt idx="17" formatCode="0.0">
                  <c:v>0.15438543208939176</c:v>
                </c:pt>
                <c:pt idx="18" formatCode="0.0">
                  <c:v>0.16450906698049939</c:v>
                </c:pt>
                <c:pt idx="19" formatCode="0.0">
                  <c:v>0.16703997570327628</c:v>
                </c:pt>
                <c:pt idx="20" formatCode="0.0">
                  <c:v>0.14046543411411874</c:v>
                </c:pt>
                <c:pt idx="21" formatCode="0.0">
                  <c:v>0.12527998177745722</c:v>
                </c:pt>
                <c:pt idx="22" formatCode="0.0">
                  <c:v>0.12021816433190338</c:v>
                </c:pt>
                <c:pt idx="23" formatCode="0.0">
                  <c:v>9.1112714019968857E-2</c:v>
                </c:pt>
                <c:pt idx="24" formatCode="0.0">
                  <c:v>8.8581805297191979E-2</c:v>
                </c:pt>
                <c:pt idx="25" formatCode="0.0">
                  <c:v>9.6174531465522697E-2</c:v>
                </c:pt>
                <c:pt idx="26" formatCode="0.0">
                  <c:v>9.9970894549688091E-2</c:v>
                </c:pt>
                <c:pt idx="27" formatCode="0.0">
                  <c:v>0.10882907507940727</c:v>
                </c:pt>
                <c:pt idx="28" formatCode="0.0">
                  <c:v>0.1594472495349456</c:v>
                </c:pt>
                <c:pt idx="29" formatCode="0.0">
                  <c:v>0.21259633271326075</c:v>
                </c:pt>
                <c:pt idx="30" formatCode="0.0">
                  <c:v>0.22904723941131069</c:v>
                </c:pt>
                <c:pt idx="31" formatCode="0.0">
                  <c:v>0.24929450919352594</c:v>
                </c:pt>
                <c:pt idx="32" formatCode="0.0">
                  <c:v>0.23537451121825284</c:v>
                </c:pt>
                <c:pt idx="33" formatCode="0.0">
                  <c:v>0.249294509193526</c:v>
                </c:pt>
                <c:pt idx="34" formatCode="0.0">
                  <c:v>0.26321450716879896</c:v>
                </c:pt>
                <c:pt idx="35" formatCode="0.0">
                  <c:v>0.23284360249547606</c:v>
                </c:pt>
                <c:pt idx="36" formatCode="0.0">
                  <c:v>0.20879996962909536</c:v>
                </c:pt>
                <c:pt idx="37" formatCode="0.0">
                  <c:v>0.19234906293104539</c:v>
                </c:pt>
                <c:pt idx="38" formatCode="0.0">
                  <c:v>0.22651633068853377</c:v>
                </c:pt>
                <c:pt idx="39" formatCode="0.0">
                  <c:v>0.23537451121825284</c:v>
                </c:pt>
                <c:pt idx="40" formatCode="0.0">
                  <c:v>0.2201890588815914</c:v>
                </c:pt>
                <c:pt idx="41" formatCode="0.0">
                  <c:v>0.2201890588815914</c:v>
                </c:pt>
                <c:pt idx="42" formatCode="0.0">
                  <c:v>0.23031269377269908</c:v>
                </c:pt>
                <c:pt idx="43" formatCode="0.0">
                  <c:v>0.30244359237184121</c:v>
                </c:pt>
                <c:pt idx="44" formatCode="0.0">
                  <c:v>0.33914176885210645</c:v>
                </c:pt>
                <c:pt idx="45" formatCode="0.0">
                  <c:v>0.31636359034711425</c:v>
                </c:pt>
                <c:pt idx="46" formatCode="0.0">
                  <c:v>0.30750540981739505</c:v>
                </c:pt>
                <c:pt idx="47" formatCode="0.0">
                  <c:v>0.31130177290156041</c:v>
                </c:pt>
                <c:pt idx="48" formatCode="0.0">
                  <c:v>0.33281449704516419</c:v>
                </c:pt>
                <c:pt idx="49" formatCode="0.0">
                  <c:v>0.31383268162433736</c:v>
                </c:pt>
                <c:pt idx="50" formatCode="0.0">
                  <c:v>0.25055996355491444</c:v>
                </c:pt>
                <c:pt idx="51" formatCode="0.0">
                  <c:v>0.21892360452020301</c:v>
                </c:pt>
                <c:pt idx="52" formatCode="0.0">
                  <c:v>0.20879996962909536</c:v>
                </c:pt>
                <c:pt idx="53" formatCode="0.0">
                  <c:v>0.25815268972324523</c:v>
                </c:pt>
                <c:pt idx="54" formatCode="0.0">
                  <c:v>0.26954177897574133</c:v>
                </c:pt>
                <c:pt idx="55" formatCode="0.0">
                  <c:v>0.25815268972324518</c:v>
                </c:pt>
                <c:pt idx="56" formatCode="0.0">
                  <c:v>0.28219632258962585</c:v>
                </c:pt>
                <c:pt idx="57" formatCode="0.0">
                  <c:v>0.29485086620351042</c:v>
                </c:pt>
                <c:pt idx="58" formatCode="0.0">
                  <c:v>0.28346177695101432</c:v>
                </c:pt>
                <c:pt idx="59" formatCode="0.0">
                  <c:v>0.31256722726294889</c:v>
                </c:pt>
                <c:pt idx="60" formatCode="0.0">
                  <c:v>0.3252217708768334</c:v>
                </c:pt>
                <c:pt idx="61" formatCode="0.0">
                  <c:v>0.35053085810460255</c:v>
                </c:pt>
                <c:pt idx="62" formatCode="0.0">
                  <c:v>0.33661086012932956</c:v>
                </c:pt>
                <c:pt idx="63" formatCode="0.0">
                  <c:v>0.3188944990698912</c:v>
                </c:pt>
                <c:pt idx="64" formatCode="0.0">
                  <c:v>0.28346177695101432</c:v>
                </c:pt>
                <c:pt idx="65" formatCode="0.0">
                  <c:v>0.30370904673322952</c:v>
                </c:pt>
                <c:pt idx="66" formatCode="0.0">
                  <c:v>0.28978904875795652</c:v>
                </c:pt>
                <c:pt idx="67" formatCode="0.0">
                  <c:v>0.24043632866380674</c:v>
                </c:pt>
                <c:pt idx="68" formatCode="0.0">
                  <c:v>0.24043632866380674</c:v>
                </c:pt>
                <c:pt idx="69" formatCode="0.0">
                  <c:v>0.24676360047074905</c:v>
                </c:pt>
                <c:pt idx="70" formatCode="0.0">
                  <c:v>0.28093086822823737</c:v>
                </c:pt>
                <c:pt idx="71" formatCode="0.0">
                  <c:v>0.29991268364906443</c:v>
                </c:pt>
                <c:pt idx="72" formatCode="0.0">
                  <c:v>0.31509813598572572</c:v>
                </c:pt>
                <c:pt idx="73" formatCode="0.0">
                  <c:v>0.30750540981739499</c:v>
                </c:pt>
                <c:pt idx="74" formatCode="0.0">
                  <c:v>0.35306176682737939</c:v>
                </c:pt>
                <c:pt idx="75" formatCode="0.0">
                  <c:v>0.34420358629766024</c:v>
                </c:pt>
                <c:pt idx="76" formatCode="0.0">
                  <c:v>0.39861812383736389</c:v>
                </c:pt>
                <c:pt idx="77" formatCode="0.0">
                  <c:v>0.39355630639181011</c:v>
                </c:pt>
                <c:pt idx="78" formatCode="0.0">
                  <c:v>0.67828353770421279</c:v>
                </c:pt>
                <c:pt idx="79" formatCode="0.0">
                  <c:v>0.83013806107082744</c:v>
                </c:pt>
                <c:pt idx="80" formatCode="0.0">
                  <c:v>0.88961441605608504</c:v>
                </c:pt>
                <c:pt idx="81" formatCode="0.0">
                  <c:v>0.88455259861053093</c:v>
                </c:pt>
                <c:pt idx="82" formatCode="0.0">
                  <c:v>0.9237816838135734</c:v>
                </c:pt>
                <c:pt idx="83" formatCode="0.0">
                  <c:v>0.86430532882831568</c:v>
                </c:pt>
                <c:pt idx="84" formatCode="0.0">
                  <c:v>0.89847259658580403</c:v>
                </c:pt>
                <c:pt idx="85" formatCode="0.0">
                  <c:v>0.65930172228338602</c:v>
                </c:pt>
                <c:pt idx="86" formatCode="0.0">
                  <c:v>0.65803626792199743</c:v>
                </c:pt>
                <c:pt idx="87" formatCode="0.0">
                  <c:v>0.64285081558533619</c:v>
                </c:pt>
                <c:pt idx="88" formatCode="0.0">
                  <c:v>0.68334535514976658</c:v>
                </c:pt>
                <c:pt idx="89" formatCode="0.0">
                  <c:v>0.70485807929337041</c:v>
                </c:pt>
                <c:pt idx="90" formatCode="0.0">
                  <c:v>0.77192716044695842</c:v>
                </c:pt>
                <c:pt idx="91" formatCode="0.0">
                  <c:v>0.7820507953380661</c:v>
                </c:pt>
                <c:pt idx="92" formatCode="0.0">
                  <c:v>0.80989079128861219</c:v>
                </c:pt>
                <c:pt idx="93" formatCode="0.0">
                  <c:v>0.7630689799172391</c:v>
                </c:pt>
                <c:pt idx="94" formatCode="0.0">
                  <c:v>0.80609442820444699</c:v>
                </c:pt>
                <c:pt idx="95" formatCode="0.0">
                  <c:v>0.94529440795717712</c:v>
                </c:pt>
                <c:pt idx="96" formatCode="0.0">
                  <c:v>0.97693076699188852</c:v>
                </c:pt>
                <c:pt idx="97" formatCode="0.0">
                  <c:v>0.99211621932854999</c:v>
                </c:pt>
                <c:pt idx="98" formatCode="0.0">
                  <c:v>1.0035053085810459</c:v>
                </c:pt>
                <c:pt idx="99" formatCode="0.0">
                  <c:v>1.1275198359971148</c:v>
                </c:pt>
                <c:pt idx="100" formatCode="0.0">
                  <c:v>1.1237234729129493</c:v>
                </c:pt>
                <c:pt idx="101" formatCode="0.0">
                  <c:v>1.2338180023537451</c:v>
                </c:pt>
                <c:pt idx="102" formatCode="0.0">
                  <c:v>1.3198688989281597</c:v>
                </c:pt>
                <c:pt idx="103" formatCode="0.0">
                  <c:v>1.4628652417650556</c:v>
                </c:pt>
                <c:pt idx="104" formatCode="0.0">
                  <c:v>1.6691343026713741</c:v>
                </c:pt>
                <c:pt idx="105" formatCode="0.0">
                  <c:v>1.9956215279095957</c:v>
                </c:pt>
                <c:pt idx="106" formatCode="0.0">
                  <c:v>2.3246396618705951</c:v>
                </c:pt>
                <c:pt idx="107" formatCode="0.0">
                  <c:v>2.8219632258962579</c:v>
                </c:pt>
                <c:pt idx="108" formatCode="0.0">
                  <c:v>3.2167849866494556</c:v>
                </c:pt>
                <c:pt idx="109" formatCode="0.0">
                  <c:v>3.7710539969375998</c:v>
                </c:pt>
                <c:pt idx="110" formatCode="0.0">
                  <c:v>4.3063411918049193</c:v>
                </c:pt>
                <c:pt idx="111" formatCode="0.0">
                  <c:v>4.761904761904761</c:v>
                </c:pt>
                <c:pt idx="112" formatCode="0.0">
                  <c:v>5.1238247092618607</c:v>
                </c:pt>
                <c:pt idx="113" formatCode="0.0">
                  <c:v>5.7666755248471961</c:v>
                </c:pt>
                <c:pt idx="114" formatCode="0.0">
                  <c:v>6.4272427014919709</c:v>
                </c:pt>
                <c:pt idx="115" formatCode="0.0">
                  <c:v>7.1713298659883833</c:v>
                </c:pt>
                <c:pt idx="116" formatCode="0.0">
                  <c:v>7.8432861318856526</c:v>
                </c:pt>
                <c:pt idx="117" formatCode="0.0">
                  <c:v>8.4949951280007081</c:v>
                </c:pt>
                <c:pt idx="118" formatCode="0.0">
                  <c:v>8.5772496614909581</c:v>
                </c:pt>
                <c:pt idx="119" formatCode="0.0">
                  <c:v>8.9454968806550035</c:v>
                </c:pt>
                <c:pt idx="120" formatCode="0.0">
                  <c:v>9.275780468977386</c:v>
                </c:pt>
                <c:pt idx="121" formatCode="0.0">
                  <c:v>10.0742821710135</c:v>
                </c:pt>
                <c:pt idx="122" formatCode="0.0">
                  <c:v>10.919605684420992</c:v>
                </c:pt>
                <c:pt idx="123" formatCode="0.0">
                  <c:v>12.362223656403833</c:v>
                </c:pt>
                <c:pt idx="124" formatCode="0.0">
                  <c:v>13.193627171836047</c:v>
                </c:pt>
                <c:pt idx="125" formatCode="0.0">
                  <c:v>14.638776052541663</c:v>
                </c:pt>
                <c:pt idx="126" formatCode="0.0">
                  <c:v>17.518950179061793</c:v>
                </c:pt>
                <c:pt idx="127" formatCode="0.0">
                  <c:v>18.952709970514906</c:v>
                </c:pt>
                <c:pt idx="128" formatCode="0.0">
                  <c:v>20.214367968819207</c:v>
                </c:pt>
                <c:pt idx="129" formatCode="0.0">
                  <c:v>20.672462447641824</c:v>
                </c:pt>
                <c:pt idx="130" formatCode="0.0">
                  <c:v>20.668666084557657</c:v>
                </c:pt>
                <c:pt idx="131" formatCode="0.0">
                  <c:v>22.326411297976534</c:v>
                </c:pt>
                <c:pt idx="132" formatCode="0.0">
                  <c:v>23.065436645027386</c:v>
                </c:pt>
                <c:pt idx="133" formatCode="0.0">
                  <c:v>21.636738671019828</c:v>
                </c:pt>
                <c:pt idx="134" formatCode="0.0">
                  <c:v>22.249218581931835</c:v>
                </c:pt>
                <c:pt idx="135" formatCode="0.0">
                  <c:v>22.527618541437299</c:v>
                </c:pt>
                <c:pt idx="136" formatCode="0.0">
                  <c:v>24.600432785391593</c:v>
                </c:pt>
                <c:pt idx="137" formatCode="0.0">
                  <c:v>25.87347987294838</c:v>
                </c:pt>
                <c:pt idx="138" formatCode="0.0">
                  <c:v>26.379661617503764</c:v>
                </c:pt>
                <c:pt idx="139" formatCode="0.0">
                  <c:v>25.774774432760086</c:v>
                </c:pt>
                <c:pt idx="140" formatCode="0.0">
                  <c:v>25.835516242106724</c:v>
                </c:pt>
                <c:pt idx="141" formatCode="0.0">
                  <c:v>26.218948913607431</c:v>
                </c:pt>
                <c:pt idx="142" formatCode="0.0">
                  <c:v>25.958265315161409</c:v>
                </c:pt>
                <c:pt idx="143" formatCode="0.0">
                  <c:v>24.732040038975985</c:v>
                </c:pt>
                <c:pt idx="144" formatCode="0.0">
                  <c:v>24.138541943484807</c:v>
                </c:pt>
                <c:pt idx="145" formatCode="0.0">
                  <c:v>23.080622097364049</c:v>
                </c:pt>
                <c:pt idx="146" formatCode="0.0">
                  <c:v>23.257785707958448</c:v>
                </c:pt>
                <c:pt idx="147" formatCode="0.0">
                  <c:v>22.632651253432552</c:v>
                </c:pt>
                <c:pt idx="148" formatCode="0.0">
                  <c:v>20.953393315870066</c:v>
                </c:pt>
                <c:pt idx="149" formatCode="0.0">
                  <c:v>20.495298837047439</c:v>
                </c:pt>
                <c:pt idx="150" formatCode="0.0">
                  <c:v>20.42190248408691</c:v>
                </c:pt>
                <c:pt idx="151" formatCode="0.0">
                  <c:v>20.299153411032233</c:v>
                </c:pt>
                <c:pt idx="152" formatCode="0.0">
                  <c:v>19.953684370373178</c:v>
                </c:pt>
                <c:pt idx="153" formatCode="0.0">
                  <c:v>19.013451779861565</c:v>
                </c:pt>
                <c:pt idx="154" formatCode="0.0">
                  <c:v>18.359211875023725</c:v>
                </c:pt>
                <c:pt idx="155" formatCode="0.0">
                  <c:v>17.337990205383242</c:v>
                </c:pt>
                <c:pt idx="156" formatCode="0.0">
                  <c:v>15.334775951305319</c:v>
                </c:pt>
                <c:pt idx="157" formatCode="0.0">
                  <c:v>13.793452539134179</c:v>
                </c:pt>
                <c:pt idx="158" formatCode="0.0">
                  <c:v>11.352391076015845</c:v>
                </c:pt>
                <c:pt idx="159" formatCode="0.0">
                  <c:v>9.2567986535565581</c:v>
                </c:pt>
                <c:pt idx="160" formatCode="0.0">
                  <c:v>8.4165369575946265</c:v>
                </c:pt>
                <c:pt idx="161" formatCode="0.0">
                  <c:v>7.6825734279893201</c:v>
                </c:pt>
                <c:pt idx="162" formatCode="0.0">
                  <c:v>7.3042025739341714</c:v>
                </c:pt>
                <c:pt idx="163" formatCode="0.0">
                  <c:v>7.3991116510383055</c:v>
                </c:pt>
                <c:pt idx="164" formatCode="0.0">
                  <c:v>6.3829517988433757</c:v>
                </c:pt>
                <c:pt idx="165" formatCode="0.0">
                  <c:v>5.9640864052237959</c:v>
                </c:pt>
                <c:pt idx="166" formatCode="0.0">
                  <c:v>5.6413955430697396</c:v>
                </c:pt>
                <c:pt idx="167" formatCode="0.0">
                  <c:v>5.1440719790440745</c:v>
                </c:pt>
                <c:pt idx="168" formatCode="0.0">
                  <c:v>5.0061374536527339</c:v>
                </c:pt>
                <c:pt idx="169" formatCode="0.0">
                  <c:v>4.840362932310847</c:v>
                </c:pt>
                <c:pt idx="170" formatCode="0.0">
                  <c:v>4.4354175366665389</c:v>
                </c:pt>
                <c:pt idx="171" formatCode="0.0">
                  <c:v>3.8912721612695034</c:v>
                </c:pt>
                <c:pt idx="172" formatCode="0.0">
                  <c:v>3.7444794553484431</c:v>
                </c:pt>
                <c:pt idx="173" formatCode="0.0">
                  <c:v>3.6508358326056971</c:v>
                </c:pt>
                <c:pt idx="174" formatCode="0.0">
                  <c:v>3.6748794654720776</c:v>
                </c:pt>
                <c:pt idx="175" formatCode="0.0">
                  <c:v>3.436974045531048</c:v>
                </c:pt>
                <c:pt idx="176" formatCode="0.0">
                  <c:v>3.2458904369613912</c:v>
                </c:pt>
                <c:pt idx="177" formatCode="0.0">
                  <c:v>3.0990977310403305</c:v>
                </c:pt>
                <c:pt idx="178" formatCode="0.0">
                  <c:v>3.1598395403869763</c:v>
                </c:pt>
                <c:pt idx="179" formatCode="0.0">
                  <c:v>2.980145021069815</c:v>
                </c:pt>
                <c:pt idx="180" formatCode="0.0">
                  <c:v>2.6549232501929834</c:v>
                </c:pt>
                <c:pt idx="181" formatCode="0.0">
                  <c:v>2.4018323779152908</c:v>
                </c:pt>
                <c:pt idx="182" formatCode="0.0">
                  <c:v>2.3334978424003143</c:v>
                </c:pt>
                <c:pt idx="183" formatCode="0.0">
                  <c:v>2.165192412335649</c:v>
                </c:pt>
                <c:pt idx="184" formatCode="0.0">
                  <c:v>2.0550978828948532</c:v>
                </c:pt>
                <c:pt idx="185" formatCode="0.0">
                  <c:v>1.9981524366323731</c:v>
                </c:pt>
                <c:pt idx="186" formatCode="0.0">
                  <c:v>1.9247560836718427</c:v>
                </c:pt>
                <c:pt idx="187" formatCode="0.0">
                  <c:v>1.9804360755729344</c:v>
                </c:pt>
                <c:pt idx="188" formatCode="0.0">
                  <c:v>2.0361160674740266</c:v>
                </c:pt>
                <c:pt idx="189" formatCode="0.0">
                  <c:v>2.015868797691811</c:v>
                </c:pt>
                <c:pt idx="190" formatCode="0.0">
                  <c:v>1.946268807815446</c:v>
                </c:pt>
                <c:pt idx="191" formatCode="0.0">
                  <c:v>1.884261544107412</c:v>
                </c:pt>
                <c:pt idx="192" formatCode="0.0">
                  <c:v>1.7982106475329969</c:v>
                </c:pt>
                <c:pt idx="193" formatCode="0.0">
                  <c:v>1.7741670146666164</c:v>
                </c:pt>
                <c:pt idx="194" formatCode="0.0">
                  <c:v>1.7134252053199694</c:v>
                </c:pt>
                <c:pt idx="195" formatCode="0.0">
                  <c:v>1.6703997570327624</c:v>
                </c:pt>
                <c:pt idx="196" formatCode="0.0">
                  <c:v>1.6425597610822167</c:v>
                </c:pt>
                <c:pt idx="197" formatCode="0.0">
                  <c:v>1.5995343127950088</c:v>
                </c:pt>
                <c:pt idx="198" formatCode="0.0">
                  <c:v>1.5223415967503133</c:v>
                </c:pt>
                <c:pt idx="199" formatCode="0.0">
                  <c:v>1.4286979740075676</c:v>
                </c:pt>
                <c:pt idx="200" formatCode="0.0">
                  <c:v>1.3148070814826061</c:v>
                </c:pt>
                <c:pt idx="201" formatCode="0.0">
                  <c:v>1.2502689090517949</c:v>
                </c:pt>
                <c:pt idx="202" formatCode="0.0">
                  <c:v>1.2198980043784717</c:v>
                </c:pt>
                <c:pt idx="203" formatCode="0.0">
                  <c:v>1.1604216493932145</c:v>
                </c:pt>
                <c:pt idx="204" formatCode="0.0">
                  <c:v>1.1363780165268342</c:v>
                </c:pt>
                <c:pt idx="205" formatCode="0.0">
                  <c:v>1.0908216595168496</c:v>
                </c:pt>
                <c:pt idx="206" formatCode="0.0">
                  <c:v>1.0844943877099071</c:v>
                </c:pt>
                <c:pt idx="207" formatCode="0.0">
                  <c:v>1.1148652923832298</c:v>
                </c:pt>
                <c:pt idx="208" formatCode="0.0">
                  <c:v>1.1098034749376762</c:v>
                </c:pt>
                <c:pt idx="209" formatCode="0.0">
                  <c:v>1.1351125621654456</c:v>
                </c:pt>
                <c:pt idx="210" formatCode="0.0">
                  <c:v>1.1135998380218415</c:v>
                </c:pt>
                <c:pt idx="211" formatCode="0.0">
                  <c:v>1.0857598420712957</c:v>
                </c:pt>
                <c:pt idx="212" formatCode="0.0">
                  <c:v>1.0528580286751961</c:v>
                </c:pt>
                <c:pt idx="213" formatCode="0.0">
                  <c:v>1.0300798501702035</c:v>
                </c:pt>
                <c:pt idx="214" formatCode="0.0">
                  <c:v>1.0199562152790955</c:v>
                </c:pt>
                <c:pt idx="215" formatCode="0.0">
                  <c:v>1.0250180327246496</c:v>
                </c:pt>
                <c:pt idx="216" formatCode="0.0">
                  <c:v>0.99085076496716118</c:v>
                </c:pt>
                <c:pt idx="217" formatCode="0.0">
                  <c:v>1.0085671260266003</c:v>
                </c:pt>
                <c:pt idx="218" formatCode="0.0">
                  <c:v>0.99970894549688061</c:v>
                </c:pt>
                <c:pt idx="219" formatCode="0.0">
                  <c:v>1.0313453045315921</c:v>
                </c:pt>
                <c:pt idx="220" formatCode="0.0">
                  <c:v>1.1249889272743381</c:v>
                </c:pt>
                <c:pt idx="221" formatCode="0.0">
                  <c:v>1.1123343836604531</c:v>
                </c:pt>
                <c:pt idx="222" formatCode="0.0">
                  <c:v>1.1718107386457111</c:v>
                </c:pt>
                <c:pt idx="223" formatCode="0.0">
                  <c:v>1.2135707325715297</c:v>
                </c:pt>
                <c:pt idx="224" formatCode="0.0">
                  <c:v>1.2173670956556948</c:v>
                </c:pt>
                <c:pt idx="225" formatCode="0.0">
                  <c:v>1.173076193007099</c:v>
                </c:pt>
                <c:pt idx="226" formatCode="0.0">
                  <c:v>1.1933234627893141</c:v>
                </c:pt>
                <c:pt idx="227" formatCode="0.0">
                  <c:v>1.1654834668387688</c:v>
                </c:pt>
                <c:pt idx="228" formatCode="0.0">
                  <c:v>1.2198980043784717</c:v>
                </c:pt>
                <c:pt idx="229" formatCode="0.0">
                  <c:v>1.1629525581159916</c:v>
                </c:pt>
                <c:pt idx="230" formatCode="0.0">
                  <c:v>1.1465016514179414</c:v>
                </c:pt>
                <c:pt idx="231" formatCode="0.0">
                  <c:v>1.1629525581159919</c:v>
                </c:pt>
                <c:pt idx="232" formatCode="0.0">
                  <c:v>1.2363489110765222</c:v>
                </c:pt>
                <c:pt idx="233" formatCode="0.0">
                  <c:v>1.2717816331953986</c:v>
                </c:pt>
                <c:pt idx="234" formatCode="0.0">
                  <c:v>1.2452070916062414</c:v>
                </c:pt>
                <c:pt idx="235" formatCode="0.0">
                  <c:v>1.2477380003290179</c:v>
                </c:pt>
                <c:pt idx="236" formatCode="0.0">
                  <c:v>1.2578616352201253</c:v>
                </c:pt>
                <c:pt idx="237" formatCode="0.0">
                  <c:v>1.2249598218240261</c:v>
                </c:pt>
                <c:pt idx="238" formatCode="0.0">
                  <c:v>1.189527099705149</c:v>
                </c:pt>
                <c:pt idx="239" formatCode="0.0">
                  <c:v>1.1047416574921221</c:v>
                </c:pt>
                <c:pt idx="240" formatCode="0.0">
                  <c:v>1.0250180327246496</c:v>
                </c:pt>
                <c:pt idx="241" formatCode="0.0">
                  <c:v>0.99085076496716129</c:v>
                </c:pt>
                <c:pt idx="242" formatCode="0.0">
                  <c:v>0.96427622337800389</c:v>
                </c:pt>
                <c:pt idx="243" formatCode="0.0">
                  <c:v>0.9541525884868961</c:v>
                </c:pt>
                <c:pt idx="244" formatCode="0.0">
                  <c:v>0.99211621932854999</c:v>
                </c:pt>
                <c:pt idx="245" formatCode="0.0">
                  <c:v>1.0237525783632615</c:v>
                </c:pt>
                <c:pt idx="246" formatCode="0.0">
                  <c:v>1.0477962112296415</c:v>
                </c:pt>
                <c:pt idx="247" formatCode="0.0">
                  <c:v>1.0579198461207497</c:v>
                </c:pt>
                <c:pt idx="248" formatCode="0.0">
                  <c:v>1.0819634789871302</c:v>
                </c:pt>
                <c:pt idx="249" formatCode="0.0">
                  <c:v>1.1237234729129491</c:v>
                </c:pt>
                <c:pt idx="250" formatCode="0.0">
                  <c:v>1.1211925641901725</c:v>
                </c:pt>
                <c:pt idx="251" formatCode="0.0">
                  <c:v>1.0933525682396263</c:v>
                </c:pt>
                <c:pt idx="252" formatCode="0.0">
                  <c:v>1.1465016514179418</c:v>
                </c:pt>
                <c:pt idx="253" formatCode="0.0">
                  <c:v>1.211039823848753</c:v>
                </c:pt>
                <c:pt idx="254" formatCode="0.0">
                  <c:v>1.2464725459676298</c:v>
                </c:pt>
                <c:pt idx="255" formatCode="0.0">
                  <c:v>1.4286979740075676</c:v>
                </c:pt>
                <c:pt idx="256" formatCode="0.0">
                  <c:v>1.4261670652847904</c:v>
                </c:pt>
                <c:pt idx="257" formatCode="0.0">
                  <c:v>1.4388216088986745</c:v>
                </c:pt>
                <c:pt idx="258" formatCode="0.0">
                  <c:v>1.483112511547271</c:v>
                </c:pt>
                <c:pt idx="259" formatCode="0.0">
                  <c:v>1.5033597813294857</c:v>
                </c:pt>
                <c:pt idx="260" formatCode="0.0">
                  <c:v>1.7121597509585817</c:v>
                </c:pt>
                <c:pt idx="261" formatCode="0.0">
                  <c:v>1.8070688280627161</c:v>
                </c:pt>
                <c:pt idx="262" formatCode="0.0">
                  <c:v>1.8956506333599079</c:v>
                </c:pt>
                <c:pt idx="263" formatCode="0.0">
                  <c:v>2.0310542500284732</c:v>
                </c:pt>
                <c:pt idx="264" formatCode="0.0">
                  <c:v>2.0702833352315149</c:v>
                </c:pt>
                <c:pt idx="265" formatCode="0.0">
                  <c:v>2.166457866697038</c:v>
                </c:pt>
                <c:pt idx="266" formatCode="0.0">
                  <c:v>2.3562760209053057</c:v>
                </c:pt>
                <c:pt idx="267" formatCode="0.0">
                  <c:v>2.6093668931829979</c:v>
                </c:pt>
                <c:pt idx="268" formatCode="0.0">
                  <c:v>3.0497450109461797</c:v>
                </c:pt>
                <c:pt idx="269" formatCode="0.0">
                  <c:v>3.3787631449071789</c:v>
                </c:pt>
                <c:pt idx="270" formatCode="0.0">
                  <c:v>3.8646976196803462</c:v>
                </c:pt>
                <c:pt idx="271" formatCode="0.0">
                  <c:v>4.6568720499095182</c:v>
                </c:pt>
                <c:pt idx="272" formatCode="0.0">
                  <c:v>4.9137592852713787</c:v>
                </c:pt>
                <c:pt idx="273" formatCode="0.0">
                  <c:v>5.6375991799855729</c:v>
                </c:pt>
                <c:pt idx="274" formatCode="0.0">
                  <c:v>6.9435480809384629</c:v>
                </c:pt>
                <c:pt idx="275" formatCode="0.0">
                  <c:v>8.3228933348518783</c:v>
                </c:pt>
                <c:pt idx="276" formatCode="0.0">
                  <c:v>9.9502676435974315</c:v>
                </c:pt>
                <c:pt idx="277" formatCode="0.0">
                  <c:v>11.143591106386747</c:v>
                </c:pt>
                <c:pt idx="278" formatCode="0.0">
                  <c:v>12.682383609835112</c:v>
                </c:pt>
                <c:pt idx="279" formatCode="0.0">
                  <c:v>14.171823393189324</c:v>
                </c:pt>
                <c:pt idx="280" formatCode="0.0">
                  <c:v>14.513496070764212</c:v>
                </c:pt>
                <c:pt idx="281" formatCode="0.0">
                  <c:v>15.989015856143151</c:v>
                </c:pt>
                <c:pt idx="282" formatCode="0.0">
                  <c:v>16.867241182946731</c:v>
                </c:pt>
                <c:pt idx="283" formatCode="0.0">
                  <c:v>17.551851992457895</c:v>
                </c:pt>
                <c:pt idx="284" formatCode="0.0">
                  <c:v>19.195677207901493</c:v>
                </c:pt>
                <c:pt idx="285" formatCode="0.0">
                  <c:v>20.323197043898613</c:v>
                </c:pt>
                <c:pt idx="286" formatCode="0.0">
                  <c:v>21.939182263391672</c:v>
                </c:pt>
                <c:pt idx="287" formatCode="0.0">
                  <c:v>23.542512939270836</c:v>
                </c:pt>
                <c:pt idx="288" formatCode="0.0">
                  <c:v>25.382483580729655</c:v>
                </c:pt>
                <c:pt idx="289" formatCode="0.0">
                  <c:v>28.185464991205091</c:v>
                </c:pt>
                <c:pt idx="290" formatCode="0.0">
                  <c:v>31.015020943269683</c:v>
                </c:pt>
                <c:pt idx="291" formatCode="0.0">
                  <c:v>32.541158903104161</c:v>
                </c:pt>
                <c:pt idx="292" formatCode="0.0">
                  <c:v>33.18147880996672</c:v>
                </c:pt>
                <c:pt idx="293" formatCode="0.0">
                  <c:v>32.503195272262502</c:v>
                </c:pt>
                <c:pt idx="294" formatCode="0.0">
                  <c:v>33.030889740961491</c:v>
                </c:pt>
                <c:pt idx="295" formatCode="0.0">
                  <c:v>35.118889437252435</c:v>
                </c:pt>
                <c:pt idx="296" formatCode="0.0">
                  <c:v>36.100882021689891</c:v>
                </c:pt>
                <c:pt idx="297" formatCode="0.0">
                  <c:v>36.480518330106435</c:v>
                </c:pt>
                <c:pt idx="298" formatCode="0.0">
                  <c:v>37.25624185363754</c:v>
                </c:pt>
                <c:pt idx="299" formatCode="0.0">
                  <c:v>37.735849056603776</c:v>
                </c:pt>
                <c:pt idx="300" formatCode="0.0">
                  <c:v>39.844096022676936</c:v>
                </c:pt>
                <c:pt idx="301" formatCode="0.0">
                  <c:v>43.917593611986369</c:v>
                </c:pt>
                <c:pt idx="302" formatCode="0.0">
                  <c:v>45.118509800944032</c:v>
                </c:pt>
                <c:pt idx="303" formatCode="0.0">
                  <c:v>45.801855156093794</c:v>
                </c:pt>
                <c:pt idx="304" formatCode="0.0">
                  <c:v>46.544676866228812</c:v>
                </c:pt>
                <c:pt idx="305" formatCode="0.0">
                  <c:v>48.031585740860251</c:v>
                </c:pt>
                <c:pt idx="306" formatCode="0.0">
                  <c:v>48.89968743277273</c:v>
                </c:pt>
                <c:pt idx="307" formatCode="0.0">
                  <c:v>48.576996570618668</c:v>
                </c:pt>
                <c:pt idx="308" formatCode="0.0">
                  <c:v>45.066626172127101</c:v>
                </c:pt>
                <c:pt idx="309" formatCode="0.0">
                  <c:v>43.340546423193238</c:v>
                </c:pt>
                <c:pt idx="310" formatCode="0.0">
                  <c:v>42.33577566025081</c:v>
                </c:pt>
                <c:pt idx="311" formatCode="0.0">
                  <c:v>40.130088708350733</c:v>
                </c:pt>
                <c:pt idx="312" formatCode="0.0">
                  <c:v>36.88419827138933</c:v>
                </c:pt>
                <c:pt idx="313" formatCode="0.0">
                  <c:v>35.254293053921003</c:v>
                </c:pt>
                <c:pt idx="314" formatCode="0.0">
                  <c:v>34.619034964504003</c:v>
                </c:pt>
                <c:pt idx="315" formatCode="0.0">
                  <c:v>35.359325765916239</c:v>
                </c:pt>
                <c:pt idx="316" formatCode="0.0">
                  <c:v>32.679093428495506</c:v>
                </c:pt>
                <c:pt idx="317" formatCode="0.0">
                  <c:v>29.587588423623497</c:v>
                </c:pt>
                <c:pt idx="318" formatCode="0.0">
                  <c:v>28.468926768156106</c:v>
                </c:pt>
                <c:pt idx="319" formatCode="0.0">
                  <c:v>29.03711577641953</c:v>
                </c:pt>
                <c:pt idx="320" formatCode="0.0">
                  <c:v>28.609392202270222</c:v>
                </c:pt>
                <c:pt idx="321" formatCode="0.0">
                  <c:v>26.547967047568431</c:v>
                </c:pt>
                <c:pt idx="322" formatCode="0.0">
                  <c:v>24.286600103767253</c:v>
                </c:pt>
                <c:pt idx="323" formatCode="0.0">
                  <c:v>22.550396719942292</c:v>
                </c:pt>
                <c:pt idx="324" formatCode="0.0">
                  <c:v>21.59244776837123</c:v>
                </c:pt>
                <c:pt idx="325" formatCode="0.0">
                  <c:v>20.156157068195338</c:v>
                </c:pt>
                <c:pt idx="326" formatCode="0.0">
                  <c:v>17.641699252116471</c:v>
                </c:pt>
                <c:pt idx="327" formatCode="0.0">
                  <c:v>15.756172253647675</c:v>
                </c:pt>
                <c:pt idx="328" formatCode="0.0">
                  <c:v>14.688128772635812</c:v>
                </c:pt>
                <c:pt idx="329" formatCode="0.0">
                  <c:v>13.345481695202666</c:v>
                </c:pt>
                <c:pt idx="330" formatCode="0.0">
                  <c:v>12.209103678675827</c:v>
                </c:pt>
                <c:pt idx="331" formatCode="0.0">
                  <c:v>11.266340179441428</c:v>
                </c:pt>
                <c:pt idx="332" formatCode="0.0">
                  <c:v>9.9198967389241126</c:v>
                </c:pt>
                <c:pt idx="333" formatCode="0.0">
                  <c:v>8.7291041848575706</c:v>
                </c:pt>
                <c:pt idx="334" formatCode="0.0">
                  <c:v>7.6053807119446253</c:v>
                </c:pt>
                <c:pt idx="335" formatCode="0.0">
                  <c:v>7.092871695582299</c:v>
                </c:pt>
                <c:pt idx="336" formatCode="0.0">
                  <c:v>6.4614099692494582</c:v>
                </c:pt>
                <c:pt idx="337" formatCode="0.0">
                  <c:v>6.0121736709565559</c:v>
                </c:pt>
                <c:pt idx="338" formatCode="0.0">
                  <c:v>5.2883337762423599</c:v>
                </c:pt>
                <c:pt idx="339" formatCode="0.0">
                  <c:v>5.2174683320046071</c:v>
                </c:pt>
                <c:pt idx="340" formatCode="0.0">
                  <c:v>4.8099920276375228</c:v>
                </c:pt>
                <c:pt idx="341" formatCode="0.0">
                  <c:v>4.6581375042709077</c:v>
                </c:pt>
                <c:pt idx="342" formatCode="0.0">
                  <c:v>4.5265302506865064</c:v>
                </c:pt>
                <c:pt idx="343" formatCode="0.0">
                  <c:v>4.2936866481910325</c:v>
                </c:pt>
                <c:pt idx="344" formatCode="0.0">
                  <c:v>3.8571048935120156</c:v>
                </c:pt>
                <c:pt idx="345" formatCode="0.0">
                  <c:v>3.6356503802690363</c:v>
                </c:pt>
                <c:pt idx="346" formatCode="0.0">
                  <c:v>3.1927413537830764</c:v>
                </c:pt>
                <c:pt idx="347" formatCode="0.0">
                  <c:v>2.9396504815053843</c:v>
                </c:pt>
                <c:pt idx="348" formatCode="0.0">
                  <c:v>2.8814395808815156</c:v>
                </c:pt>
                <c:pt idx="349" formatCode="0.0">
                  <c:v>2.8371486782329192</c:v>
                </c:pt>
                <c:pt idx="350" formatCode="0.0">
                  <c:v>2.7422396011287842</c:v>
                </c:pt>
                <c:pt idx="351" formatCode="0.0">
                  <c:v>2.7042759702871315</c:v>
                </c:pt>
                <c:pt idx="352" formatCode="0.0">
                  <c:v>2.6460650696632619</c:v>
                </c:pt>
                <c:pt idx="353" formatCode="0.0">
                  <c:v>2.7004796072029666</c:v>
                </c:pt>
                <c:pt idx="354" formatCode="0.0">
                  <c:v>2.7422396011287846</c:v>
                </c:pt>
                <c:pt idx="355" formatCode="0.0">
                  <c:v>2.3651342014350258</c:v>
                </c:pt>
                <c:pt idx="356" formatCode="0.0">
                  <c:v>2.6030396213760558</c:v>
                </c:pt>
                <c:pt idx="357" formatCode="0.0">
                  <c:v>2.4992723637422007</c:v>
                </c:pt>
                <c:pt idx="358" formatCode="0.0">
                  <c:v>2.4119560128063982</c:v>
                </c:pt>
                <c:pt idx="359" formatCode="0.0">
                  <c:v>2.2613669438011716</c:v>
                </c:pt>
                <c:pt idx="360" formatCode="0.0">
                  <c:v>2.1892360452020312</c:v>
                </c:pt>
                <c:pt idx="361" formatCode="0.0">
                  <c:v>1.9513306252610001</c:v>
                </c:pt>
                <c:pt idx="362" formatCode="0.0">
                  <c:v>2.1449451425534343</c:v>
                </c:pt>
                <c:pt idx="363" formatCode="0.0">
                  <c:v>1.8159270085924348</c:v>
                </c:pt>
                <c:pt idx="364" formatCode="0.0">
                  <c:v>1.8247851891221543</c:v>
                </c:pt>
                <c:pt idx="365" formatCode="0.0">
                  <c:v>1.7210179314883014</c:v>
                </c:pt>
                <c:pt idx="366" formatCode="0.0">
                  <c:v>1.662807030864432</c:v>
                </c:pt>
                <c:pt idx="367" formatCode="0.0">
                  <c:v>1.4780506941017175</c:v>
                </c:pt>
                <c:pt idx="368" formatCode="0.0">
                  <c:v>1.6134543107702819</c:v>
                </c:pt>
                <c:pt idx="369" formatCode="0.0">
                  <c:v>1.6311706718297203</c:v>
                </c:pt>
                <c:pt idx="370" formatCode="0.0">
                  <c:v>1.6438252154436048</c:v>
                </c:pt>
                <c:pt idx="371" formatCode="0.0">
                  <c:v>1.5577743188691893</c:v>
                </c:pt>
                <c:pt idx="372" formatCode="0.0">
                  <c:v>1.5565088645078016</c:v>
                </c:pt>
                <c:pt idx="373" formatCode="0.0">
                  <c:v>1.5463852296166942</c:v>
                </c:pt>
                <c:pt idx="374" formatCode="0.0">
                  <c:v>1.5666324993989089</c:v>
                </c:pt>
                <c:pt idx="375" formatCode="0.0">
                  <c:v>1.4236361565620133</c:v>
                </c:pt>
                <c:pt idx="376" formatCode="0.0">
                  <c:v>1.380610708274806</c:v>
                </c:pt>
                <c:pt idx="377" formatCode="0.0">
                  <c:v>1.3211343532895485</c:v>
                </c:pt>
                <c:pt idx="378" formatCode="0.0">
                  <c:v>1.3008870835073336</c:v>
                </c:pt>
                <c:pt idx="379" formatCode="0.0">
                  <c:v>1.2034470976804221</c:v>
                </c:pt>
                <c:pt idx="380" formatCode="0.0">
                  <c:v>1.1540943775862724</c:v>
                </c:pt>
                <c:pt idx="381" formatCode="0.0">
                  <c:v>1.0655125722890804</c:v>
                </c:pt>
                <c:pt idx="382" formatCode="0.0">
                  <c:v>1.0351416676157574</c:v>
                </c:pt>
                <c:pt idx="383" formatCode="0.0">
                  <c:v>1.0161598521949302</c:v>
                </c:pt>
                <c:pt idx="384" formatCode="0.0">
                  <c:v>0.97946167571466503</c:v>
                </c:pt>
                <c:pt idx="385" formatCode="0.0">
                  <c:v>0.96807258646216909</c:v>
                </c:pt>
                <c:pt idx="386" formatCode="0.0">
                  <c:v>1.0376725763385346</c:v>
                </c:pt>
                <c:pt idx="387" formatCode="0.0">
                  <c:v>1.1148652923832301</c:v>
                </c:pt>
                <c:pt idx="388" formatCode="0.0">
                  <c:v>1.1351125621654459</c:v>
                </c:pt>
                <c:pt idx="389" formatCode="0.0">
                  <c:v>1.0313453045315921</c:v>
                </c:pt>
                <c:pt idx="390" formatCode="0.0">
                  <c:v>0.96680713210078073</c:v>
                </c:pt>
                <c:pt idx="391" formatCode="0.0">
                  <c:v>0.95162167976411949</c:v>
                </c:pt>
                <c:pt idx="392" formatCode="0.0">
                  <c:v>0.90226895966996934</c:v>
                </c:pt>
                <c:pt idx="393" formatCode="0.0">
                  <c:v>0.83519987851638156</c:v>
                </c:pt>
                <c:pt idx="394" formatCode="0.0">
                  <c:v>0.70359262493198182</c:v>
                </c:pt>
                <c:pt idx="395" formatCode="0.0">
                  <c:v>0.7010617162092051</c:v>
                </c:pt>
                <c:pt idx="396" formatCode="0.0">
                  <c:v>0.72763625779836261</c:v>
                </c:pt>
                <c:pt idx="397" formatCode="0.0">
                  <c:v>0.76813079736279322</c:v>
                </c:pt>
                <c:pt idx="398" formatCode="0.0">
                  <c:v>0.79723624767472767</c:v>
                </c:pt>
                <c:pt idx="399" formatCode="0.0">
                  <c:v>0.81621806309555445</c:v>
                </c:pt>
                <c:pt idx="400" formatCode="0.0">
                  <c:v>0.86936714627386968</c:v>
                </c:pt>
                <c:pt idx="401" formatCode="0.0">
                  <c:v>0.87822532680358922</c:v>
                </c:pt>
                <c:pt idx="402" formatCode="0.0">
                  <c:v>0.82760715234805071</c:v>
                </c:pt>
                <c:pt idx="403" formatCode="0.0">
                  <c:v>0.8427926046847124</c:v>
                </c:pt>
                <c:pt idx="404" formatCode="0.0">
                  <c:v>0.78964352150639694</c:v>
                </c:pt>
                <c:pt idx="405" formatCode="0.0">
                  <c:v>0.76180352555585085</c:v>
                </c:pt>
                <c:pt idx="406" formatCode="0.0">
                  <c:v>0.76559988864001649</c:v>
                </c:pt>
                <c:pt idx="407" formatCode="0.0">
                  <c:v>0.72890171215975119</c:v>
                </c:pt>
                <c:pt idx="408" formatCode="0.0">
                  <c:v>0.6732217202586589</c:v>
                </c:pt>
                <c:pt idx="409" formatCode="0.0">
                  <c:v>0.71245080546170081</c:v>
                </c:pt>
                <c:pt idx="410" formatCode="0.0">
                  <c:v>0.68587626387254341</c:v>
                </c:pt>
                <c:pt idx="411" formatCode="0.0">
                  <c:v>0.70106171620920499</c:v>
                </c:pt>
                <c:pt idx="412" formatCode="0.0">
                  <c:v>0.68714171823393211</c:v>
                </c:pt>
                <c:pt idx="413" formatCode="0.0">
                  <c:v>0.67195626589727031</c:v>
                </c:pt>
                <c:pt idx="414" formatCode="0.0">
                  <c:v>0.62260354580312061</c:v>
                </c:pt>
                <c:pt idx="415" formatCode="0.0">
                  <c:v>0.62386900016450919</c:v>
                </c:pt>
                <c:pt idx="416" formatCode="0.0">
                  <c:v>0.55933082773369769</c:v>
                </c:pt>
                <c:pt idx="417" formatCode="0.0">
                  <c:v>0.55553446464953249</c:v>
                </c:pt>
                <c:pt idx="418" formatCode="0.0">
                  <c:v>0.5504726472039787</c:v>
                </c:pt>
                <c:pt idx="419" formatCode="0.0">
                  <c:v>0.58717082368424378</c:v>
                </c:pt>
                <c:pt idx="420" formatCode="0.0">
                  <c:v>0.59982536729812863</c:v>
                </c:pt>
                <c:pt idx="421" formatCode="0.0">
                  <c:v>0.62639990888728592</c:v>
                </c:pt>
                <c:pt idx="422" formatCode="0.0">
                  <c:v>0.6542399048378319</c:v>
                </c:pt>
                <c:pt idx="423" formatCode="0.0">
                  <c:v>0.69093808131809731</c:v>
                </c:pt>
                <c:pt idx="424" formatCode="0.0">
                  <c:v>0.74282171013502396</c:v>
                </c:pt>
                <c:pt idx="425" formatCode="0.0">
                  <c:v>0.76053807119446248</c:v>
                </c:pt>
                <c:pt idx="426" formatCode="0.0">
                  <c:v>0.773192614808347</c:v>
                </c:pt>
                <c:pt idx="427" formatCode="0.0">
                  <c:v>0.81495260873416597</c:v>
                </c:pt>
                <c:pt idx="428" formatCode="0.0">
                  <c:v>0.85671260265998528</c:v>
                </c:pt>
                <c:pt idx="429" formatCode="0.0">
                  <c:v>0.88328714424914256</c:v>
                </c:pt>
                <c:pt idx="430" formatCode="0.0">
                  <c:v>0.87822532680358922</c:v>
                </c:pt>
                <c:pt idx="431" formatCode="0.0">
                  <c:v>0.8465889677688776</c:v>
                </c:pt>
                <c:pt idx="432" formatCode="0.0">
                  <c:v>0.88075623552636584</c:v>
                </c:pt>
                <c:pt idx="433" formatCode="0.0">
                  <c:v>0.87695987244220064</c:v>
                </c:pt>
                <c:pt idx="434" formatCode="0.0">
                  <c:v>0.84026169596193501</c:v>
                </c:pt>
                <c:pt idx="435" formatCode="0.0">
                  <c:v>0.88328714424914256</c:v>
                </c:pt>
                <c:pt idx="436" formatCode="0.0">
                  <c:v>0.94276349923440017</c:v>
                </c:pt>
                <c:pt idx="437" formatCode="0.0">
                  <c:v>0.82127988054110834</c:v>
                </c:pt>
                <c:pt idx="438" formatCode="0.0">
                  <c:v>1.0515925743138075</c:v>
                </c:pt>
                <c:pt idx="439" formatCode="0.0">
                  <c:v>1.0427343937840878</c:v>
                </c:pt>
                <c:pt idx="440" formatCode="0.0">
                  <c:v>1.0718398440960226</c:v>
                </c:pt>
                <c:pt idx="441" formatCode="0.0">
                  <c:v>1.1743416473684876</c:v>
                </c:pt>
                <c:pt idx="442" formatCode="0.0">
                  <c:v>1.1756071017298761</c:v>
                </c:pt>
                <c:pt idx="443" formatCode="0.0">
                  <c:v>1.142705288333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96-4795-8581-791AAA8989B0}"/>
            </c:ext>
          </c:extLst>
        </c:ser>
        <c:ser>
          <c:idx val="1"/>
          <c:order val="1"/>
          <c:tx>
            <c:v>Gauteng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276"/>
              <c:layout>
                <c:manualLayout>
                  <c:x val="0.26652563443433991"/>
                  <c:y val="-7.56423924676519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1CDA7F6-88A9-4616-BDF0-E470D238C925}" type="SERIESNAME">
                      <a:rPr lang="en-US" sz="1200"/>
                      <a:pPr>
                        <a:defRPr sz="1100" b="1" i="0" u="none" strike="noStrike" kern="1200" baseline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SERIES NAME]</a:t>
                    </a:fld>
                    <a:endParaRPr lang="en-ZA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S$5:$CS$451</c:f>
              <c:numCache>
                <c:formatCode>General</c:formatCode>
                <c:ptCount val="447"/>
                <c:pt idx="3" formatCode="0.0">
                  <c:v>9.4133594397168494E-3</c:v>
                </c:pt>
                <c:pt idx="4" formatCode="0.0">
                  <c:v>1.6002711047518645E-2</c:v>
                </c:pt>
                <c:pt idx="5" formatCode="0.0">
                  <c:v>2.1650726711348746E-2</c:v>
                </c:pt>
                <c:pt idx="6" formatCode="0.0">
                  <c:v>2.8240078319150545E-2</c:v>
                </c:pt>
                <c:pt idx="7" formatCode="0.0">
                  <c:v>4.1418781534754125E-2</c:v>
                </c:pt>
                <c:pt idx="8" formatCode="0.0">
                  <c:v>5.2714812862414334E-2</c:v>
                </c:pt>
                <c:pt idx="9" formatCode="0.0">
                  <c:v>6.5893516078017939E-2</c:v>
                </c:pt>
                <c:pt idx="10" formatCode="0.0">
                  <c:v>9.31922584531968E-2</c:v>
                </c:pt>
                <c:pt idx="11" formatCode="0.0">
                  <c:v>0.10166428194894199</c:v>
                </c:pt>
                <c:pt idx="12" formatCode="0.0">
                  <c:v>0.10166428194894199</c:v>
                </c:pt>
                <c:pt idx="13" formatCode="0.0">
                  <c:v>0.1656751261390165</c:v>
                </c:pt>
                <c:pt idx="14" formatCode="0.0">
                  <c:v>0.24192333760072299</c:v>
                </c:pt>
                <c:pt idx="15" formatCode="0.0">
                  <c:v>0.24286467354469468</c:v>
                </c:pt>
                <c:pt idx="16" formatCode="0.0">
                  <c:v>0.31346486934257117</c:v>
                </c:pt>
                <c:pt idx="17" formatCode="0.0">
                  <c:v>0.34076361171774988</c:v>
                </c:pt>
                <c:pt idx="18" formatCode="0.0">
                  <c:v>0.38406506514044747</c:v>
                </c:pt>
                <c:pt idx="19" formatCode="0.0">
                  <c:v>0.4254838466752015</c:v>
                </c:pt>
                <c:pt idx="20" formatCode="0.0">
                  <c:v>0.38688907297236252</c:v>
                </c:pt>
                <c:pt idx="21" formatCode="0.0">
                  <c:v>0.31158219745462779</c:v>
                </c:pt>
                <c:pt idx="22" formatCode="0.0">
                  <c:v>0.30687551773476923</c:v>
                </c:pt>
                <c:pt idx="23" formatCode="0.0">
                  <c:v>0.23909932976880791</c:v>
                </c:pt>
                <c:pt idx="24" formatCode="0.0">
                  <c:v>0.18920852473830865</c:v>
                </c:pt>
                <c:pt idx="25" formatCode="0.0">
                  <c:v>0.15061375103546956</c:v>
                </c:pt>
                <c:pt idx="26" formatCode="0.0">
                  <c:v>0.11296031327660216</c:v>
                </c:pt>
                <c:pt idx="27" formatCode="0.0">
                  <c:v>8.9426914677310038E-2</c:v>
                </c:pt>
                <c:pt idx="28" formatCode="0.0">
                  <c:v>0.10731229761277204</c:v>
                </c:pt>
                <c:pt idx="29" formatCode="0.0">
                  <c:v>0.12896302432412082</c:v>
                </c:pt>
                <c:pt idx="30" formatCode="0.0">
                  <c:v>0.12425634460426239</c:v>
                </c:pt>
                <c:pt idx="31" formatCode="0.0">
                  <c:v>0.12143233677234733</c:v>
                </c:pt>
                <c:pt idx="32" formatCode="0.0">
                  <c:v>0.11296031327660216</c:v>
                </c:pt>
                <c:pt idx="33" formatCode="0.0">
                  <c:v>0.15155508697944128</c:v>
                </c:pt>
                <c:pt idx="34" formatCode="0.0">
                  <c:v>0.16661646208298822</c:v>
                </c:pt>
                <c:pt idx="35" formatCode="0.0">
                  <c:v>0.15249642292341292</c:v>
                </c:pt>
                <c:pt idx="36" formatCode="0.0">
                  <c:v>0.13931771970780937</c:v>
                </c:pt>
                <c:pt idx="37" formatCode="0.0">
                  <c:v>0.16379245425107317</c:v>
                </c:pt>
                <c:pt idx="38" formatCode="0.0">
                  <c:v>0.20426989984185559</c:v>
                </c:pt>
                <c:pt idx="39" formatCode="0.0">
                  <c:v>0.27110475186384531</c:v>
                </c:pt>
                <c:pt idx="40" formatCode="0.0">
                  <c:v>0.26639807214398681</c:v>
                </c:pt>
                <c:pt idx="41" formatCode="0.0">
                  <c:v>0.26357406431207181</c:v>
                </c:pt>
                <c:pt idx="42" formatCode="0.0">
                  <c:v>0.27298742375178858</c:v>
                </c:pt>
                <c:pt idx="43" formatCode="0.0">
                  <c:v>0.27675276752767536</c:v>
                </c:pt>
                <c:pt idx="44" formatCode="0.0">
                  <c:v>0.26639807214398681</c:v>
                </c:pt>
                <c:pt idx="45" formatCode="0.0">
                  <c:v>0.24757135326455307</c:v>
                </c:pt>
                <c:pt idx="46" formatCode="0.0">
                  <c:v>0.19109119662625201</c:v>
                </c:pt>
                <c:pt idx="47" formatCode="0.0">
                  <c:v>0.1722644777468183</c:v>
                </c:pt>
                <c:pt idx="48" formatCode="0.0">
                  <c:v>0.1722644777468183</c:v>
                </c:pt>
                <c:pt idx="49" formatCode="0.0">
                  <c:v>0.16755779802695986</c:v>
                </c:pt>
                <c:pt idx="50" formatCode="0.0">
                  <c:v>0.17320581369078997</c:v>
                </c:pt>
                <c:pt idx="51" formatCode="0.0">
                  <c:v>0.18261917313050685</c:v>
                </c:pt>
                <c:pt idx="52" formatCode="0.0">
                  <c:v>0.21274192333760075</c:v>
                </c:pt>
                <c:pt idx="53" formatCode="0.0">
                  <c:v>0.27675276752767536</c:v>
                </c:pt>
                <c:pt idx="54" formatCode="0.0">
                  <c:v>0.27581143158370358</c:v>
                </c:pt>
                <c:pt idx="55" formatCode="0.0">
                  <c:v>0.28993147074327885</c:v>
                </c:pt>
                <c:pt idx="56" formatCode="0.0">
                  <c:v>0.30122750207093907</c:v>
                </c:pt>
                <c:pt idx="57" formatCode="0.0">
                  <c:v>0.29369681451916568</c:v>
                </c:pt>
                <c:pt idx="58" formatCode="0.0">
                  <c:v>0.33699826794186327</c:v>
                </c:pt>
                <c:pt idx="59" formatCode="0.0">
                  <c:v>0.32381956472625961</c:v>
                </c:pt>
                <c:pt idx="60" formatCode="0.0">
                  <c:v>0.29369681451916557</c:v>
                </c:pt>
                <c:pt idx="61" formatCode="0.0">
                  <c:v>0.30875818962271262</c:v>
                </c:pt>
                <c:pt idx="62" formatCode="0.0">
                  <c:v>0.2918141426312223</c:v>
                </c:pt>
                <c:pt idx="63" formatCode="0.0">
                  <c:v>0.29840349423902407</c:v>
                </c:pt>
                <c:pt idx="64" formatCode="0.0">
                  <c:v>0.33323292416597644</c:v>
                </c:pt>
                <c:pt idx="65" formatCode="0.0">
                  <c:v>0.31158219745462773</c:v>
                </c:pt>
                <c:pt idx="66" formatCode="0.0">
                  <c:v>0.33793960388583488</c:v>
                </c:pt>
                <c:pt idx="67" formatCode="0.0">
                  <c:v>0.33135025227803311</c:v>
                </c:pt>
                <c:pt idx="68" formatCode="0.0">
                  <c:v>0.35488365087732521</c:v>
                </c:pt>
                <c:pt idx="69" formatCode="0.0">
                  <c:v>0.35017697115746682</c:v>
                </c:pt>
                <c:pt idx="70" formatCode="0.0">
                  <c:v>0.32664357255817456</c:v>
                </c:pt>
                <c:pt idx="71" formatCode="0.0">
                  <c:v>0.30687551773476929</c:v>
                </c:pt>
                <c:pt idx="72" formatCode="0.0">
                  <c:v>0.29934483018299585</c:v>
                </c:pt>
                <c:pt idx="73" formatCode="0.0">
                  <c:v>0.29275547857519385</c:v>
                </c:pt>
                <c:pt idx="74" formatCode="0.0">
                  <c:v>0.34923563521349493</c:v>
                </c:pt>
                <c:pt idx="75" formatCode="0.0">
                  <c:v>0.41795315912342795</c:v>
                </c:pt>
                <c:pt idx="76" formatCode="0.0">
                  <c:v>0.61186836358159513</c:v>
                </c:pt>
                <c:pt idx="77" formatCode="0.0">
                  <c:v>0.64199111378868912</c:v>
                </c:pt>
                <c:pt idx="78" formatCode="0.0">
                  <c:v>0.72200466902628213</c:v>
                </c:pt>
                <c:pt idx="79" formatCode="0.0">
                  <c:v>0.82461028691919591</c:v>
                </c:pt>
                <c:pt idx="80" formatCode="0.0">
                  <c:v>0.99969877249792927</c:v>
                </c:pt>
                <c:pt idx="81" formatCode="0.0">
                  <c:v>1.0731229761277203</c:v>
                </c:pt>
                <c:pt idx="82" formatCode="0.0">
                  <c:v>1.157843211085172</c:v>
                </c:pt>
                <c:pt idx="83" formatCode="0.0">
                  <c:v>1.1653738986369455</c:v>
                </c:pt>
                <c:pt idx="84" formatCode="0.0">
                  <c:v>1.1606672189170872</c:v>
                </c:pt>
                <c:pt idx="85" formatCode="0.0">
                  <c:v>1.3178703215603584</c:v>
                </c:pt>
                <c:pt idx="86" formatCode="0.0">
                  <c:v>1.4270652910610737</c:v>
                </c:pt>
                <c:pt idx="87" formatCode="0.0">
                  <c:v>1.5362602605617897</c:v>
                </c:pt>
                <c:pt idx="88" formatCode="0.0">
                  <c:v>1.7442955041795316</c:v>
                </c:pt>
                <c:pt idx="89" formatCode="0.0">
                  <c:v>1.8290157391369835</c:v>
                </c:pt>
                <c:pt idx="90" formatCode="0.0">
                  <c:v>1.908087958430605</c:v>
                </c:pt>
                <c:pt idx="91" formatCode="0.0">
                  <c:v>2.1368325928157237</c:v>
                </c:pt>
                <c:pt idx="92" formatCode="0.0">
                  <c:v>2.4738308607575878</c:v>
                </c:pt>
                <c:pt idx="93" formatCode="0.0">
                  <c:v>2.9256721138639956</c:v>
                </c:pt>
                <c:pt idx="94" formatCode="0.0">
                  <c:v>3.3568039762030266</c:v>
                </c:pt>
                <c:pt idx="95" formatCode="0.0">
                  <c:v>4.0204458167030657</c:v>
                </c:pt>
                <c:pt idx="96" formatCode="0.0">
                  <c:v>4.9118909556442514</c:v>
                </c:pt>
                <c:pt idx="97" formatCode="0.0">
                  <c:v>5.5868288274719484</c:v>
                </c:pt>
                <c:pt idx="98" formatCode="0.0">
                  <c:v>6.0970329091046027</c:v>
                </c:pt>
                <c:pt idx="99" formatCode="0.0">
                  <c:v>6.989419383989758</c:v>
                </c:pt>
                <c:pt idx="100" formatCode="0.0">
                  <c:v>7.4789140748550347</c:v>
                </c:pt>
                <c:pt idx="101" formatCode="0.0">
                  <c:v>7.9825288048798866</c:v>
                </c:pt>
                <c:pt idx="102" formatCode="0.0">
                  <c:v>8.5482717072068652</c:v>
                </c:pt>
                <c:pt idx="103" formatCode="0.0">
                  <c:v>9.0914225468785279</c:v>
                </c:pt>
                <c:pt idx="104" formatCode="0.0">
                  <c:v>9.5526771594246576</c:v>
                </c:pt>
                <c:pt idx="105" formatCode="0.0">
                  <c:v>10.371639430680023</c:v>
                </c:pt>
                <c:pt idx="106" formatCode="0.0">
                  <c:v>10.859251449657354</c:v>
                </c:pt>
                <c:pt idx="107" formatCode="0.0">
                  <c:v>12.094284208148206</c:v>
                </c:pt>
                <c:pt idx="108" formatCode="0.0">
                  <c:v>13.256834098953238</c:v>
                </c:pt>
                <c:pt idx="109" formatCode="0.0">
                  <c:v>14.409029294374577</c:v>
                </c:pt>
                <c:pt idx="110" formatCode="0.0">
                  <c:v>15.130092627456884</c:v>
                </c:pt>
                <c:pt idx="111" formatCode="0.0">
                  <c:v>16.473379019504485</c:v>
                </c:pt>
                <c:pt idx="112" formatCode="0.0">
                  <c:v>17.734769184426543</c:v>
                </c:pt>
                <c:pt idx="113" formatCode="0.0">
                  <c:v>18.627155659311697</c:v>
                </c:pt>
                <c:pt idx="114" formatCode="0.0">
                  <c:v>19.947849988703961</c:v>
                </c:pt>
                <c:pt idx="115" formatCode="0.0">
                  <c:v>21.638489344077112</c:v>
                </c:pt>
                <c:pt idx="116" formatCode="0.0">
                  <c:v>23.616236162361623</c:v>
                </c:pt>
                <c:pt idx="117" formatCode="0.0">
                  <c:v>24.953874538745389</c:v>
                </c:pt>
                <c:pt idx="118" formatCode="0.0">
                  <c:v>25.463137284434069</c:v>
                </c:pt>
                <c:pt idx="119" formatCode="0.0">
                  <c:v>26.928797349197978</c:v>
                </c:pt>
                <c:pt idx="120" formatCode="0.0">
                  <c:v>27.365577227200841</c:v>
                </c:pt>
                <c:pt idx="121" formatCode="0.0">
                  <c:v>29.754687853000977</c:v>
                </c:pt>
                <c:pt idx="122" formatCode="0.0">
                  <c:v>30.783568039762024</c:v>
                </c:pt>
                <c:pt idx="123" formatCode="0.0">
                  <c:v>31.695722569470593</c:v>
                </c:pt>
                <c:pt idx="124" formatCode="0.0">
                  <c:v>32.972174109496194</c:v>
                </c:pt>
                <c:pt idx="125" formatCode="0.0">
                  <c:v>34.661872128925388</c:v>
                </c:pt>
                <c:pt idx="126" formatCode="0.0">
                  <c:v>33.49461555840049</c:v>
                </c:pt>
                <c:pt idx="127" formatCode="0.0">
                  <c:v>35.487423751788526</c:v>
                </c:pt>
                <c:pt idx="128" formatCode="0.0">
                  <c:v>34.216620227426766</c:v>
                </c:pt>
                <c:pt idx="129" formatCode="0.0">
                  <c:v>34.241094961970035</c:v>
                </c:pt>
                <c:pt idx="130" formatCode="0.0">
                  <c:v>33.473906167633096</c:v>
                </c:pt>
                <c:pt idx="131" formatCode="0.0">
                  <c:v>33.121846524587696</c:v>
                </c:pt>
                <c:pt idx="132" formatCode="0.0">
                  <c:v>31.220347917764887</c:v>
                </c:pt>
                <c:pt idx="133" formatCode="0.0">
                  <c:v>30.466337826643574</c:v>
                </c:pt>
                <c:pt idx="134" formatCode="0.0">
                  <c:v>29.998493862489646</c:v>
                </c:pt>
                <c:pt idx="135" formatCode="0.0">
                  <c:v>29.142819489419388</c:v>
                </c:pt>
                <c:pt idx="136" formatCode="0.0">
                  <c:v>27.874839972889532</c:v>
                </c:pt>
                <c:pt idx="137" formatCode="0.0">
                  <c:v>26.561676331049025</c:v>
                </c:pt>
                <c:pt idx="138" formatCode="0.0">
                  <c:v>24.980231945176591</c:v>
                </c:pt>
                <c:pt idx="139" formatCode="0.0">
                  <c:v>23.947586414639659</c:v>
                </c:pt>
                <c:pt idx="140" formatCode="0.0">
                  <c:v>23.673657654943892</c:v>
                </c:pt>
                <c:pt idx="141" formatCode="0.0">
                  <c:v>22.391558099254471</c:v>
                </c:pt>
                <c:pt idx="142" formatCode="0.0">
                  <c:v>21.387152647036675</c:v>
                </c:pt>
                <c:pt idx="143" formatCode="0.0">
                  <c:v>20.946607425257927</c:v>
                </c:pt>
                <c:pt idx="144" formatCode="0.0">
                  <c:v>20.048572934708933</c:v>
                </c:pt>
                <c:pt idx="145" formatCode="0.0">
                  <c:v>19.182543866254981</c:v>
                </c:pt>
                <c:pt idx="146" formatCode="0.0">
                  <c:v>18.47560057233224</c:v>
                </c:pt>
                <c:pt idx="147" formatCode="0.0">
                  <c:v>17.420362979139984</c:v>
                </c:pt>
                <c:pt idx="148" formatCode="0.0">
                  <c:v>15.920814820393103</c:v>
                </c:pt>
                <c:pt idx="149" formatCode="0.0">
                  <c:v>15.115031252353344</c:v>
                </c:pt>
                <c:pt idx="150" formatCode="0.0">
                  <c:v>13.072332253934787</c:v>
                </c:pt>
                <c:pt idx="151" formatCode="0.0">
                  <c:v>12.124406958355298</c:v>
                </c:pt>
                <c:pt idx="152" formatCode="0.0">
                  <c:v>11.517245274493558</c:v>
                </c:pt>
                <c:pt idx="153" formatCode="0.0">
                  <c:v>10.933616989231115</c:v>
                </c:pt>
                <c:pt idx="154" formatCode="0.0">
                  <c:v>10.357519391520446</c:v>
                </c:pt>
                <c:pt idx="155" formatCode="0.0">
                  <c:v>8.8513818811657501</c:v>
                </c:pt>
                <c:pt idx="156" formatCode="0.0">
                  <c:v>7.7086000451841281</c:v>
                </c:pt>
                <c:pt idx="157" formatCode="0.0">
                  <c:v>7.8808645229309429</c:v>
                </c:pt>
                <c:pt idx="158" formatCode="0.0">
                  <c:v>7.2219293621507656</c:v>
                </c:pt>
                <c:pt idx="159" formatCode="0.0">
                  <c:v>6.4650952631975303</c:v>
                </c:pt>
                <c:pt idx="160" formatCode="0.0">
                  <c:v>6.2843587619549686</c:v>
                </c:pt>
                <c:pt idx="161" formatCode="0.0">
                  <c:v>6.4537992318698718</c:v>
                </c:pt>
                <c:pt idx="162" formatCode="0.0">
                  <c:v>6.896227125536563</c:v>
                </c:pt>
                <c:pt idx="163" formatCode="0.0">
                  <c:v>6.7164319602379692</c:v>
                </c:pt>
                <c:pt idx="164" formatCode="0.0">
                  <c:v>5.9313577829655868</c:v>
                </c:pt>
                <c:pt idx="165" formatCode="0.0">
                  <c:v>6.1883424956698576</c:v>
                </c:pt>
                <c:pt idx="166" formatCode="0.0">
                  <c:v>6.0085473303712629</c:v>
                </c:pt>
                <c:pt idx="167" formatCode="0.0">
                  <c:v>5.9191204156939534</c:v>
                </c:pt>
                <c:pt idx="168" formatCode="0.0">
                  <c:v>5.5943595150237231</c:v>
                </c:pt>
                <c:pt idx="169" formatCode="0.0">
                  <c:v>5.2705399502974624</c:v>
                </c:pt>
                <c:pt idx="170" formatCode="0.0">
                  <c:v>4.8958882445967307</c:v>
                </c:pt>
                <c:pt idx="171" formatCode="0.0">
                  <c:v>4.468521726033587</c:v>
                </c:pt>
                <c:pt idx="172" formatCode="0.0">
                  <c:v>3.6505007907221936</c:v>
                </c:pt>
                <c:pt idx="173" formatCode="0.0">
                  <c:v>3.417049476617215</c:v>
                </c:pt>
                <c:pt idx="174" formatCode="0.0">
                  <c:v>3.4302281798328189</c:v>
                </c:pt>
                <c:pt idx="175" formatCode="0.0">
                  <c:v>3.4132841328413286</c:v>
                </c:pt>
                <c:pt idx="176" formatCode="0.0">
                  <c:v>3.3389185932675649</c:v>
                </c:pt>
                <c:pt idx="177" formatCode="0.0">
                  <c:v>3.3153851946682726</c:v>
                </c:pt>
                <c:pt idx="178" formatCode="0.0">
                  <c:v>3.3953987499058664</c:v>
                </c:pt>
                <c:pt idx="179" formatCode="0.0">
                  <c:v>3.2391369832065671</c:v>
                </c:pt>
                <c:pt idx="180" formatCode="0.0">
                  <c:v>3.0593418179079754</c:v>
                </c:pt>
                <c:pt idx="181" formatCode="0.0">
                  <c:v>2.7468182845093758</c:v>
                </c:pt>
                <c:pt idx="182" formatCode="0.0">
                  <c:v>2.6498606822802921</c:v>
                </c:pt>
                <c:pt idx="183" formatCode="0.0">
                  <c:v>2.4324120792228325</c:v>
                </c:pt>
                <c:pt idx="184" formatCode="0.0">
                  <c:v>2.3288651253859474</c:v>
                </c:pt>
                <c:pt idx="185" formatCode="0.0">
                  <c:v>2.1650726711348747</c:v>
                </c:pt>
                <c:pt idx="186" formatCode="0.0">
                  <c:v>2.1340085849838082</c:v>
                </c:pt>
                <c:pt idx="187" formatCode="0.0">
                  <c:v>2.1104751863845168</c:v>
                </c:pt>
                <c:pt idx="188" formatCode="0.0">
                  <c:v>2.0897657956171396</c:v>
                </c:pt>
                <c:pt idx="189" formatCode="0.0">
                  <c:v>2.0219896076511787</c:v>
                </c:pt>
                <c:pt idx="190" formatCode="0.0">
                  <c:v>2.0304616311469235</c:v>
                </c:pt>
                <c:pt idx="191" formatCode="0.0">
                  <c:v>2.0605843813540186</c:v>
                </c:pt>
                <c:pt idx="192" formatCode="0.0">
                  <c:v>2.1688380149107607</c:v>
                </c:pt>
                <c:pt idx="193" formatCode="0.0">
                  <c:v>2.150952631975299</c:v>
                </c:pt>
                <c:pt idx="194" formatCode="0.0">
                  <c:v>2.0991791550568566</c:v>
                </c:pt>
                <c:pt idx="195" formatCode="0.0">
                  <c:v>2.0502296859703288</c:v>
                </c:pt>
                <c:pt idx="196" formatCode="0.0">
                  <c:v>2.1443632803674983</c:v>
                </c:pt>
                <c:pt idx="197" formatCode="0.0">
                  <c:v>2.086941787785225</c:v>
                </c:pt>
                <c:pt idx="198" formatCode="0.0">
                  <c:v>1.9570374275171323</c:v>
                </c:pt>
                <c:pt idx="199" formatCode="0.0">
                  <c:v>1.7508848557873331</c:v>
                </c:pt>
                <c:pt idx="200" formatCode="0.0">
                  <c:v>1.6426312222305897</c:v>
                </c:pt>
                <c:pt idx="201" formatCode="0.0">
                  <c:v>1.5710896904887419</c:v>
                </c:pt>
                <c:pt idx="202" formatCode="0.0">
                  <c:v>1.6162738157993828</c:v>
                </c:pt>
                <c:pt idx="203" formatCode="0.0">
                  <c:v>1.5193162135702989</c:v>
                </c:pt>
                <c:pt idx="204" formatCode="0.0">
                  <c:v>1.4957828149710068</c:v>
                </c:pt>
                <c:pt idx="205" formatCode="0.0">
                  <c:v>1.5400256043376759</c:v>
                </c:pt>
                <c:pt idx="206" formatCode="0.0">
                  <c:v>1.6143911439114391</c:v>
                </c:pt>
                <c:pt idx="207" formatCode="0.0">
                  <c:v>1.7273514571880408</c:v>
                </c:pt>
                <c:pt idx="208" formatCode="0.0">
                  <c:v>1.7612395511710219</c:v>
                </c:pt>
                <c:pt idx="209" formatCode="0.0">
                  <c:v>1.7499435198433619</c:v>
                </c:pt>
                <c:pt idx="210" formatCode="0.0">
                  <c:v>1.8327810829128701</c:v>
                </c:pt>
                <c:pt idx="211" formatCode="0.0">
                  <c:v>1.8967919271029443</c:v>
                </c:pt>
                <c:pt idx="212" formatCode="0.0">
                  <c:v>1.8638451690639357</c:v>
                </c:pt>
                <c:pt idx="213" formatCode="0.0">
                  <c:v>1.8911439114391142</c:v>
                </c:pt>
                <c:pt idx="214" formatCode="0.0">
                  <c:v>1.9287973491979817</c:v>
                </c:pt>
                <c:pt idx="215" formatCode="0.0">
                  <c:v>1.977746818284509</c:v>
                </c:pt>
                <c:pt idx="216" formatCode="0.0">
                  <c:v>1.9843361698923114</c:v>
                </c:pt>
                <c:pt idx="217" formatCode="0.0">
                  <c:v>1.9918668574440839</c:v>
                </c:pt>
                <c:pt idx="218" formatCode="0.0">
                  <c:v>2.0182242638752919</c:v>
                </c:pt>
                <c:pt idx="219" formatCode="0.0">
                  <c:v>1.9975148731079151</c:v>
                </c:pt>
                <c:pt idx="220" formatCode="0.0">
                  <c:v>2.0332856389788385</c:v>
                </c:pt>
                <c:pt idx="221" formatCode="0.0">
                  <c:v>1.9937495293320282</c:v>
                </c:pt>
                <c:pt idx="222" formatCode="0.0">
                  <c:v>2.0426989984185551</c:v>
                </c:pt>
                <c:pt idx="223" formatCode="0.0">
                  <c:v>2.2497929060923272</c:v>
                </c:pt>
                <c:pt idx="224" formatCode="0.0">
                  <c:v>2.1631899992469319</c:v>
                </c:pt>
                <c:pt idx="225" formatCode="0.0">
                  <c:v>2.080352436177423</c:v>
                </c:pt>
                <c:pt idx="226" formatCode="0.0">
                  <c:v>2.0756457564575648</c:v>
                </c:pt>
                <c:pt idx="227" formatCode="0.0">
                  <c:v>2.0342269749228103</c:v>
                </c:pt>
                <c:pt idx="228" formatCode="0.0">
                  <c:v>1.9768054823405381</c:v>
                </c:pt>
                <c:pt idx="229" formatCode="0.0">
                  <c:v>1.8939679192710297</c:v>
                </c:pt>
                <c:pt idx="230" formatCode="0.0">
                  <c:v>1.6765193162135703</c:v>
                </c:pt>
                <c:pt idx="231" formatCode="0.0">
                  <c:v>1.7179380977483241</c:v>
                </c:pt>
                <c:pt idx="232" formatCode="0.0">
                  <c:v>1.6567512613901649</c:v>
                </c:pt>
                <c:pt idx="233" formatCode="0.0">
                  <c:v>1.6614579411100241</c:v>
                </c:pt>
                <c:pt idx="234" formatCode="0.0">
                  <c:v>1.6351005346788166</c:v>
                </c:pt>
                <c:pt idx="235" formatCode="0.0">
                  <c:v>1.6878153475412305</c:v>
                </c:pt>
                <c:pt idx="236" formatCode="0.0">
                  <c:v>1.6520445816703069</c:v>
                </c:pt>
                <c:pt idx="237" formatCode="0.0">
                  <c:v>1.6002711047518643</c:v>
                </c:pt>
                <c:pt idx="238" formatCode="0.0">
                  <c:v>1.5635590029369679</c:v>
                </c:pt>
                <c:pt idx="239" formatCode="0.0">
                  <c:v>1.5597936591610815</c:v>
                </c:pt>
                <c:pt idx="240" formatCode="0.0">
                  <c:v>1.4816627758114316</c:v>
                </c:pt>
                <c:pt idx="241" formatCode="0.0">
                  <c:v>1.432713306724904</c:v>
                </c:pt>
                <c:pt idx="242" formatCode="0.0">
                  <c:v>1.3263423450561038</c:v>
                </c:pt>
                <c:pt idx="243" formatCode="0.0">
                  <c:v>1.271744860305746</c:v>
                </c:pt>
                <c:pt idx="244" formatCode="0.0">
                  <c:v>1.2915129151291511</c:v>
                </c:pt>
                <c:pt idx="245" formatCode="0.0">
                  <c:v>1.260448828978086</c:v>
                </c:pt>
                <c:pt idx="246" formatCode="0.0">
                  <c:v>1.2651555086979442</c:v>
                </c:pt>
                <c:pt idx="247" formatCode="0.0">
                  <c:v>1.2915129151291511</c:v>
                </c:pt>
                <c:pt idx="248" formatCode="0.0">
                  <c:v>1.2453874538745389</c:v>
                </c:pt>
                <c:pt idx="249" formatCode="0.0">
                  <c:v>1.2369154303787939</c:v>
                </c:pt>
                <c:pt idx="250" formatCode="0.0">
                  <c:v>1.2651555086979442</c:v>
                </c:pt>
                <c:pt idx="251" formatCode="0.0">
                  <c:v>1.2435047819865954</c:v>
                </c:pt>
                <c:pt idx="252" formatCode="0.0">
                  <c:v>1.2246780631071617</c:v>
                </c:pt>
                <c:pt idx="253" formatCode="0.0">
                  <c:v>1.2359740944348216</c:v>
                </c:pt>
                <c:pt idx="254" formatCode="0.0">
                  <c:v>1.2369154303787939</c:v>
                </c:pt>
                <c:pt idx="255" formatCode="0.0">
                  <c:v>1.2952782589050378</c:v>
                </c:pt>
                <c:pt idx="256" formatCode="0.0">
                  <c:v>1.2962195948490098</c:v>
                </c:pt>
                <c:pt idx="257" formatCode="0.0">
                  <c:v>1.3112809699525569</c:v>
                </c:pt>
                <c:pt idx="258" formatCode="0.0">
                  <c:v>1.3470517358234806</c:v>
                </c:pt>
                <c:pt idx="259" formatCode="0.0">
                  <c:v>1.3960012049100083</c:v>
                </c:pt>
                <c:pt idx="260" formatCode="0.0">
                  <c:v>1.4713080804277432</c:v>
                </c:pt>
                <c:pt idx="261" formatCode="0.0">
                  <c:v>1.5127268619624974</c:v>
                </c:pt>
                <c:pt idx="262" formatCode="0.0">
                  <c:v>1.5550869794412234</c:v>
                </c:pt>
                <c:pt idx="263" formatCode="0.0">
                  <c:v>1.6153324798554112</c:v>
                </c:pt>
                <c:pt idx="264" formatCode="0.0">
                  <c:v>1.689698019429174</c:v>
                </c:pt>
                <c:pt idx="265" formatCode="0.0">
                  <c:v>1.6878153475412307</c:v>
                </c:pt>
                <c:pt idx="266" formatCode="0.0">
                  <c:v>1.7414714963476163</c:v>
                </c:pt>
                <c:pt idx="267" formatCode="0.0">
                  <c:v>1.8393704345206721</c:v>
                </c:pt>
                <c:pt idx="268" formatCode="0.0">
                  <c:v>1.9683334588447927</c:v>
                </c:pt>
                <c:pt idx="269" formatCode="0.0">
                  <c:v>2.2102567964455155</c:v>
                </c:pt>
                <c:pt idx="270" formatCode="0.0">
                  <c:v>2.4804202123653893</c:v>
                </c:pt>
                <c:pt idx="271" formatCode="0.0">
                  <c:v>2.7185782061902253</c:v>
                </c:pt>
                <c:pt idx="272" formatCode="0.0">
                  <c:v>3.1054672791625881</c:v>
                </c:pt>
                <c:pt idx="273" formatCode="0.0">
                  <c:v>3.6768581971533996</c:v>
                </c:pt>
                <c:pt idx="274" formatCode="0.0">
                  <c:v>4.3273213344378343</c:v>
                </c:pt>
                <c:pt idx="275" formatCode="0.0">
                  <c:v>5.0916861209428426</c:v>
                </c:pt>
                <c:pt idx="276" formatCode="0.0">
                  <c:v>5.8824083138790586</c:v>
                </c:pt>
                <c:pt idx="277" formatCode="0.0">
                  <c:v>6.6222983658408028</c:v>
                </c:pt>
                <c:pt idx="278" formatCode="0.0">
                  <c:v>7.1334437834174285</c:v>
                </c:pt>
                <c:pt idx="279" formatCode="0.0">
                  <c:v>7.39890051961744</c:v>
                </c:pt>
                <c:pt idx="280" formatCode="0.0">
                  <c:v>7.8083816552451264</c:v>
                </c:pt>
                <c:pt idx="281" formatCode="0.0">
                  <c:v>8.3967166202274299</c:v>
                </c:pt>
                <c:pt idx="282" formatCode="0.0">
                  <c:v>8.8626779124934139</c:v>
                </c:pt>
                <c:pt idx="283" formatCode="0.0">
                  <c:v>8.9313954364033457</c:v>
                </c:pt>
                <c:pt idx="284" formatCode="0.0">
                  <c:v>9.7964831689133209</c:v>
                </c:pt>
                <c:pt idx="285" formatCode="0.0">
                  <c:v>10.63521349499209</c:v>
                </c:pt>
                <c:pt idx="286" formatCode="0.0">
                  <c:v>11.376986218841786</c:v>
                </c:pt>
                <c:pt idx="287" formatCode="0.0">
                  <c:v>11.83071014383613</c:v>
                </c:pt>
                <c:pt idx="288" formatCode="0.0">
                  <c:v>13.164583176444012</c:v>
                </c:pt>
                <c:pt idx="289" formatCode="0.0">
                  <c:v>14.483394833948344</c:v>
                </c:pt>
                <c:pt idx="290" formatCode="0.0">
                  <c:v>16.472437683560504</c:v>
                </c:pt>
                <c:pt idx="291" formatCode="0.0">
                  <c:v>16.807553279614432</c:v>
                </c:pt>
                <c:pt idx="292" formatCode="0.0">
                  <c:v>16.639995481587476</c:v>
                </c:pt>
                <c:pt idx="293" formatCode="0.0">
                  <c:v>16.879094811356275</c:v>
                </c:pt>
                <c:pt idx="294" formatCode="0.0">
                  <c:v>17.465547104450636</c:v>
                </c:pt>
                <c:pt idx="295" formatCode="0.0">
                  <c:v>18.333458844792531</c:v>
                </c:pt>
                <c:pt idx="296" formatCode="0.0">
                  <c:v>19.506363430981246</c:v>
                </c:pt>
                <c:pt idx="297" formatCode="0.0">
                  <c:v>20.241546803223123</c:v>
                </c:pt>
                <c:pt idx="298" formatCode="0.0">
                  <c:v>21.599894570374275</c:v>
                </c:pt>
                <c:pt idx="299" formatCode="0.0">
                  <c:v>22.400030122750206</c:v>
                </c:pt>
                <c:pt idx="300" formatCode="0.0">
                  <c:v>23.607764138865878</c:v>
                </c:pt>
                <c:pt idx="301" formatCode="0.0">
                  <c:v>24.384366292642518</c:v>
                </c:pt>
                <c:pt idx="302" formatCode="0.0">
                  <c:v>25.94227727991565</c:v>
                </c:pt>
                <c:pt idx="303" formatCode="0.0">
                  <c:v>27.035168310866787</c:v>
                </c:pt>
                <c:pt idx="304" formatCode="0.0">
                  <c:v>29.477935085473302</c:v>
                </c:pt>
                <c:pt idx="305" formatCode="0.0">
                  <c:v>31.511220724452144</c:v>
                </c:pt>
                <c:pt idx="306" formatCode="0.0">
                  <c:v>33.675352059643046</c:v>
                </c:pt>
                <c:pt idx="307" formatCode="0.0">
                  <c:v>34.696701558852325</c:v>
                </c:pt>
                <c:pt idx="308" formatCode="0.0">
                  <c:v>34.867083364711192</c:v>
                </c:pt>
                <c:pt idx="309" formatCode="0.0">
                  <c:v>34.340876572031021</c:v>
                </c:pt>
                <c:pt idx="310" formatCode="0.0">
                  <c:v>33.170795993674218</c:v>
                </c:pt>
                <c:pt idx="311" formatCode="0.0">
                  <c:v>30.296897356728671</c:v>
                </c:pt>
                <c:pt idx="312" formatCode="0.0">
                  <c:v>27.804239777091649</c:v>
                </c:pt>
                <c:pt idx="313" formatCode="0.0">
                  <c:v>26.394118533022066</c:v>
                </c:pt>
                <c:pt idx="314" formatCode="0.0">
                  <c:v>24.661119060170186</c:v>
                </c:pt>
                <c:pt idx="315" formatCode="0.0">
                  <c:v>23.507041192860903</c:v>
                </c:pt>
                <c:pt idx="316" formatCode="0.0">
                  <c:v>22.198584230740266</c:v>
                </c:pt>
                <c:pt idx="317" formatCode="0.0">
                  <c:v>20.822351080653668</c:v>
                </c:pt>
                <c:pt idx="318" formatCode="0.0">
                  <c:v>19.644739814745083</c:v>
                </c:pt>
                <c:pt idx="319" formatCode="0.0">
                  <c:v>19.009338052564196</c:v>
                </c:pt>
                <c:pt idx="320" formatCode="0.0">
                  <c:v>17.414714963476165</c:v>
                </c:pt>
                <c:pt idx="321" formatCode="0.0">
                  <c:v>16.289818510430003</c:v>
                </c:pt>
                <c:pt idx="322" formatCode="0.0">
                  <c:v>15.508509676933503</c:v>
                </c:pt>
                <c:pt idx="323" formatCode="0.0">
                  <c:v>13.344378341742599</c:v>
                </c:pt>
                <c:pt idx="324" formatCode="0.0">
                  <c:v>11.87024625348295</c:v>
                </c:pt>
                <c:pt idx="325" formatCode="0.0">
                  <c:v>10.363167407184276</c:v>
                </c:pt>
                <c:pt idx="326" formatCode="0.0">
                  <c:v>8.4880262067926804</c:v>
                </c:pt>
                <c:pt idx="327" formatCode="0.0">
                  <c:v>7.7556668423827109</c:v>
                </c:pt>
                <c:pt idx="328" formatCode="0.0">
                  <c:v>7.2068679870472181</c:v>
                </c:pt>
                <c:pt idx="329" formatCode="0.0">
                  <c:v>6.5272234354996632</c:v>
                </c:pt>
                <c:pt idx="330" formatCode="0.0">
                  <c:v>6.0716168386173663</c:v>
                </c:pt>
                <c:pt idx="331" formatCode="0.0">
                  <c:v>5.7346185706755017</c:v>
                </c:pt>
                <c:pt idx="332" formatCode="0.0">
                  <c:v>5.6706077264854287</c:v>
                </c:pt>
                <c:pt idx="333" formatCode="0.0">
                  <c:v>5.5369380224414488</c:v>
                </c:pt>
                <c:pt idx="334" formatCode="0.0">
                  <c:v>5.2903080051208695</c:v>
                </c:pt>
                <c:pt idx="335" formatCode="0.0">
                  <c:v>5.0822727615031278</c:v>
                </c:pt>
                <c:pt idx="336" formatCode="0.0">
                  <c:v>4.9740191279463826</c:v>
                </c:pt>
                <c:pt idx="337" formatCode="0.0">
                  <c:v>4.6577302507718947</c:v>
                </c:pt>
                <c:pt idx="338" formatCode="0.0">
                  <c:v>4.482641765193164</c:v>
                </c:pt>
                <c:pt idx="339" formatCode="0.0">
                  <c:v>4.2030649898335728</c:v>
                </c:pt>
                <c:pt idx="340" formatCode="0.0">
                  <c:v>4.1889449506739957</c:v>
                </c:pt>
                <c:pt idx="341" formatCode="0.0">
                  <c:v>4.0157391369832061</c:v>
                </c:pt>
                <c:pt idx="342" formatCode="0.0">
                  <c:v>3.9225468785300097</c:v>
                </c:pt>
                <c:pt idx="343" formatCode="0.0">
                  <c:v>3.8058212214775216</c:v>
                </c:pt>
                <c:pt idx="344" formatCode="0.0">
                  <c:v>3.8444159951803596</c:v>
                </c:pt>
                <c:pt idx="345" formatCode="0.0">
                  <c:v>3.8368853076285863</c:v>
                </c:pt>
                <c:pt idx="346" formatCode="0.0">
                  <c:v>3.7276903381278714</c:v>
                </c:pt>
                <c:pt idx="347" formatCode="0.0">
                  <c:v>3.4142254687853004</c:v>
                </c:pt>
                <c:pt idx="348" formatCode="0.0">
                  <c:v>3.2843211085172088</c:v>
                </c:pt>
                <c:pt idx="349" formatCode="0.0">
                  <c:v>3.2504330145342273</c:v>
                </c:pt>
                <c:pt idx="350" formatCode="0.0">
                  <c:v>3.1723021311845767</c:v>
                </c:pt>
                <c:pt idx="351" formatCode="0.0">
                  <c:v>2.96709089539875</c:v>
                </c:pt>
                <c:pt idx="352" formatCode="0.0">
                  <c:v>2.7223435499661126</c:v>
                </c:pt>
                <c:pt idx="353" formatCode="0.0">
                  <c:v>2.6037352210256799</c:v>
                </c:pt>
                <c:pt idx="354" formatCode="0.0">
                  <c:v>2.5444310565554646</c:v>
                </c:pt>
                <c:pt idx="355" formatCode="0.0">
                  <c:v>2.4888922358611341</c:v>
                </c:pt>
                <c:pt idx="356" formatCode="0.0">
                  <c:v>2.3872279539121926</c:v>
                </c:pt>
                <c:pt idx="357" formatCode="0.0">
                  <c:v>2.3505158520972969</c:v>
                </c:pt>
                <c:pt idx="358" formatCode="0.0">
                  <c:v>2.2488515701483549</c:v>
                </c:pt>
                <c:pt idx="359" formatCode="0.0">
                  <c:v>2.1951954213419684</c:v>
                </c:pt>
                <c:pt idx="360" formatCode="0.0">
                  <c:v>2.0831764440093385</c:v>
                </c:pt>
                <c:pt idx="361" formatCode="0.0">
                  <c:v>2.0530536938022435</c:v>
                </c:pt>
                <c:pt idx="362" formatCode="0.0">
                  <c:v>1.9673921229008211</c:v>
                </c:pt>
                <c:pt idx="363" formatCode="0.0">
                  <c:v>2.0379923186986972</c:v>
                </c:pt>
                <c:pt idx="364" formatCode="0.0">
                  <c:v>2.1217712177121779</c:v>
                </c:pt>
                <c:pt idx="365" formatCode="0.0">
                  <c:v>2.2441448904284966</c:v>
                </c:pt>
                <c:pt idx="366" formatCode="0.0">
                  <c:v>2.2544995858121846</c:v>
                </c:pt>
                <c:pt idx="367" formatCode="0.0">
                  <c:v>2.2272008434370063</c:v>
                </c:pt>
                <c:pt idx="368" formatCode="0.0">
                  <c:v>2.263912945251902</c:v>
                </c:pt>
                <c:pt idx="369" formatCode="0.0">
                  <c:v>2.3006250470667977</c:v>
                </c:pt>
                <c:pt idx="370" formatCode="0.0">
                  <c:v>2.3100384065065143</c:v>
                </c:pt>
                <c:pt idx="371" formatCode="0.0">
                  <c:v>2.2196701558852325</c:v>
                </c:pt>
                <c:pt idx="372" formatCode="0.0">
                  <c:v>2.0831764440093385</c:v>
                </c:pt>
                <c:pt idx="373" formatCode="0.0">
                  <c:v>2.0116349122674899</c:v>
                </c:pt>
                <c:pt idx="374" formatCode="0.0">
                  <c:v>2.0925898034490547</c:v>
                </c:pt>
                <c:pt idx="375" formatCode="0.0">
                  <c:v>2.0822351080653667</c:v>
                </c:pt>
                <c:pt idx="376" formatCode="0.0">
                  <c:v>2.1227125536561489</c:v>
                </c:pt>
                <c:pt idx="377" formatCode="0.0">
                  <c:v>2.0681150689057914</c:v>
                </c:pt>
                <c:pt idx="378" formatCode="0.0">
                  <c:v>2.0050455606596875</c:v>
                </c:pt>
                <c:pt idx="379" formatCode="0.0">
                  <c:v>1.9259733413660667</c:v>
                </c:pt>
                <c:pt idx="380" formatCode="0.0">
                  <c:v>2.0210482717072069</c:v>
                </c:pt>
                <c:pt idx="381" formatCode="0.0">
                  <c:v>2.0163415919873482</c:v>
                </c:pt>
                <c:pt idx="382" formatCode="0.0">
                  <c:v>2.0069282325476316</c:v>
                </c:pt>
                <c:pt idx="383" formatCode="0.0">
                  <c:v>1.9419760524135854</c:v>
                </c:pt>
                <c:pt idx="384" formatCode="0.0">
                  <c:v>1.920325325702237</c:v>
                </c:pt>
                <c:pt idx="385" formatCode="0.0">
                  <c:v>1.9711574666767087</c:v>
                </c:pt>
                <c:pt idx="386" formatCode="0.0">
                  <c:v>2.0285789592589798</c:v>
                </c:pt>
                <c:pt idx="387" formatCode="0.0">
                  <c:v>1.9617441072369908</c:v>
                </c:pt>
                <c:pt idx="388" formatCode="0.0">
                  <c:v>1.9852775058362835</c:v>
                </c:pt>
                <c:pt idx="389" formatCode="0.0">
                  <c:v>1.8836132238873411</c:v>
                </c:pt>
                <c:pt idx="390" formatCode="0.0">
                  <c:v>1.8158370359213798</c:v>
                </c:pt>
                <c:pt idx="391" formatCode="0.0">
                  <c:v>1.7875969576022288</c:v>
                </c:pt>
                <c:pt idx="392" formatCode="0.0">
                  <c:v>1.7047593945327211</c:v>
                </c:pt>
                <c:pt idx="393" formatCode="0.0">
                  <c:v>1.5447322840575346</c:v>
                </c:pt>
                <c:pt idx="394" formatCode="0.0">
                  <c:v>1.6285111830710144</c:v>
                </c:pt>
                <c:pt idx="395" formatCode="0.0">
                  <c:v>1.5682656826568266</c:v>
                </c:pt>
                <c:pt idx="396" formatCode="0.0">
                  <c:v>1.6981700429249191</c:v>
                </c:pt>
                <c:pt idx="397" formatCode="0.0">
                  <c:v>1.8177197078093228</c:v>
                </c:pt>
                <c:pt idx="398" formatCode="0.0">
                  <c:v>1.869493184727766</c:v>
                </c:pt>
                <c:pt idx="399" formatCode="0.0">
                  <c:v>1.9928081933880566</c:v>
                </c:pt>
                <c:pt idx="400" formatCode="0.0">
                  <c:v>2.1490699600873566</c:v>
                </c:pt>
                <c:pt idx="401" formatCode="0.0">
                  <c:v>2.0587017094660749</c:v>
                </c:pt>
                <c:pt idx="402" formatCode="0.0">
                  <c:v>2.1255365614880644</c:v>
                </c:pt>
                <c:pt idx="403" formatCode="0.0">
                  <c:v>2.1038858347767153</c:v>
                </c:pt>
                <c:pt idx="404" formatCode="0.0">
                  <c:v>2.108592514496574</c:v>
                </c:pt>
                <c:pt idx="405" formatCode="0.0">
                  <c:v>2.1622486633029596</c:v>
                </c:pt>
                <c:pt idx="406" formatCode="0.0">
                  <c:v>2.1358912568717536</c:v>
                </c:pt>
                <c:pt idx="407" formatCode="0.0">
                  <c:v>2.1622486633029592</c:v>
                </c:pt>
                <c:pt idx="408" formatCode="0.0">
                  <c:v>2.2290835153249491</c:v>
                </c:pt>
                <c:pt idx="409" formatCode="0.0">
                  <c:v>2.1641313351909037</c:v>
                </c:pt>
                <c:pt idx="410" formatCode="0.0">
                  <c:v>2.1584833195270732</c:v>
                </c:pt>
                <c:pt idx="411" formatCode="0.0">
                  <c:v>2.1547179757511867</c:v>
                </c:pt>
                <c:pt idx="412" formatCode="0.0">
                  <c:v>2.1876647337901951</c:v>
                </c:pt>
                <c:pt idx="413" formatCode="0.0">
                  <c:v>2.1631899992469319</c:v>
                </c:pt>
                <c:pt idx="414" formatCode="0.0">
                  <c:v>2.1067098426086308</c:v>
                </c:pt>
                <c:pt idx="415" formatCode="0.0">
                  <c:v>1.9683334588447927</c:v>
                </c:pt>
                <c:pt idx="416" formatCode="0.0">
                  <c:v>2.150011296031328</c:v>
                </c:pt>
                <c:pt idx="417" formatCode="0.0">
                  <c:v>2.2705022968597035</c:v>
                </c:pt>
                <c:pt idx="418" formatCode="0.0">
                  <c:v>2.3025077189547405</c:v>
                </c:pt>
                <c:pt idx="419" formatCode="0.0">
                  <c:v>2.3458091723774386</c:v>
                </c:pt>
                <c:pt idx="420" formatCode="0.0">
                  <c:v>2.554785751939153</c:v>
                </c:pt>
                <c:pt idx="421" formatCode="0.0">
                  <c:v>2.7976504254838463</c:v>
                </c:pt>
                <c:pt idx="422" formatCode="0.0">
                  <c:v>3.1826568265682655</c:v>
                </c:pt>
                <c:pt idx="423" formatCode="0.0">
                  <c:v>3.3775133669704052</c:v>
                </c:pt>
                <c:pt idx="424" formatCode="0.0">
                  <c:v>3.5507191806611944</c:v>
                </c:pt>
                <c:pt idx="425" formatCode="0.0">
                  <c:v>3.758754424278937</c:v>
                </c:pt>
                <c:pt idx="426" formatCode="0.0">
                  <c:v>3.8387679795165295</c:v>
                </c:pt>
                <c:pt idx="427" formatCode="0.0">
                  <c:v>3.9658483319527069</c:v>
                </c:pt>
                <c:pt idx="428" formatCode="0.0">
                  <c:v>4.3470893892612397</c:v>
                </c:pt>
                <c:pt idx="429" formatCode="0.0">
                  <c:v>4.9118909556442514</c:v>
                </c:pt>
                <c:pt idx="430" formatCode="0.0">
                  <c:v>5.3439641539272529</c:v>
                </c:pt>
                <c:pt idx="431" formatCode="0.0">
                  <c:v>5.6828450937570603</c:v>
                </c:pt>
                <c:pt idx="432" formatCode="0.0">
                  <c:v>5.9097070562542378</c:v>
                </c:pt>
                <c:pt idx="433" formatCode="0.0">
                  <c:v>6.2165825739890055</c:v>
                </c:pt>
                <c:pt idx="434" formatCode="0.0">
                  <c:v>6.7719707809323006</c:v>
                </c:pt>
                <c:pt idx="435" formatCode="0.0">
                  <c:v>7.1183824083138791</c:v>
                </c:pt>
                <c:pt idx="436" formatCode="0.0">
                  <c:v>7.3358310113713383</c:v>
                </c:pt>
                <c:pt idx="437" formatCode="0.0">
                  <c:v>7.5673996535883736</c:v>
                </c:pt>
                <c:pt idx="438" formatCode="0.0">
                  <c:v>8.3967166202274264</c:v>
                </c:pt>
                <c:pt idx="439" formatCode="0.0">
                  <c:v>8.7064161457941118</c:v>
                </c:pt>
                <c:pt idx="440" formatCode="0.0">
                  <c:v>8.9709315460501529</c:v>
                </c:pt>
                <c:pt idx="441" formatCode="0.0">
                  <c:v>9.2335642744182547</c:v>
                </c:pt>
                <c:pt idx="442" formatCode="0.0">
                  <c:v>9.8783793960388611</c:v>
                </c:pt>
                <c:pt idx="443" formatCode="0.0">
                  <c:v>10.34151668047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A96-4795-8581-791AAA8989B0}"/>
            </c:ext>
          </c:extLst>
        </c:ser>
        <c:ser>
          <c:idx val="5"/>
          <c:order val="2"/>
          <c:tx>
            <c:v>Limpopo</c:v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U$5:$CU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2.3877175807645481E-3</c:v>
                </c:pt>
                <c:pt idx="7" formatCode="0.0">
                  <c:v>2.3877175807645481E-3</c:v>
                </c:pt>
                <c:pt idx="8" formatCode="0.0">
                  <c:v>2.3877175807645481E-3</c:v>
                </c:pt>
                <c:pt idx="9" formatCode="0.0">
                  <c:v>2.3877175807645481E-3</c:v>
                </c:pt>
                <c:pt idx="10" formatCode="0.0">
                  <c:v>2.3877175807645481E-3</c:v>
                </c:pt>
                <c:pt idx="11" formatCode="0.0">
                  <c:v>2.3877175807645481E-3</c:v>
                </c:pt>
                <c:pt idx="12" formatCode="0.0">
                  <c:v>4.7754351615290954E-3</c:v>
                </c:pt>
                <c:pt idx="13" formatCode="0.0">
                  <c:v>7.1631527422936422E-3</c:v>
                </c:pt>
                <c:pt idx="14" formatCode="0.0">
                  <c:v>7.1631527422936422E-3</c:v>
                </c:pt>
                <c:pt idx="15" formatCode="0.0">
                  <c:v>7.1631527422936422E-3</c:v>
                </c:pt>
                <c:pt idx="16" formatCode="0.0">
                  <c:v>1.1938587903822738E-2</c:v>
                </c:pt>
                <c:pt idx="17" formatCode="0.0">
                  <c:v>1.1938587903822738E-2</c:v>
                </c:pt>
                <c:pt idx="18" formatCode="0.0">
                  <c:v>2.3877175807645475E-2</c:v>
                </c:pt>
                <c:pt idx="19" formatCode="0.0">
                  <c:v>2.3877175807645475E-2</c:v>
                </c:pt>
                <c:pt idx="20" formatCode="0.0">
                  <c:v>1.6714023065351833E-2</c:v>
                </c:pt>
                <c:pt idx="21" formatCode="0.0">
                  <c:v>2.3877175807645475E-2</c:v>
                </c:pt>
                <c:pt idx="22" formatCode="0.0">
                  <c:v>2.3877175807645475E-2</c:v>
                </c:pt>
                <c:pt idx="23" formatCode="0.0">
                  <c:v>2.3877175807645475E-2</c:v>
                </c:pt>
                <c:pt idx="24" formatCode="0.0">
                  <c:v>2.3877175807645475E-2</c:v>
                </c:pt>
                <c:pt idx="25" formatCode="0.0">
                  <c:v>1.6714023065351833E-2</c:v>
                </c:pt>
                <c:pt idx="26" formatCode="0.0">
                  <c:v>1.6714023065351833E-2</c:v>
                </c:pt>
                <c:pt idx="27" formatCode="0.0">
                  <c:v>1.9101740646116385E-2</c:v>
                </c:pt>
                <c:pt idx="28" formatCode="0.0">
                  <c:v>-3.3428046130703666E-2</c:v>
                </c:pt>
                <c:pt idx="29" formatCode="0.0">
                  <c:v>1.6714023065351833E-2</c:v>
                </c:pt>
                <c:pt idx="30" formatCode="0.0">
                  <c:v>1.432630548458729E-2</c:v>
                </c:pt>
                <c:pt idx="31" formatCode="0.0">
                  <c:v>1.9101740646116389E-2</c:v>
                </c:pt>
                <c:pt idx="32" formatCode="0.0">
                  <c:v>1.1938587903822732E-2</c:v>
                </c:pt>
                <c:pt idx="33" formatCode="0.0">
                  <c:v>9.5508703230581891E-3</c:v>
                </c:pt>
                <c:pt idx="34" formatCode="0.0">
                  <c:v>9.5508703230581891E-3</c:v>
                </c:pt>
                <c:pt idx="35" formatCode="0.0">
                  <c:v>5.7305221938349173E-2</c:v>
                </c:pt>
                <c:pt idx="36" formatCode="0.0">
                  <c:v>9.5508703230581891E-3</c:v>
                </c:pt>
                <c:pt idx="37" formatCode="0.0">
                  <c:v>9.5508703230581891E-3</c:v>
                </c:pt>
                <c:pt idx="38" formatCode="0.0">
                  <c:v>4.7754351615290954E-3</c:v>
                </c:pt>
                <c:pt idx="39" formatCode="0.0">
                  <c:v>7.1631527422936422E-3</c:v>
                </c:pt>
                <c:pt idx="40" formatCode="0.0">
                  <c:v>9.5508703230581891E-3</c:v>
                </c:pt>
                <c:pt idx="41" formatCode="0.0">
                  <c:v>9.5508703230581891E-3</c:v>
                </c:pt>
                <c:pt idx="42" formatCode="0.0">
                  <c:v>7.1631527422936422E-3</c:v>
                </c:pt>
                <c:pt idx="43" formatCode="0.0">
                  <c:v>4.7754351615290954E-3</c:v>
                </c:pt>
                <c:pt idx="44" formatCode="0.0">
                  <c:v>2.3877175807645481E-3</c:v>
                </c:pt>
                <c:pt idx="45" formatCode="0.0">
                  <c:v>7.1631527422936422E-3</c:v>
                </c:pt>
                <c:pt idx="46" formatCode="0.0">
                  <c:v>9.5508703230581891E-3</c:v>
                </c:pt>
                <c:pt idx="47" formatCode="0.0">
                  <c:v>9.5508703230581891E-3</c:v>
                </c:pt>
                <c:pt idx="48" formatCode="0.0">
                  <c:v>9.5508703230581891E-3</c:v>
                </c:pt>
                <c:pt idx="49" formatCode="0.0">
                  <c:v>9.5508703230581891E-3</c:v>
                </c:pt>
                <c:pt idx="50" formatCode="0.0">
                  <c:v>9.5508703230581891E-3</c:v>
                </c:pt>
                <c:pt idx="51" formatCode="0.0">
                  <c:v>1.1938587903822738E-2</c:v>
                </c:pt>
                <c:pt idx="52" formatCode="0.0">
                  <c:v>1.1938587903822738E-2</c:v>
                </c:pt>
                <c:pt idx="53" formatCode="0.0">
                  <c:v>1.4326305484587284E-2</c:v>
                </c:pt>
                <c:pt idx="54" formatCode="0.0">
                  <c:v>1.4326305484587284E-2</c:v>
                </c:pt>
                <c:pt idx="55" formatCode="0.0">
                  <c:v>1.9101740646116385E-2</c:v>
                </c:pt>
                <c:pt idx="56" formatCode="0.0">
                  <c:v>2.148945822688093E-2</c:v>
                </c:pt>
                <c:pt idx="57" formatCode="0.0">
                  <c:v>2.148945822688093E-2</c:v>
                </c:pt>
                <c:pt idx="58" formatCode="0.0">
                  <c:v>2.148945822688093E-2</c:v>
                </c:pt>
                <c:pt idx="59" formatCode="0.0">
                  <c:v>2.148945822688093E-2</c:v>
                </c:pt>
                <c:pt idx="60" formatCode="0.0">
                  <c:v>3.5815763711468211E-2</c:v>
                </c:pt>
                <c:pt idx="61" formatCode="0.0">
                  <c:v>4.0591198872997301E-2</c:v>
                </c:pt>
                <c:pt idx="62" formatCode="0.0">
                  <c:v>3.5815763711468211E-2</c:v>
                </c:pt>
                <c:pt idx="63" formatCode="0.0">
                  <c:v>3.3428046130703659E-2</c:v>
                </c:pt>
                <c:pt idx="64" formatCode="0.0">
                  <c:v>3.3428046130703659E-2</c:v>
                </c:pt>
                <c:pt idx="65" formatCode="0.0">
                  <c:v>3.3428046130703659E-2</c:v>
                </c:pt>
                <c:pt idx="66" formatCode="0.0">
                  <c:v>3.3428046130703659E-2</c:v>
                </c:pt>
                <c:pt idx="67" formatCode="0.0">
                  <c:v>1.9101740646116385E-2</c:v>
                </c:pt>
                <c:pt idx="68" formatCode="0.0">
                  <c:v>5.4917504357584593E-2</c:v>
                </c:pt>
                <c:pt idx="69" formatCode="0.0">
                  <c:v>8.1182397745994603E-2</c:v>
                </c:pt>
                <c:pt idx="70" formatCode="0.0">
                  <c:v>9.5508703230581887E-2</c:v>
                </c:pt>
                <c:pt idx="71" formatCode="0.0">
                  <c:v>9.3120985649817342E-2</c:v>
                </c:pt>
                <c:pt idx="72" formatCode="0.0">
                  <c:v>0.1575893603304602</c:v>
                </c:pt>
                <c:pt idx="73" formatCode="0.0">
                  <c:v>0.15042620758816652</c:v>
                </c:pt>
                <c:pt idx="74" formatCode="0.0">
                  <c:v>0.15520164274969558</c:v>
                </c:pt>
                <c:pt idx="75" formatCode="0.0">
                  <c:v>0.12177359661899193</c:v>
                </c:pt>
                <c:pt idx="76" formatCode="0.0">
                  <c:v>0.10505957355364008</c:v>
                </c:pt>
                <c:pt idx="77" formatCode="0.0">
                  <c:v>9.0733268069052811E-2</c:v>
                </c:pt>
                <c:pt idx="78" formatCode="0.0">
                  <c:v>0.11461044387669829</c:v>
                </c:pt>
                <c:pt idx="79" formatCode="0.0">
                  <c:v>5.4917504357584593E-2</c:v>
                </c:pt>
                <c:pt idx="80" formatCode="0.0">
                  <c:v>0.11938587903822738</c:v>
                </c:pt>
                <c:pt idx="81" formatCode="0.0">
                  <c:v>0.11699816145746282</c:v>
                </c:pt>
                <c:pt idx="82" formatCode="0.0">
                  <c:v>0.11699816145746282</c:v>
                </c:pt>
                <c:pt idx="83" formatCode="0.0">
                  <c:v>0.14326305484587287</c:v>
                </c:pt>
                <c:pt idx="84" formatCode="0.0">
                  <c:v>0.14565077242663738</c:v>
                </c:pt>
                <c:pt idx="85" formatCode="0.0">
                  <c:v>0.14087533726510829</c:v>
                </c:pt>
                <c:pt idx="86" formatCode="0.0">
                  <c:v>0.14803849000740196</c:v>
                </c:pt>
                <c:pt idx="87" formatCode="0.0">
                  <c:v>0.10744729113440463</c:v>
                </c:pt>
                <c:pt idx="88" formatCode="0.0">
                  <c:v>0.10267185597287555</c:v>
                </c:pt>
                <c:pt idx="89" formatCode="0.0">
                  <c:v>0.11938587903822738</c:v>
                </c:pt>
                <c:pt idx="90" formatCode="0.0">
                  <c:v>0.12416131419975643</c:v>
                </c:pt>
                <c:pt idx="91" formatCode="0.0">
                  <c:v>0.14326305484587287</c:v>
                </c:pt>
                <c:pt idx="92" formatCode="0.0">
                  <c:v>0.1360999021035792</c:v>
                </c:pt>
                <c:pt idx="93" formatCode="0.0">
                  <c:v>0.14565077242663738</c:v>
                </c:pt>
                <c:pt idx="94" formatCode="0.0">
                  <c:v>0.17430338339581194</c:v>
                </c:pt>
                <c:pt idx="95" formatCode="0.0">
                  <c:v>0.2220577350111029</c:v>
                </c:pt>
                <c:pt idx="96" formatCode="0.0">
                  <c:v>0.23638404049569023</c:v>
                </c:pt>
                <c:pt idx="97" formatCode="0.0">
                  <c:v>0.28175067453021657</c:v>
                </c:pt>
                <c:pt idx="98" formatCode="0.0">
                  <c:v>0.32950502614550758</c:v>
                </c:pt>
                <c:pt idx="99" formatCode="0.0">
                  <c:v>0.3796470953415631</c:v>
                </c:pt>
                <c:pt idx="100" formatCode="0.0">
                  <c:v>0.53007330292972954</c:v>
                </c:pt>
                <c:pt idx="101" formatCode="0.0">
                  <c:v>0.51335927986437768</c:v>
                </c:pt>
                <c:pt idx="102" formatCode="0.0">
                  <c:v>0.50619612712208384</c:v>
                </c:pt>
                <c:pt idx="103" formatCode="0.0">
                  <c:v>0.56827678422196215</c:v>
                </c:pt>
                <c:pt idx="104" formatCode="0.0">
                  <c:v>0.52529786776820031</c:v>
                </c:pt>
                <c:pt idx="105" formatCode="0.0">
                  <c:v>0.55156276115661018</c:v>
                </c:pt>
                <c:pt idx="106" formatCode="0.0">
                  <c:v>0.60648026551419509</c:v>
                </c:pt>
                <c:pt idx="107" formatCode="0.0">
                  <c:v>0.57543993696425588</c:v>
                </c:pt>
                <c:pt idx="108" formatCode="0.0">
                  <c:v>0.70437668632554162</c:v>
                </c:pt>
                <c:pt idx="109" formatCode="0.0">
                  <c:v>0.81421169504071067</c:v>
                </c:pt>
                <c:pt idx="110" formatCode="0.0">
                  <c:v>0.88584322246364711</c:v>
                </c:pt>
                <c:pt idx="111" formatCode="0.0">
                  <c:v>1.0243308421479904</c:v>
                </c:pt>
                <c:pt idx="112" formatCode="0.0">
                  <c:v>1.2153482486091542</c:v>
                </c:pt>
                <c:pt idx="113" formatCode="0.0">
                  <c:v>1.205797378286096</c:v>
                </c:pt>
                <c:pt idx="114" formatCode="0.0">
                  <c:v>1.3275709749050886</c:v>
                </c:pt>
                <c:pt idx="115" formatCode="0.0">
                  <c:v>1.4565077242663742</c:v>
                </c:pt>
                <c:pt idx="116" formatCode="0.0">
                  <c:v>1.6642391537928898</c:v>
                </c:pt>
                <c:pt idx="117" formatCode="0.0">
                  <c:v>1.8409302547694657</c:v>
                </c:pt>
                <c:pt idx="118" formatCode="0.0">
                  <c:v>1.8480934075117597</c:v>
                </c:pt>
                <c:pt idx="119" formatCode="0.0">
                  <c:v>1.9555406986461639</c:v>
                </c:pt>
                <c:pt idx="120" formatCode="0.0">
                  <c:v>2.2826580072109066</c:v>
                </c:pt>
                <c:pt idx="121" formatCode="0.0">
                  <c:v>2.6145507509371795</c:v>
                </c:pt>
                <c:pt idx="122" formatCode="0.0">
                  <c:v>2.7960172870752844</c:v>
                </c:pt>
                <c:pt idx="123" formatCode="0.0">
                  <c:v>3.0467276330555615</c:v>
                </c:pt>
                <c:pt idx="124" formatCode="0.0">
                  <c:v>3.1231345956400287</c:v>
                </c:pt>
                <c:pt idx="125" formatCode="0.0">
                  <c:v>3.6555956161505212</c:v>
                </c:pt>
                <c:pt idx="126" formatCode="0.0">
                  <c:v>3.6006781117929378</c:v>
                </c:pt>
                <c:pt idx="127" formatCode="0.0">
                  <c:v>3.6150044172775249</c:v>
                </c:pt>
                <c:pt idx="128" formatCode="0.0">
                  <c:v>3.5863518063083499</c:v>
                </c:pt>
                <c:pt idx="129" formatCode="0.0">
                  <c:v>3.774981495188749</c:v>
                </c:pt>
                <c:pt idx="130" formatCode="0.0">
                  <c:v>3.9516725961653254</c:v>
                </c:pt>
                <c:pt idx="131" formatCode="0.0">
                  <c:v>4.5700914495833445</c:v>
                </c:pt>
                <c:pt idx="132" formatCode="0.0">
                  <c:v>4.3934003486067654</c:v>
                </c:pt>
                <c:pt idx="133" formatCode="0.0">
                  <c:v>4.5295002507103455</c:v>
                </c:pt>
                <c:pt idx="134" formatCode="0.0">
                  <c:v>4.9354122394403186</c:v>
                </c:pt>
                <c:pt idx="135" formatCode="0.0">
                  <c:v>5.2171629139705358</c:v>
                </c:pt>
                <c:pt idx="136" formatCode="0.0">
                  <c:v>5.334161075427998</c:v>
                </c:pt>
                <c:pt idx="137" formatCode="0.0">
                  <c:v>5.3532628160741158</c:v>
                </c:pt>
                <c:pt idx="138" formatCode="0.0">
                  <c:v>5.1288173634822467</c:v>
                </c:pt>
                <c:pt idx="139" formatCode="0.0">
                  <c:v>5.0237577899286086</c:v>
                </c:pt>
                <c:pt idx="140" formatCode="0.0">
                  <c:v>5.1264296459014815</c:v>
                </c:pt>
                <c:pt idx="141" formatCode="0.0">
                  <c:v>5.0810630118669575</c:v>
                </c:pt>
                <c:pt idx="142" formatCode="0.0">
                  <c:v>5.1861225854205975</c:v>
                </c:pt>
                <c:pt idx="143" formatCode="0.0">
                  <c:v>5.1837348678398305</c:v>
                </c:pt>
                <c:pt idx="144" formatCode="0.0">
                  <c:v>5.1264296459014824</c:v>
                </c:pt>
                <c:pt idx="145" formatCode="0.0">
                  <c:v>4.6990281989446308</c:v>
                </c:pt>
                <c:pt idx="146" formatCode="0.0">
                  <c:v>4.6417229770062791</c:v>
                </c:pt>
                <c:pt idx="147" formatCode="0.0">
                  <c:v>4.5056230749027018</c:v>
                </c:pt>
                <c:pt idx="148" formatCode="0.0">
                  <c:v>4.2620758816647175</c:v>
                </c:pt>
                <c:pt idx="149" formatCode="0.0">
                  <c:v>3.8991428093885059</c:v>
                </c:pt>
                <c:pt idx="150" formatCode="0.0">
                  <c:v>3.7558797545426335</c:v>
                </c:pt>
                <c:pt idx="151" formatCode="0.0">
                  <c:v>3.5003939734008265</c:v>
                </c:pt>
                <c:pt idx="152" formatCode="0.0">
                  <c:v>3.5863518063083508</c:v>
                </c:pt>
                <c:pt idx="153" formatCode="0.0">
                  <c:v>3.5982903942121722</c:v>
                </c:pt>
                <c:pt idx="154" formatCode="0.0">
                  <c:v>3.3857835295241276</c:v>
                </c:pt>
                <c:pt idx="155" formatCode="0.0">
                  <c:v>2.9846469759556835</c:v>
                </c:pt>
                <c:pt idx="156" formatCode="0.0">
                  <c:v>2.7363243475561716</c:v>
                </c:pt>
                <c:pt idx="157" formatCode="0.0">
                  <c:v>2.5691841169026532</c:v>
                </c:pt>
                <c:pt idx="158" formatCode="0.0">
                  <c:v>2.6264893388410018</c:v>
                </c:pt>
                <c:pt idx="159" formatCode="0.0">
                  <c:v>2.4521859554451897</c:v>
                </c:pt>
                <c:pt idx="160" formatCode="0.0">
                  <c:v>2.4975525894797164</c:v>
                </c:pt>
                <c:pt idx="161" formatCode="0.0">
                  <c:v>2.4020438862491345</c:v>
                </c:pt>
                <c:pt idx="162" formatCode="0.0">
                  <c:v>2.5524700938373006</c:v>
                </c:pt>
                <c:pt idx="163" formatCode="0.0">
                  <c:v>2.5476946586757729</c:v>
                </c:pt>
                <c:pt idx="164" formatCode="0.0">
                  <c:v>2.5476946586757729</c:v>
                </c:pt>
                <c:pt idx="165" formatCode="0.0">
                  <c:v>2.2540053962417326</c:v>
                </c:pt>
                <c:pt idx="166" formatCode="0.0">
                  <c:v>2.363840404956902</c:v>
                </c:pt>
                <c:pt idx="167" formatCode="0.0">
                  <c:v>2.1155177765573896</c:v>
                </c:pt>
                <c:pt idx="168" formatCode="0.0">
                  <c:v>2.1250686468804472</c:v>
                </c:pt>
                <c:pt idx="169" formatCode="0.0">
                  <c:v>2.0319476612306291</c:v>
                </c:pt>
                <c:pt idx="170" formatCode="0.0">
                  <c:v>1.8648074305771114</c:v>
                </c:pt>
                <c:pt idx="171" formatCode="0.0">
                  <c:v>1.6212602373391272</c:v>
                </c:pt>
                <c:pt idx="172" formatCode="0.0">
                  <c:v>1.5520164274969559</c:v>
                </c:pt>
                <c:pt idx="173" formatCode="0.0">
                  <c:v>1.4421814187817865</c:v>
                </c:pt>
                <c:pt idx="174" formatCode="0.0">
                  <c:v>1.4851603352355482</c:v>
                </c:pt>
                <c:pt idx="175" formatCode="0.0">
                  <c:v>1.4278551132971993</c:v>
                </c:pt>
                <c:pt idx="176" formatCode="0.0">
                  <c:v>1.444569136362551</c:v>
                </c:pt>
                <c:pt idx="177" formatCode="0.0">
                  <c:v>1.4827726176547833</c:v>
                </c:pt>
                <c:pt idx="178" formatCode="0.0">
                  <c:v>1.5185883813662522</c:v>
                </c:pt>
                <c:pt idx="179" formatCode="0.0">
                  <c:v>1.4947112055586063</c:v>
                </c:pt>
                <c:pt idx="180" formatCode="0.0">
                  <c:v>1.3538358682934979</c:v>
                </c:pt>
                <c:pt idx="181" formatCode="0.0">
                  <c:v>1.2034096607053315</c:v>
                </c:pt>
                <c:pt idx="182" formatCode="0.0">
                  <c:v>1.1843079200592157</c:v>
                </c:pt>
                <c:pt idx="183" formatCode="0.0">
                  <c:v>1.1938587903822737</c:v>
                </c:pt>
                <c:pt idx="184" formatCode="0.0">
                  <c:v>1.1723693321553925</c:v>
                </c:pt>
                <c:pt idx="185" formatCode="0.0">
                  <c:v>1.1055132398939855</c:v>
                </c:pt>
                <c:pt idx="186" formatCode="0.0">
                  <c:v>1.0696974761825173</c:v>
                </c:pt>
                <c:pt idx="187" formatCode="0.0">
                  <c:v>1.0720851937632823</c:v>
                </c:pt>
                <c:pt idx="188" formatCode="0.0">
                  <c:v>1.0673097586017526</c:v>
                </c:pt>
                <c:pt idx="189" formatCode="0.0">
                  <c:v>1.112676392636279</c:v>
                </c:pt>
                <c:pt idx="190" formatCode="0.0">
                  <c:v>1.1079009574747498</c:v>
                </c:pt>
                <c:pt idx="191" formatCode="0.0">
                  <c:v>1.1102886750555143</c:v>
                </c:pt>
                <c:pt idx="192" formatCode="0.0">
                  <c:v>1.1890833552207447</c:v>
                </c:pt>
                <c:pt idx="193" formatCode="0.0">
                  <c:v>1.3013060815166779</c:v>
                </c:pt>
                <c:pt idx="194" formatCode="0.0">
                  <c:v>1.2416131419975647</c:v>
                </c:pt>
                <c:pt idx="195" formatCode="0.0">
                  <c:v>1.2057973782860962</c:v>
                </c:pt>
                <c:pt idx="196" formatCode="0.0">
                  <c:v>1.2272868365129772</c:v>
                </c:pt>
                <c:pt idx="197" formatCode="0.0">
                  <c:v>1.2941429287743849</c:v>
                </c:pt>
                <c:pt idx="198" formatCode="0.0">
                  <c:v>1.3347341276473819</c:v>
                </c:pt>
                <c:pt idx="199" formatCode="0.0">
                  <c:v>1.3896516320049659</c:v>
                </c:pt>
                <c:pt idx="200" formatCode="0.0">
                  <c:v>1.2726534705475039</c:v>
                </c:pt>
                <c:pt idx="201" formatCode="0.0">
                  <c:v>1.3538358682934981</c:v>
                </c:pt>
                <c:pt idx="202" formatCode="0.0">
                  <c:v>1.4039779374895538</c:v>
                </c:pt>
                <c:pt idx="203" formatCode="0.0">
                  <c:v>1.3514481507127341</c:v>
                </c:pt>
                <c:pt idx="204" formatCode="0.0">
                  <c:v>1.2440008595783292</c:v>
                </c:pt>
                <c:pt idx="205" formatCode="0.0">
                  <c:v>1.2368377068360359</c:v>
                </c:pt>
                <c:pt idx="206" formatCode="0.0">
                  <c:v>1.201021943124567</c:v>
                </c:pt>
                <c:pt idx="207" formatCode="0.0">
                  <c:v>1.2774289057090327</c:v>
                </c:pt>
                <c:pt idx="208" formatCode="0.0">
                  <c:v>1.2726534705475039</c:v>
                </c:pt>
                <c:pt idx="209" formatCode="0.0">
                  <c:v>1.2607148826436807</c:v>
                </c:pt>
                <c:pt idx="210" formatCode="0.0">
                  <c:v>1.2822043408705619</c:v>
                </c:pt>
                <c:pt idx="211" formatCode="0.0">
                  <c:v>1.248776294739858</c:v>
                </c:pt>
                <c:pt idx="212" formatCode="0.0">
                  <c:v>1.2726534705475039</c:v>
                </c:pt>
                <c:pt idx="213" formatCode="0.0">
                  <c:v>1.1723693321553925</c:v>
                </c:pt>
                <c:pt idx="214" formatCode="0.0">
                  <c:v>1.2105728134476255</c:v>
                </c:pt>
                <c:pt idx="215" formatCode="0.0">
                  <c:v>1.2487762947398582</c:v>
                </c:pt>
                <c:pt idx="216" formatCode="0.0">
                  <c:v>1.2153482486091542</c:v>
                </c:pt>
                <c:pt idx="217" formatCode="0.0">
                  <c:v>1.203409660705332</c:v>
                </c:pt>
                <c:pt idx="218" formatCode="0.0">
                  <c:v>1.2463885771590937</c:v>
                </c:pt>
                <c:pt idx="219" formatCode="0.0">
                  <c:v>1.1771447673169217</c:v>
                </c:pt>
                <c:pt idx="220" formatCode="0.0">
                  <c:v>1.1699816145746278</c:v>
                </c:pt>
                <c:pt idx="221" formatCode="0.0">
                  <c:v>1.1150641102170431</c:v>
                </c:pt>
                <c:pt idx="222" formatCode="0.0">
                  <c:v>1.0768606289248106</c:v>
                </c:pt>
                <c:pt idx="223" formatCode="0.0">
                  <c:v>1.201021943124567</c:v>
                </c:pt>
                <c:pt idx="224" formatCode="0.0">
                  <c:v>1.1795324848976863</c:v>
                </c:pt>
                <c:pt idx="225" formatCode="0.0">
                  <c:v>1.155655309090041</c:v>
                </c:pt>
                <c:pt idx="226" formatCode="0.0">
                  <c:v>1.124614980540102</c:v>
                </c:pt>
                <c:pt idx="227" formatCode="0.0">
                  <c:v>1.13416585086316</c:v>
                </c:pt>
                <c:pt idx="228" formatCode="0.0">
                  <c:v>1.1293904157016308</c:v>
                </c:pt>
                <c:pt idx="229" formatCode="0.0">
                  <c:v>1.0458203003748716</c:v>
                </c:pt>
                <c:pt idx="230" formatCode="0.0">
                  <c:v>0.9192712685943506</c:v>
                </c:pt>
                <c:pt idx="231" formatCode="0.0">
                  <c:v>0.95269931472505442</c:v>
                </c:pt>
                <c:pt idx="232" formatCode="0.0">
                  <c:v>0.99806594875958077</c:v>
                </c:pt>
                <c:pt idx="233" formatCode="0.0">
                  <c:v>1.0052291015018744</c:v>
                </c:pt>
                <c:pt idx="234" formatCode="0.0">
                  <c:v>0.95269931472505431</c:v>
                </c:pt>
                <c:pt idx="235" formatCode="0.0">
                  <c:v>0.97896420811346441</c:v>
                </c:pt>
                <c:pt idx="236" formatCode="0.0">
                  <c:v>0.97657649053269968</c:v>
                </c:pt>
                <c:pt idx="237" formatCode="0.0">
                  <c:v>0.99329051359805187</c:v>
                </c:pt>
                <c:pt idx="238" formatCode="0.0">
                  <c:v>0.96463790262887728</c:v>
                </c:pt>
                <c:pt idx="239" formatCode="0.0">
                  <c:v>0.87151691697905964</c:v>
                </c:pt>
                <c:pt idx="240" formatCode="0.0">
                  <c:v>0.8237625653637688</c:v>
                </c:pt>
                <c:pt idx="241" formatCode="0.0">
                  <c:v>0.82615028294453352</c:v>
                </c:pt>
                <c:pt idx="242" formatCode="0.0">
                  <c:v>0.73780473245624534</c:v>
                </c:pt>
                <c:pt idx="243" formatCode="0.0">
                  <c:v>0.73064157971395161</c:v>
                </c:pt>
                <c:pt idx="244" formatCode="0.0">
                  <c:v>0.70437668632554151</c:v>
                </c:pt>
                <c:pt idx="245" formatCode="0.0">
                  <c:v>0.68527494567942504</c:v>
                </c:pt>
                <c:pt idx="246" formatCode="0.0">
                  <c:v>0.66139776987177967</c:v>
                </c:pt>
                <c:pt idx="247" formatCode="0.0">
                  <c:v>0.6661732050333089</c:v>
                </c:pt>
                <c:pt idx="248" formatCode="0.0">
                  <c:v>0.6351328764833698</c:v>
                </c:pt>
                <c:pt idx="249" formatCode="0.0">
                  <c:v>0.6637854874525444</c:v>
                </c:pt>
                <c:pt idx="250" formatCode="0.0">
                  <c:v>0.69243809842171877</c:v>
                </c:pt>
                <c:pt idx="251" formatCode="0.0">
                  <c:v>0.69243809842171866</c:v>
                </c:pt>
                <c:pt idx="252" formatCode="0.0">
                  <c:v>0.65662233471025044</c:v>
                </c:pt>
                <c:pt idx="253" formatCode="0.0">
                  <c:v>0.62080657099878245</c:v>
                </c:pt>
                <c:pt idx="254" formatCode="0.0">
                  <c:v>0.5730522193834916</c:v>
                </c:pt>
                <c:pt idx="255" formatCode="0.0">
                  <c:v>0.56827678422196215</c:v>
                </c:pt>
                <c:pt idx="256" formatCode="0.0">
                  <c:v>0.48231895131443869</c:v>
                </c:pt>
                <c:pt idx="257" formatCode="0.0">
                  <c:v>0.427401446956854</c:v>
                </c:pt>
                <c:pt idx="258" formatCode="0.0">
                  <c:v>0.41307514147226676</c:v>
                </c:pt>
                <c:pt idx="259" formatCode="0.0">
                  <c:v>0.42262601179532494</c:v>
                </c:pt>
                <c:pt idx="260" formatCode="0.0">
                  <c:v>0.38919796566462139</c:v>
                </c:pt>
                <c:pt idx="261" formatCode="0.0">
                  <c:v>0.41546285905303126</c:v>
                </c:pt>
                <c:pt idx="262" formatCode="0.0">
                  <c:v>0.41307514147226676</c:v>
                </c:pt>
                <c:pt idx="263" formatCode="0.0">
                  <c:v>0.4250137293760895</c:v>
                </c:pt>
                <c:pt idx="264" formatCode="0.0">
                  <c:v>0.41546285905303126</c:v>
                </c:pt>
                <c:pt idx="265" formatCode="0.0">
                  <c:v>0.42023829421456033</c:v>
                </c:pt>
                <c:pt idx="266" formatCode="0.0">
                  <c:v>0.48709438647596764</c:v>
                </c:pt>
                <c:pt idx="267" formatCode="0.0">
                  <c:v>0.59692939519113664</c:v>
                </c:pt>
                <c:pt idx="268" formatCode="0.0">
                  <c:v>0.58976624244884313</c:v>
                </c:pt>
                <c:pt idx="269" formatCode="0.0">
                  <c:v>0.580215372125785</c:v>
                </c:pt>
                <c:pt idx="270" formatCode="0.0">
                  <c:v>0.616031135837253</c:v>
                </c:pt>
                <c:pt idx="271" formatCode="0.0">
                  <c:v>0.62796972374107607</c:v>
                </c:pt>
                <c:pt idx="272" formatCode="0.0">
                  <c:v>0.6494591819679566</c:v>
                </c:pt>
                <c:pt idx="273" formatCode="0.0">
                  <c:v>0.61841885341801772</c:v>
                </c:pt>
                <c:pt idx="274" formatCode="0.0">
                  <c:v>0.59931711277190125</c:v>
                </c:pt>
                <c:pt idx="275" formatCode="0.0">
                  <c:v>0.70915212148707052</c:v>
                </c:pt>
                <c:pt idx="276" formatCode="0.0">
                  <c:v>0.99567823117881649</c:v>
                </c:pt>
                <c:pt idx="277" formatCode="0.0">
                  <c:v>0.96463790262887728</c:v>
                </c:pt>
                <c:pt idx="278" formatCode="0.0">
                  <c:v>1.1150641102170433</c:v>
                </c:pt>
                <c:pt idx="279" formatCode="0.0">
                  <c:v>1.1747570497361579</c:v>
                </c:pt>
                <c:pt idx="280" formatCode="0.0">
                  <c:v>1.248776294739858</c:v>
                </c:pt>
                <c:pt idx="281" formatCode="0.0">
                  <c:v>1.4827726176547835</c:v>
                </c:pt>
                <c:pt idx="282" formatCode="0.0">
                  <c:v>1.5878321912084239</c:v>
                </c:pt>
                <c:pt idx="283" formatCode="0.0">
                  <c:v>1.4111410902318473</c:v>
                </c:pt>
                <c:pt idx="284" formatCode="0.0">
                  <c:v>1.9459898283231061</c:v>
                </c:pt>
                <c:pt idx="285" formatCode="0.0">
                  <c:v>2.1895370215610903</c:v>
                </c:pt>
                <c:pt idx="286" formatCode="0.0">
                  <c:v>2.4020438862491345</c:v>
                </c:pt>
                <c:pt idx="287" formatCode="0.0">
                  <c:v>2.6575296673909419</c:v>
                </c:pt>
                <c:pt idx="288" formatCode="0.0">
                  <c:v>3.2043169933860227</c:v>
                </c:pt>
                <c:pt idx="289" formatCode="0.0">
                  <c:v>3.851388457773214</c:v>
                </c:pt>
                <c:pt idx="290" formatCode="0.0">
                  <c:v>5.2696927007473571</c:v>
                </c:pt>
                <c:pt idx="291" formatCode="0.0">
                  <c:v>5.6469520785081535</c:v>
                </c:pt>
                <c:pt idx="292" formatCode="0.0">
                  <c:v>5.9334781881999001</c:v>
                </c:pt>
                <c:pt idx="293" formatCode="0.0">
                  <c:v>6.0695780903034793</c:v>
                </c:pt>
                <c:pt idx="294" formatCode="0.0">
                  <c:v>6.7739547766290205</c:v>
                </c:pt>
                <c:pt idx="295" formatCode="0.0">
                  <c:v>7.647859411188846</c:v>
                </c:pt>
                <c:pt idx="296" formatCode="0.0">
                  <c:v>9.0184093025476972</c:v>
                </c:pt>
                <c:pt idx="297" formatCode="0.0">
                  <c:v>9.5437071703158942</c:v>
                </c:pt>
                <c:pt idx="298" formatCode="0.0">
                  <c:v>10.298225925837489</c:v>
                </c:pt>
                <c:pt idx="299" formatCode="0.0">
                  <c:v>11.422840906377596</c:v>
                </c:pt>
                <c:pt idx="300" formatCode="0.0">
                  <c:v>12.982020486616845</c:v>
                </c:pt>
                <c:pt idx="301" formatCode="0.0">
                  <c:v>14.109023184737708</c:v>
                </c:pt>
                <c:pt idx="302" formatCode="0.0">
                  <c:v>16.078890188868463</c:v>
                </c:pt>
                <c:pt idx="303" formatCode="0.0">
                  <c:v>17.709701296530643</c:v>
                </c:pt>
                <c:pt idx="304" formatCode="0.0">
                  <c:v>19.256942288866068</c:v>
                </c:pt>
                <c:pt idx="305" formatCode="0.0">
                  <c:v>21.747331725603495</c:v>
                </c:pt>
                <c:pt idx="306" formatCode="0.0">
                  <c:v>23.179962274062223</c:v>
                </c:pt>
                <c:pt idx="307" formatCode="0.0">
                  <c:v>25.178481889162146</c:v>
                </c:pt>
                <c:pt idx="308" formatCode="0.0">
                  <c:v>26.716172011174518</c:v>
                </c:pt>
                <c:pt idx="309" formatCode="0.0">
                  <c:v>26.281607411475367</c:v>
                </c:pt>
                <c:pt idx="310" formatCode="0.0">
                  <c:v>26.847496478116568</c:v>
                </c:pt>
                <c:pt idx="311" formatCode="0.0">
                  <c:v>26.09536544017573</c:v>
                </c:pt>
                <c:pt idx="312" formatCode="0.0">
                  <c:v>25.185645041904444</c:v>
                </c:pt>
                <c:pt idx="313" formatCode="0.0">
                  <c:v>23.90105298345312</c:v>
                </c:pt>
                <c:pt idx="314" formatCode="0.0">
                  <c:v>22.158019149494997</c:v>
                </c:pt>
                <c:pt idx="315" formatCode="0.0">
                  <c:v>20.434087056182992</c:v>
                </c:pt>
                <c:pt idx="316" formatCode="0.0">
                  <c:v>19.04443542417803</c:v>
                </c:pt>
                <c:pt idx="317" formatCode="0.0">
                  <c:v>18.02488001719157</c:v>
                </c:pt>
                <c:pt idx="318" formatCode="0.0">
                  <c:v>18.8104391012631</c:v>
                </c:pt>
                <c:pt idx="319" formatCode="0.0">
                  <c:v>18.101286979776027</c:v>
                </c:pt>
                <c:pt idx="320" formatCode="0.0">
                  <c:v>17.084119290370325</c:v>
                </c:pt>
                <c:pt idx="321" formatCode="0.0">
                  <c:v>15.522551992550323</c:v>
                </c:pt>
                <c:pt idx="322" formatCode="0.0">
                  <c:v>15.214536424631699</c:v>
                </c:pt>
                <c:pt idx="323" formatCode="0.0">
                  <c:v>14.889806833647723</c:v>
                </c:pt>
                <c:pt idx="324" formatCode="0.0">
                  <c:v>12.905613524032377</c:v>
                </c:pt>
                <c:pt idx="325" formatCode="0.0">
                  <c:v>10.565650294883124</c:v>
                </c:pt>
                <c:pt idx="326" formatCode="0.0">
                  <c:v>8.9181251641555797</c:v>
                </c:pt>
                <c:pt idx="327" formatCode="0.0">
                  <c:v>8.6411499247868981</c:v>
                </c:pt>
                <c:pt idx="328" formatCode="0.0">
                  <c:v>8.3976027315489166</c:v>
                </c:pt>
                <c:pt idx="329" formatCode="0.0">
                  <c:v>7.058093168740001</c:v>
                </c:pt>
                <c:pt idx="330" formatCode="0.0">
                  <c:v>6.0027219980420714</c:v>
                </c:pt>
                <c:pt idx="331" formatCode="0.0">
                  <c:v>5.4129557555932291</c:v>
                </c:pt>
                <c:pt idx="332" formatCode="0.0">
                  <c:v>4.7515579857214494</c:v>
                </c:pt>
                <c:pt idx="333" formatCode="0.0">
                  <c:v>4.1474654377880178</c:v>
                </c:pt>
                <c:pt idx="334" formatCode="0.0">
                  <c:v>4.0137532532652029</c:v>
                </c:pt>
                <c:pt idx="335" formatCode="0.0">
                  <c:v>3.8155726940617463</c:v>
                </c:pt>
                <c:pt idx="336" formatCode="0.0">
                  <c:v>3.6890236622812256</c:v>
                </c:pt>
                <c:pt idx="337" formatCode="0.0">
                  <c:v>3.6723096392158738</c:v>
                </c:pt>
                <c:pt idx="338" formatCode="0.0">
                  <c:v>3.1326854659630858</c:v>
                </c:pt>
                <c:pt idx="339" formatCode="0.0">
                  <c:v>2.9750961056326255</c:v>
                </c:pt>
                <c:pt idx="340" formatCode="0.0">
                  <c:v>2.9082400133712185</c:v>
                </c:pt>
                <c:pt idx="341" formatCode="0.0">
                  <c:v>2.576347269644947</c:v>
                </c:pt>
                <c:pt idx="342" formatCode="0.0">
                  <c:v>2.4306964972183089</c:v>
                </c:pt>
                <c:pt idx="343" formatCode="0.0">
                  <c:v>2.2540053962417326</c:v>
                </c:pt>
                <c:pt idx="344" formatCode="0.0">
                  <c:v>2.1943124567226193</c:v>
                </c:pt>
                <c:pt idx="345" formatCode="0.0">
                  <c:v>2.1489458226880922</c:v>
                </c:pt>
                <c:pt idx="346" formatCode="0.0">
                  <c:v>1.7955636207349395</c:v>
                </c:pt>
                <c:pt idx="347" formatCode="0.0">
                  <c:v>1.7621355746042362</c:v>
                </c:pt>
                <c:pt idx="348" formatCode="0.0">
                  <c:v>1.7239320933120028</c:v>
                </c:pt>
                <c:pt idx="349" formatCode="0.0">
                  <c:v>1.7239320933120028</c:v>
                </c:pt>
                <c:pt idx="350" formatCode="0.0">
                  <c:v>1.8385425371887019</c:v>
                </c:pt>
                <c:pt idx="351" formatCode="0.0">
                  <c:v>1.5926076263699531</c:v>
                </c:pt>
                <c:pt idx="352" formatCode="0.0">
                  <c:v>1.4588954418471383</c:v>
                </c:pt>
                <c:pt idx="353" formatCode="0.0">
                  <c:v>1.3896516320049659</c:v>
                </c:pt>
                <c:pt idx="354" formatCode="0.0">
                  <c:v>1.2893674936128556</c:v>
                </c:pt>
                <c:pt idx="355" formatCode="0.0">
                  <c:v>1.169981614574628</c:v>
                </c:pt>
                <c:pt idx="356" formatCode="0.0">
                  <c:v>1.0935746519901626</c:v>
                </c:pt>
                <c:pt idx="357" formatCode="0.0">
                  <c:v>0.9503115971442897</c:v>
                </c:pt>
                <c:pt idx="358" formatCode="0.0">
                  <c:v>0.931209856498174</c:v>
                </c:pt>
                <c:pt idx="359" formatCode="0.0">
                  <c:v>0.9813519256942288</c:v>
                </c:pt>
                <c:pt idx="360" formatCode="0.0">
                  <c:v>0.99090279601728692</c:v>
                </c:pt>
                <c:pt idx="361" formatCode="0.0">
                  <c:v>0.96225018504811255</c:v>
                </c:pt>
                <c:pt idx="362" formatCode="0.0">
                  <c:v>0.91210811585205687</c:v>
                </c:pt>
                <c:pt idx="363" formatCode="0.0">
                  <c:v>0.88345550488288249</c:v>
                </c:pt>
                <c:pt idx="364" formatCode="0.0">
                  <c:v>0.90255724552899874</c:v>
                </c:pt>
                <c:pt idx="365" formatCode="0.0">
                  <c:v>0.82376256536376868</c:v>
                </c:pt>
                <c:pt idx="366" formatCode="0.0">
                  <c:v>0.69960125116401251</c:v>
                </c:pt>
                <c:pt idx="367" formatCode="0.0">
                  <c:v>0.79272223681382981</c:v>
                </c:pt>
                <c:pt idx="368" formatCode="0.0">
                  <c:v>0.80466082471765232</c:v>
                </c:pt>
                <c:pt idx="369" formatCode="0.0">
                  <c:v>0.83570115326759176</c:v>
                </c:pt>
                <c:pt idx="370" formatCode="0.0">
                  <c:v>0.83808887084835604</c:v>
                </c:pt>
                <c:pt idx="371" formatCode="0.0">
                  <c:v>0.85719061149447273</c:v>
                </c:pt>
                <c:pt idx="372" formatCode="0.0">
                  <c:v>0.8213748477830044</c:v>
                </c:pt>
                <c:pt idx="373" formatCode="0.0">
                  <c:v>0.80227310713688793</c:v>
                </c:pt>
                <c:pt idx="374" formatCode="0.0">
                  <c:v>0.62080657099878245</c:v>
                </c:pt>
                <c:pt idx="375" formatCode="0.0">
                  <c:v>0.54439960841431678</c:v>
                </c:pt>
                <c:pt idx="376" formatCode="0.0">
                  <c:v>0.49425753921826132</c:v>
                </c:pt>
                <c:pt idx="377" formatCode="0.0">
                  <c:v>0.52052243260667141</c:v>
                </c:pt>
                <c:pt idx="378" formatCode="0.0">
                  <c:v>0.44650318760297042</c:v>
                </c:pt>
                <c:pt idx="379" formatCode="0.0">
                  <c:v>0.60409254793343059</c:v>
                </c:pt>
                <c:pt idx="380" formatCode="0.0">
                  <c:v>0.4250137293760895</c:v>
                </c:pt>
                <c:pt idx="381" formatCode="0.0">
                  <c:v>0.49425753921826132</c:v>
                </c:pt>
                <c:pt idx="382" formatCode="0.0">
                  <c:v>0.49186982163749676</c:v>
                </c:pt>
                <c:pt idx="383" formatCode="0.0">
                  <c:v>0.52529786776820031</c:v>
                </c:pt>
                <c:pt idx="384" formatCode="0.0">
                  <c:v>0.50858384470284845</c:v>
                </c:pt>
                <c:pt idx="385" formatCode="0.0">
                  <c:v>0.51335927986437768</c:v>
                </c:pt>
                <c:pt idx="386" formatCode="0.0">
                  <c:v>0.36293307227621119</c:v>
                </c:pt>
                <c:pt idx="387" formatCode="0.0">
                  <c:v>0.52052243260667141</c:v>
                </c:pt>
                <c:pt idx="388" formatCode="0.0">
                  <c:v>0.43456459969914774</c:v>
                </c:pt>
                <c:pt idx="389" formatCode="0.0">
                  <c:v>0.41068742389150215</c:v>
                </c:pt>
                <c:pt idx="390" formatCode="0.0">
                  <c:v>0.35576991953391751</c:v>
                </c:pt>
                <c:pt idx="391" formatCode="0.0">
                  <c:v>0.35338220195315312</c:v>
                </c:pt>
                <c:pt idx="392" formatCode="0.0">
                  <c:v>0.33428046130703676</c:v>
                </c:pt>
                <c:pt idx="393" formatCode="0.0">
                  <c:v>0.28175067453021657</c:v>
                </c:pt>
                <c:pt idx="394" formatCode="0.0">
                  <c:v>0.27458752178792301</c:v>
                </c:pt>
                <c:pt idx="395" formatCode="0.0">
                  <c:v>0.28175067453021657</c:v>
                </c:pt>
                <c:pt idx="396" formatCode="0.0">
                  <c:v>0.36293307227621119</c:v>
                </c:pt>
                <c:pt idx="397" formatCode="0.0">
                  <c:v>0.40352427114920858</c:v>
                </c:pt>
                <c:pt idx="398" formatCode="0.0">
                  <c:v>0.40591198872997314</c:v>
                </c:pt>
                <c:pt idx="399" formatCode="0.0">
                  <c:v>0.43934003486067674</c:v>
                </c:pt>
                <c:pt idx="400" formatCode="0.0">
                  <c:v>0.45844177550679305</c:v>
                </c:pt>
                <c:pt idx="401" formatCode="0.0">
                  <c:v>0.44172775244144125</c:v>
                </c:pt>
                <c:pt idx="402" formatCode="0.0">
                  <c:v>0.44889090518373492</c:v>
                </c:pt>
                <c:pt idx="403" formatCode="0.0">
                  <c:v>0.37964709534156305</c:v>
                </c:pt>
                <c:pt idx="404" formatCode="0.0">
                  <c:v>0.37725937776079854</c:v>
                </c:pt>
                <c:pt idx="405" formatCode="0.0">
                  <c:v>0.37009622501850487</c:v>
                </c:pt>
                <c:pt idx="406" formatCode="0.0">
                  <c:v>0.35338220195315312</c:v>
                </c:pt>
                <c:pt idx="407" formatCode="0.0">
                  <c:v>0.43695231727991218</c:v>
                </c:pt>
                <c:pt idx="408" formatCode="0.0">
                  <c:v>0.4441154700222058</c:v>
                </c:pt>
                <c:pt idx="409" formatCode="0.0">
                  <c:v>0.46560492824908678</c:v>
                </c:pt>
                <c:pt idx="410" formatCode="0.0">
                  <c:v>0.4584417755067931</c:v>
                </c:pt>
                <c:pt idx="411" formatCode="0.0">
                  <c:v>0.46799264582985139</c:v>
                </c:pt>
                <c:pt idx="412" formatCode="0.0">
                  <c:v>0.48470666889520325</c:v>
                </c:pt>
                <c:pt idx="413" formatCode="0.0">
                  <c:v>0.50142069196055483</c:v>
                </c:pt>
                <c:pt idx="414" formatCode="0.0">
                  <c:v>0.40829970631073753</c:v>
                </c:pt>
                <c:pt idx="415" formatCode="0.0">
                  <c:v>0.37009622501850487</c:v>
                </c:pt>
                <c:pt idx="416" formatCode="0.0">
                  <c:v>0.35338220195315312</c:v>
                </c:pt>
                <c:pt idx="417" formatCode="0.0">
                  <c:v>0.3939734008261504</c:v>
                </c:pt>
                <c:pt idx="418" formatCode="0.0">
                  <c:v>0.39636111840691485</c:v>
                </c:pt>
                <c:pt idx="419" formatCode="0.0">
                  <c:v>0.37725937776079854</c:v>
                </c:pt>
                <c:pt idx="420" formatCode="0.0">
                  <c:v>0.37487166018003393</c:v>
                </c:pt>
                <c:pt idx="421" formatCode="0.0">
                  <c:v>0.40591198872997314</c:v>
                </c:pt>
                <c:pt idx="422" formatCode="0.0">
                  <c:v>0.48948210405673226</c:v>
                </c:pt>
                <c:pt idx="423" formatCode="0.0">
                  <c:v>0.49664525679902577</c:v>
                </c:pt>
                <c:pt idx="424" formatCode="0.0">
                  <c:v>0.54201189083355228</c:v>
                </c:pt>
                <c:pt idx="425" formatCode="0.0">
                  <c:v>0.58260308970654939</c:v>
                </c:pt>
                <c:pt idx="426" formatCode="0.0">
                  <c:v>0.60886798309495949</c:v>
                </c:pt>
                <c:pt idx="427" formatCode="0.0">
                  <c:v>0.61125570067572421</c:v>
                </c:pt>
                <c:pt idx="428" formatCode="0.0">
                  <c:v>0.62796972374107607</c:v>
                </c:pt>
                <c:pt idx="429" formatCode="0.0">
                  <c:v>0.62319428857954695</c:v>
                </c:pt>
                <c:pt idx="430" formatCode="0.0">
                  <c:v>0.65901005229101528</c:v>
                </c:pt>
                <c:pt idx="431" formatCode="0.0">
                  <c:v>0.62796972374107607</c:v>
                </c:pt>
                <c:pt idx="432" formatCode="0.0">
                  <c:v>0.60886798309495949</c:v>
                </c:pt>
                <c:pt idx="433" formatCode="0.0">
                  <c:v>0.59454167761037247</c:v>
                </c:pt>
                <c:pt idx="434" formatCode="0.0">
                  <c:v>0.60648026551419509</c:v>
                </c:pt>
                <c:pt idx="435" formatCode="0.0">
                  <c:v>0.69721353358324778</c:v>
                </c:pt>
                <c:pt idx="436" formatCode="0.0">
                  <c:v>0.7592941906831262</c:v>
                </c:pt>
                <c:pt idx="437" formatCode="0.0">
                  <c:v>0.80704854229841705</c:v>
                </c:pt>
                <c:pt idx="438" formatCode="0.0">
                  <c:v>0.87629235214058909</c:v>
                </c:pt>
                <c:pt idx="439" formatCode="0.0">
                  <c:v>0.95986246746734782</c:v>
                </c:pt>
                <c:pt idx="440" formatCode="0.0">
                  <c:v>0.97418877295193529</c:v>
                </c:pt>
                <c:pt idx="441" formatCode="0.0">
                  <c:v>1.0076168190826387</c:v>
                </c:pt>
                <c:pt idx="442" formatCode="0.0">
                  <c:v>1.0458203003748716</c:v>
                </c:pt>
                <c:pt idx="443" formatCode="0.0">
                  <c:v>1.0601466058594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A96-4795-8581-791AAA8989B0}"/>
            </c:ext>
          </c:extLst>
        </c:ser>
        <c:ser>
          <c:idx val="6"/>
          <c:order val="3"/>
          <c:tx>
            <c:v>Mpumalanga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W$5:$CW$451</c:f>
              <c:numCache>
                <c:formatCode>General</c:formatCode>
                <c:ptCount val="447"/>
                <c:pt idx="3" formatCode="0.0">
                  <c:v>3.1110004977600797E-3</c:v>
                </c:pt>
                <c:pt idx="4" formatCode="0.0">
                  <c:v>3.1110004977600797E-3</c:v>
                </c:pt>
                <c:pt idx="5" formatCode="0.0">
                  <c:v>3.1110004977600797E-3</c:v>
                </c:pt>
                <c:pt idx="6" formatCode="0.0">
                  <c:v>6.2220009955201603E-3</c:v>
                </c:pt>
                <c:pt idx="7" formatCode="0.0">
                  <c:v>6.2220009955201603E-3</c:v>
                </c:pt>
                <c:pt idx="8" formatCode="0.0">
                  <c:v>1.2444001991040317E-2</c:v>
                </c:pt>
                <c:pt idx="9" formatCode="0.0">
                  <c:v>1.2444001991040317E-2</c:v>
                </c:pt>
                <c:pt idx="10" formatCode="0.0">
                  <c:v>1.2444001991040317E-2</c:v>
                </c:pt>
                <c:pt idx="11" formatCode="0.0">
                  <c:v>1.2444001991040317E-2</c:v>
                </c:pt>
                <c:pt idx="12" formatCode="0.0">
                  <c:v>1.2444001991040317E-2</c:v>
                </c:pt>
                <c:pt idx="13" formatCode="0.0">
                  <c:v>2.1777003484320562E-2</c:v>
                </c:pt>
                <c:pt idx="14" formatCode="0.0">
                  <c:v>2.1777003484320562E-2</c:v>
                </c:pt>
                <c:pt idx="15" formatCode="0.0">
                  <c:v>1.2444001991040317E-2</c:v>
                </c:pt>
                <c:pt idx="16" formatCode="0.0">
                  <c:v>1.2444001991040317E-2</c:v>
                </c:pt>
                <c:pt idx="17" formatCode="0.0">
                  <c:v>1.2444001991040317E-2</c:v>
                </c:pt>
                <c:pt idx="18" formatCode="0.0">
                  <c:v>1.55550024888004E-2</c:v>
                </c:pt>
                <c:pt idx="19" formatCode="0.0">
                  <c:v>1.866600298656048E-2</c:v>
                </c:pt>
                <c:pt idx="20" formatCode="0.0">
                  <c:v>6.2220009955201603E-3</c:v>
                </c:pt>
                <c:pt idx="21" formatCode="0.0">
                  <c:v>9.3330014932802401E-3</c:v>
                </c:pt>
                <c:pt idx="22" formatCode="0.0">
                  <c:v>1.2444001991040317E-2</c:v>
                </c:pt>
                <c:pt idx="23" formatCode="0.0">
                  <c:v>1.2444001991040317E-2</c:v>
                </c:pt>
                <c:pt idx="24" formatCode="0.0">
                  <c:v>1.2444001991040317E-2</c:v>
                </c:pt>
                <c:pt idx="25" formatCode="0.0">
                  <c:v>2.4888003982080634E-2</c:v>
                </c:pt>
                <c:pt idx="26" formatCode="0.0">
                  <c:v>2.1777003484320566E-2</c:v>
                </c:pt>
                <c:pt idx="27" formatCode="0.0">
                  <c:v>2.1777003484320566E-2</c:v>
                </c:pt>
                <c:pt idx="28" formatCode="0.0">
                  <c:v>-3.7332005973120974E-2</c:v>
                </c:pt>
                <c:pt idx="29" formatCode="0.0">
                  <c:v>2.7999004479840717E-2</c:v>
                </c:pt>
                <c:pt idx="30" formatCode="0.0">
                  <c:v>2.1777003484320562E-2</c:v>
                </c:pt>
                <c:pt idx="31" formatCode="0.0">
                  <c:v>2.1777003484320562E-2</c:v>
                </c:pt>
                <c:pt idx="32" formatCode="0.0">
                  <c:v>6.2220009955201543E-3</c:v>
                </c:pt>
                <c:pt idx="33" formatCode="0.0">
                  <c:v>9.3330014932802349E-3</c:v>
                </c:pt>
                <c:pt idx="34" formatCode="0.0">
                  <c:v>1.2444001991040315E-2</c:v>
                </c:pt>
                <c:pt idx="35" formatCode="0.0">
                  <c:v>6.8442010950721777E-2</c:v>
                </c:pt>
                <c:pt idx="36" formatCode="0.0">
                  <c:v>3.1110004977600797E-3</c:v>
                </c:pt>
                <c:pt idx="37" formatCode="0.0">
                  <c:v>6.2220009955201603E-3</c:v>
                </c:pt>
                <c:pt idx="38" formatCode="0.0">
                  <c:v>9.3330014932802401E-3</c:v>
                </c:pt>
                <c:pt idx="39" formatCode="0.0">
                  <c:v>1.55550024888004E-2</c:v>
                </c:pt>
                <c:pt idx="40" formatCode="0.0">
                  <c:v>6.2220009955201603E-3</c:v>
                </c:pt>
                <c:pt idx="41" formatCode="0.0">
                  <c:v>3.1110004977600793E-3</c:v>
                </c:pt>
                <c:pt idx="42" formatCode="0.0">
                  <c:v>6.2220009955201595E-3</c:v>
                </c:pt>
                <c:pt idx="43" formatCode="0.0">
                  <c:v>3.1110004977600789E-3</c:v>
                </c:pt>
                <c:pt idx="44" formatCode="0.0">
                  <c:v>3.1110004977600789E-3</c:v>
                </c:pt>
                <c:pt idx="45" formatCode="0.0">
                  <c:v>3.1110004977600797E-3</c:v>
                </c:pt>
                <c:pt idx="46" formatCode="0.0">
                  <c:v>-6.2220009955201603E-3</c:v>
                </c:pt>
                <c:pt idx="47" formatCode="0.0">
                  <c:v>0</c:v>
                </c:pt>
                <c:pt idx="48" formatCode="0.0">
                  <c:v>9.3330014932802418E-3</c:v>
                </c:pt>
                <c:pt idx="49" formatCode="0.0">
                  <c:v>6.2220009955201612E-3</c:v>
                </c:pt>
                <c:pt idx="50" formatCode="0.0">
                  <c:v>2.4888003982080641E-2</c:v>
                </c:pt>
                <c:pt idx="51" formatCode="0.0">
                  <c:v>4.0443006470881032E-2</c:v>
                </c:pt>
                <c:pt idx="52" formatCode="0.0">
                  <c:v>3.4221005475360881E-2</c:v>
                </c:pt>
                <c:pt idx="53" formatCode="0.0">
                  <c:v>5.2887008461921368E-2</c:v>
                </c:pt>
                <c:pt idx="54" formatCode="0.0">
                  <c:v>7.1553011448481849E-2</c:v>
                </c:pt>
                <c:pt idx="55" formatCode="0.0">
                  <c:v>8.3997013439522178E-2</c:v>
                </c:pt>
                <c:pt idx="56" formatCode="0.0">
                  <c:v>9.6441015430562452E-2</c:v>
                </c:pt>
                <c:pt idx="57" formatCode="0.0">
                  <c:v>8.0886012941762078E-2</c:v>
                </c:pt>
                <c:pt idx="58" formatCode="0.0">
                  <c:v>7.1553011448481849E-2</c:v>
                </c:pt>
                <c:pt idx="59" formatCode="0.0">
                  <c:v>7.7775012444001992E-2</c:v>
                </c:pt>
                <c:pt idx="60" formatCode="0.0">
                  <c:v>6.5331010452961677E-2</c:v>
                </c:pt>
                <c:pt idx="61" formatCode="0.0">
                  <c:v>4.6665007466401176E-2</c:v>
                </c:pt>
                <c:pt idx="62" formatCode="0.0">
                  <c:v>3.1110004977600792E-2</c:v>
                </c:pt>
                <c:pt idx="63" formatCode="0.0">
                  <c:v>1.866600298656048E-2</c:v>
                </c:pt>
                <c:pt idx="64" formatCode="0.0">
                  <c:v>2.7999004479840724E-2</c:v>
                </c:pt>
                <c:pt idx="65" formatCode="0.0">
                  <c:v>2.4888003982080634E-2</c:v>
                </c:pt>
                <c:pt idx="66" formatCode="0.0">
                  <c:v>2.1777003484320562E-2</c:v>
                </c:pt>
                <c:pt idx="67" formatCode="0.0">
                  <c:v>2.1777003484320562E-2</c:v>
                </c:pt>
                <c:pt idx="68" formatCode="0.0">
                  <c:v>3.1110004977600796E-2</c:v>
                </c:pt>
                <c:pt idx="69" formatCode="0.0">
                  <c:v>4.0443006470881032E-2</c:v>
                </c:pt>
                <c:pt idx="70" formatCode="0.0">
                  <c:v>4.6665007466401183E-2</c:v>
                </c:pt>
                <c:pt idx="71" formatCode="0.0">
                  <c:v>8.399701343952215E-2</c:v>
                </c:pt>
                <c:pt idx="72" formatCode="0.0">
                  <c:v>8.7108013937282222E-2</c:v>
                </c:pt>
                <c:pt idx="73" formatCode="0.0">
                  <c:v>9.6441015430562452E-2</c:v>
                </c:pt>
                <c:pt idx="74" formatCode="0.0">
                  <c:v>9.0219014435042294E-2</c:v>
                </c:pt>
                <c:pt idx="75" formatCode="0.0">
                  <c:v>9.3330014932802366E-2</c:v>
                </c:pt>
                <c:pt idx="76" formatCode="0.0">
                  <c:v>8.0886012941762064E-2</c:v>
                </c:pt>
                <c:pt idx="77" formatCode="0.0">
                  <c:v>7.7775012444001992E-2</c:v>
                </c:pt>
                <c:pt idx="78" formatCode="0.0">
                  <c:v>4.0443006470881025E-2</c:v>
                </c:pt>
                <c:pt idx="79" formatCode="0.0">
                  <c:v>4.977600796416129E-2</c:v>
                </c:pt>
                <c:pt idx="80" formatCode="0.0">
                  <c:v>4.3554006968641111E-2</c:v>
                </c:pt>
                <c:pt idx="81" formatCode="0.0">
                  <c:v>4.977600796416129E-2</c:v>
                </c:pt>
                <c:pt idx="82" formatCode="0.0">
                  <c:v>6.2220009955201598E-2</c:v>
                </c:pt>
                <c:pt idx="83" formatCode="0.0">
                  <c:v>9.0219014435042294E-2</c:v>
                </c:pt>
                <c:pt idx="84" formatCode="0.0">
                  <c:v>9.0219014435042294E-2</c:v>
                </c:pt>
                <c:pt idx="85" formatCode="0.0">
                  <c:v>9.6441015430562452E-2</c:v>
                </c:pt>
                <c:pt idx="86" formatCode="0.0">
                  <c:v>0.10266301642608264</c:v>
                </c:pt>
                <c:pt idx="87" formatCode="0.0">
                  <c:v>0.17732702837232456</c:v>
                </c:pt>
                <c:pt idx="88" formatCode="0.0">
                  <c:v>0.21154803384768547</c:v>
                </c:pt>
                <c:pt idx="89" formatCode="0.0">
                  <c:v>0.21154803384768545</c:v>
                </c:pt>
                <c:pt idx="90" formatCode="0.0">
                  <c:v>0.16177202588352416</c:v>
                </c:pt>
                <c:pt idx="91" formatCode="0.0">
                  <c:v>0.16177202588352416</c:v>
                </c:pt>
                <c:pt idx="92" formatCode="0.0">
                  <c:v>0.21777003484320562</c:v>
                </c:pt>
                <c:pt idx="93" formatCode="0.0">
                  <c:v>0.26132404181184676</c:v>
                </c:pt>
                <c:pt idx="94" formatCode="0.0">
                  <c:v>0.23021403683424591</c:v>
                </c:pt>
                <c:pt idx="95" formatCode="0.0">
                  <c:v>0.27999004479840711</c:v>
                </c:pt>
                <c:pt idx="96" formatCode="0.0">
                  <c:v>0.33598805375808871</c:v>
                </c:pt>
                <c:pt idx="97" formatCode="0.0">
                  <c:v>0.43242906918865126</c:v>
                </c:pt>
                <c:pt idx="98" formatCode="0.0">
                  <c:v>0.49464907914385275</c:v>
                </c:pt>
                <c:pt idx="99" formatCode="0.0">
                  <c:v>0.57242409158785468</c:v>
                </c:pt>
                <c:pt idx="100" formatCode="0.0">
                  <c:v>0.7248631159780986</c:v>
                </c:pt>
                <c:pt idx="101" formatCode="0.0">
                  <c:v>0.81508213041314093</c:v>
                </c:pt>
                <c:pt idx="102" formatCode="0.0">
                  <c:v>0.84930313588850181</c:v>
                </c:pt>
                <c:pt idx="103" formatCode="0.0">
                  <c:v>0.85863613738178213</c:v>
                </c:pt>
                <c:pt idx="104" formatCode="0.0">
                  <c:v>0.85241413638626162</c:v>
                </c:pt>
                <c:pt idx="105" formatCode="0.0">
                  <c:v>0.99240915878546521</c:v>
                </c:pt>
                <c:pt idx="106" formatCode="0.0">
                  <c:v>1.001742160278746</c:v>
                </c:pt>
                <c:pt idx="107" formatCode="0.0">
                  <c:v>1.001742160278746</c:v>
                </c:pt>
                <c:pt idx="108" formatCode="0.0">
                  <c:v>1.0888501742160284</c:v>
                </c:pt>
                <c:pt idx="109" formatCode="0.0">
                  <c:v>1.1852911896465901</c:v>
                </c:pt>
                <c:pt idx="110" formatCode="0.0">
                  <c:v>1.3781732205077155</c:v>
                </c:pt>
                <c:pt idx="111" formatCode="0.0">
                  <c:v>1.5337232453957192</c:v>
                </c:pt>
                <c:pt idx="112" formatCode="0.0">
                  <c:v>1.6426082628173222</c:v>
                </c:pt>
                <c:pt idx="113" formatCode="0.0">
                  <c:v>1.8448232951717272</c:v>
                </c:pt>
                <c:pt idx="114" formatCode="0.0">
                  <c:v>2.1621453459432551</c:v>
                </c:pt>
                <c:pt idx="115" formatCode="0.0">
                  <c:v>2.3519163763066198</c:v>
                </c:pt>
                <c:pt idx="116" formatCode="0.0">
                  <c:v>2.7781234444997511</c:v>
                </c:pt>
                <c:pt idx="117" formatCode="0.0">
                  <c:v>2.9523394723743155</c:v>
                </c:pt>
                <c:pt idx="118" formatCode="0.0">
                  <c:v>3.3723245395719261</c:v>
                </c:pt>
                <c:pt idx="119" formatCode="0.0">
                  <c:v>3.6180935788949742</c:v>
                </c:pt>
                <c:pt idx="120" formatCode="0.0">
                  <c:v>3.8016426082628172</c:v>
                </c:pt>
                <c:pt idx="121" formatCode="0.0">
                  <c:v>4.4300647088103533</c:v>
                </c:pt>
                <c:pt idx="122" formatCode="0.0">
                  <c:v>5.1704828272772509</c:v>
                </c:pt>
                <c:pt idx="123" formatCode="0.0">
                  <c:v>5.6091338974614242</c:v>
                </c:pt>
                <c:pt idx="124" formatCode="0.0">
                  <c:v>6.2593330014932818</c:v>
                </c:pt>
                <c:pt idx="125" formatCode="0.0">
                  <c:v>6.6139870582379272</c:v>
                </c:pt>
                <c:pt idx="126" formatCode="0.0">
                  <c:v>6.9157541065206569</c:v>
                </c:pt>
                <c:pt idx="127" formatCode="0.0">
                  <c:v>7.8490542558486798</c:v>
                </c:pt>
                <c:pt idx="128" formatCode="0.0">
                  <c:v>8.3063713290194112</c:v>
                </c:pt>
                <c:pt idx="129" formatCode="0.0">
                  <c:v>8.7108013937282216</c:v>
                </c:pt>
                <c:pt idx="130" formatCode="0.0">
                  <c:v>9.404554504728722</c:v>
                </c:pt>
                <c:pt idx="131" formatCode="0.0">
                  <c:v>9.8058735689397718</c:v>
                </c:pt>
                <c:pt idx="132" formatCode="0.0">
                  <c:v>9.7218765555002502</c:v>
                </c:pt>
                <c:pt idx="133" formatCode="0.0">
                  <c:v>9.6067695370831263</c:v>
                </c:pt>
                <c:pt idx="134" formatCode="0.0">
                  <c:v>10.064086610253856</c:v>
                </c:pt>
                <c:pt idx="135" formatCode="0.0">
                  <c:v>10.624066699850671</c:v>
                </c:pt>
                <c:pt idx="136" formatCode="0.0">
                  <c:v>11.457814833250374</c:v>
                </c:pt>
                <c:pt idx="137" formatCode="0.0">
                  <c:v>11.737804878048783</c:v>
                </c:pt>
                <c:pt idx="138" formatCode="0.0">
                  <c:v>12.06757093081135</c:v>
                </c:pt>
                <c:pt idx="139" formatCode="0.0">
                  <c:v>12.325783972125437</c:v>
                </c:pt>
                <c:pt idx="140" formatCode="0.0">
                  <c:v>12.095569935291193</c:v>
                </c:pt>
                <c:pt idx="141" formatCode="0.0">
                  <c:v>12.92931806869089</c:v>
                </c:pt>
                <c:pt idx="142" formatCode="0.0">
                  <c:v>13.355525136884024</c:v>
                </c:pt>
                <c:pt idx="143" formatCode="0.0">
                  <c:v>13.517297162767544</c:v>
                </c:pt>
                <c:pt idx="144" formatCode="0.0">
                  <c:v>13.265306122448981</c:v>
                </c:pt>
                <c:pt idx="145" formatCode="0.0">
                  <c:v>12.792434046789452</c:v>
                </c:pt>
                <c:pt idx="146" formatCode="0.0">
                  <c:v>12.47200099552016</c:v>
                </c:pt>
                <c:pt idx="147" formatCode="0.0">
                  <c:v>12.954206072672973</c:v>
                </c:pt>
                <c:pt idx="148" formatCode="0.0">
                  <c:v>14.599925335988052</c:v>
                </c:pt>
                <c:pt idx="149" formatCode="0.0">
                  <c:v>14.07105525136884</c:v>
                </c:pt>
                <c:pt idx="150" formatCode="0.0">
                  <c:v>12.95731707317073</c:v>
                </c:pt>
                <c:pt idx="151" formatCode="0.0">
                  <c:v>12.608885017421603</c:v>
                </c:pt>
                <c:pt idx="152" formatCode="0.0">
                  <c:v>12.814211050273768</c:v>
                </c:pt>
                <c:pt idx="153" formatCode="0.0">
                  <c:v>12.630662020905921</c:v>
                </c:pt>
                <c:pt idx="154" formatCode="0.0">
                  <c:v>11.874688899950227</c:v>
                </c:pt>
                <c:pt idx="155" formatCode="0.0">
                  <c:v>8.1508213041314033</c:v>
                </c:pt>
                <c:pt idx="156" formatCode="0.0">
                  <c:v>7.1801891488302623</c:v>
                </c:pt>
                <c:pt idx="157" formatCode="0.0">
                  <c:v>7.1179691388750612</c:v>
                </c:pt>
                <c:pt idx="158" formatCode="0.0">
                  <c:v>6.7850920856147354</c:v>
                </c:pt>
                <c:pt idx="159" formatCode="0.0">
                  <c:v>6.3775510204081627</c:v>
                </c:pt>
                <c:pt idx="160" formatCode="0.0">
                  <c:v>6.2811100049776014</c:v>
                </c:pt>
                <c:pt idx="161" formatCode="0.0">
                  <c:v>6.7944250871080119</c:v>
                </c:pt>
                <c:pt idx="162" formatCode="0.0">
                  <c:v>7.1926331508213064</c:v>
                </c:pt>
                <c:pt idx="163" formatCode="0.0">
                  <c:v>7.3046291687406688</c:v>
                </c:pt>
                <c:pt idx="164" formatCode="0.0">
                  <c:v>6.6793180686908906</c:v>
                </c:pt>
                <c:pt idx="165" formatCode="0.0">
                  <c:v>6.1815579890492769</c:v>
                </c:pt>
                <c:pt idx="166" formatCode="0.0">
                  <c:v>5.6340219014435036</c:v>
                </c:pt>
                <c:pt idx="167" formatCode="0.0">
                  <c:v>5.2544798407167743</c:v>
                </c:pt>
                <c:pt idx="168" formatCode="0.0">
                  <c:v>5.0367098058735715</c:v>
                </c:pt>
                <c:pt idx="169" formatCode="0.0">
                  <c:v>4.6291687406669979</c:v>
                </c:pt>
                <c:pt idx="170" formatCode="0.0">
                  <c:v>3.7891986062717775</c:v>
                </c:pt>
                <c:pt idx="171" formatCode="0.0">
                  <c:v>3.3101045296167237</c:v>
                </c:pt>
                <c:pt idx="172" formatCode="0.0">
                  <c:v>3.2478845196615236</c:v>
                </c:pt>
                <c:pt idx="173" formatCode="0.0">
                  <c:v>3.2105525136884023</c:v>
                </c:pt>
                <c:pt idx="174" formatCode="0.0">
                  <c:v>3.8638626182180187</c:v>
                </c:pt>
                <c:pt idx="175" formatCode="0.0">
                  <c:v>3.5278745644599296</c:v>
                </c:pt>
                <c:pt idx="176" formatCode="0.0">
                  <c:v>3.266550522648084</c:v>
                </c:pt>
                <c:pt idx="177" formatCode="0.0">
                  <c:v>3.3256595321055253</c:v>
                </c:pt>
                <c:pt idx="178" formatCode="0.0">
                  <c:v>3.3318815331010443</c:v>
                </c:pt>
                <c:pt idx="179" formatCode="0.0">
                  <c:v>3.2043305126928816</c:v>
                </c:pt>
                <c:pt idx="180" formatCode="0.0">
                  <c:v>2.9367844698855157</c:v>
                </c:pt>
                <c:pt idx="181" formatCode="0.0">
                  <c:v>2.2399203583872582</c:v>
                </c:pt>
                <c:pt idx="182" formatCode="0.0">
                  <c:v>2.2648083623693385</c:v>
                </c:pt>
                <c:pt idx="183" formatCode="0.0">
                  <c:v>2.1963663514186162</c:v>
                </c:pt>
                <c:pt idx="184" formatCode="0.0">
                  <c:v>2.1123693379790938</c:v>
                </c:pt>
                <c:pt idx="185" formatCode="0.0">
                  <c:v>2.1901443504230969</c:v>
                </c:pt>
                <c:pt idx="186" formatCode="0.0">
                  <c:v>2.1901443504230964</c:v>
                </c:pt>
                <c:pt idx="187" formatCode="0.0">
                  <c:v>2.0968143354902935</c:v>
                </c:pt>
                <c:pt idx="188" formatCode="0.0">
                  <c:v>2.1777003484320563</c:v>
                </c:pt>
                <c:pt idx="189" formatCode="0.0">
                  <c:v>2.0594823295171727</c:v>
                </c:pt>
                <c:pt idx="190" formatCode="0.0">
                  <c:v>2.0999253359880528</c:v>
                </c:pt>
                <c:pt idx="191" formatCode="0.0">
                  <c:v>2.1123693379790938</c:v>
                </c:pt>
                <c:pt idx="192" formatCode="0.0">
                  <c:v>2.2461423593827776</c:v>
                </c:pt>
                <c:pt idx="193" formatCode="0.0">
                  <c:v>2.2056993529118976</c:v>
                </c:pt>
                <c:pt idx="194" formatCode="0.0">
                  <c:v>2.2679193628670991</c:v>
                </c:pt>
                <c:pt idx="195" formatCode="0.0">
                  <c:v>2.1777003484320567</c:v>
                </c:pt>
                <c:pt idx="196" formatCode="0.0">
                  <c:v>2.3394723743155788</c:v>
                </c:pt>
                <c:pt idx="197" formatCode="0.0">
                  <c:v>2.2585863613738182</c:v>
                </c:pt>
                <c:pt idx="198" formatCode="0.0">
                  <c:v>2.2959183673469394</c:v>
                </c:pt>
                <c:pt idx="199" formatCode="0.0">
                  <c:v>2.0283723245395717</c:v>
                </c:pt>
                <c:pt idx="200" formatCode="0.0">
                  <c:v>1.6954952712792435</c:v>
                </c:pt>
                <c:pt idx="201" formatCode="0.0">
                  <c:v>1.6861622697859637</c:v>
                </c:pt>
                <c:pt idx="202" formatCode="0.0">
                  <c:v>1.6923842707814831</c:v>
                </c:pt>
                <c:pt idx="203" formatCode="0.0">
                  <c:v>1.7141612742658039</c:v>
                </c:pt>
                <c:pt idx="204" formatCode="0.0">
                  <c:v>1.726605276256844</c:v>
                </c:pt>
                <c:pt idx="205" formatCode="0.0">
                  <c:v>1.6612742658038826</c:v>
                </c:pt>
                <c:pt idx="206" formatCode="0.0">
                  <c:v>1.6394972623195618</c:v>
                </c:pt>
                <c:pt idx="207" formatCode="0.0">
                  <c:v>1.8386012941762071</c:v>
                </c:pt>
                <c:pt idx="208" formatCode="0.0">
                  <c:v>1.7732702837232455</c:v>
                </c:pt>
                <c:pt idx="209" formatCode="0.0">
                  <c:v>1.7297162767546035</c:v>
                </c:pt>
                <c:pt idx="210" formatCode="0.0">
                  <c:v>1.7266052762568442</c:v>
                </c:pt>
                <c:pt idx="211" formatCode="0.0">
                  <c:v>1.658163265306122</c:v>
                </c:pt>
                <c:pt idx="212" formatCode="0.0">
                  <c:v>1.7079392732702836</c:v>
                </c:pt>
                <c:pt idx="213" formatCode="0.0">
                  <c:v>1.7577152812344448</c:v>
                </c:pt>
                <c:pt idx="214" formatCode="0.0">
                  <c:v>1.8354902936784463</c:v>
                </c:pt>
                <c:pt idx="215" formatCode="0.0">
                  <c:v>1.7950472872075658</c:v>
                </c:pt>
                <c:pt idx="216" formatCode="0.0">
                  <c:v>1.8230462916874062</c:v>
                </c:pt>
                <c:pt idx="217" formatCode="0.0">
                  <c:v>1.7670482827277245</c:v>
                </c:pt>
                <c:pt idx="218" formatCode="0.0">
                  <c:v>1.8012692882030854</c:v>
                </c:pt>
                <c:pt idx="219" formatCode="0.0">
                  <c:v>1.6830512692882034</c:v>
                </c:pt>
                <c:pt idx="220" formatCode="0.0">
                  <c:v>1.8261572921851668</c:v>
                </c:pt>
                <c:pt idx="221" formatCode="0.0">
                  <c:v>1.6954952712792433</c:v>
                </c:pt>
                <c:pt idx="222" formatCode="0.0">
                  <c:v>1.8168242906918857</c:v>
                </c:pt>
                <c:pt idx="223" formatCode="0.0">
                  <c:v>1.9257093081134884</c:v>
                </c:pt>
                <c:pt idx="224" formatCode="0.0">
                  <c:v>1.9070433051269282</c:v>
                </c:pt>
                <c:pt idx="225" formatCode="0.0">
                  <c:v>2.0034843205574915</c:v>
                </c:pt>
                <c:pt idx="226" formatCode="0.0">
                  <c:v>2.0003733200597309</c:v>
                </c:pt>
                <c:pt idx="227" formatCode="0.0">
                  <c:v>1.872822299651568</c:v>
                </c:pt>
                <c:pt idx="228" formatCode="0.0">
                  <c:v>1.9319313091090087</c:v>
                </c:pt>
                <c:pt idx="229" formatCode="0.0">
                  <c:v>1.8074912891986061</c:v>
                </c:pt>
                <c:pt idx="230" formatCode="0.0">
                  <c:v>1.7234942757590832</c:v>
                </c:pt>
                <c:pt idx="231" formatCode="0.0">
                  <c:v>1.7857142857142851</c:v>
                </c:pt>
                <c:pt idx="232" formatCode="0.0">
                  <c:v>1.6488302638128423</c:v>
                </c:pt>
                <c:pt idx="233" formatCode="0.0">
                  <c:v>1.6892732702837234</c:v>
                </c:pt>
                <c:pt idx="234" formatCode="0.0">
                  <c:v>1.7670482827277252</c:v>
                </c:pt>
                <c:pt idx="235" formatCode="0.0">
                  <c:v>1.7048282727725235</c:v>
                </c:pt>
                <c:pt idx="236" formatCode="0.0">
                  <c:v>1.6550522648083623</c:v>
                </c:pt>
                <c:pt idx="237" formatCode="0.0">
                  <c:v>1.6083872573419611</c:v>
                </c:pt>
                <c:pt idx="238" formatCode="0.0">
                  <c:v>1.4403932304629166</c:v>
                </c:pt>
                <c:pt idx="239" formatCode="0.0">
                  <c:v>1.3843952215032354</c:v>
                </c:pt>
                <c:pt idx="240" formatCode="0.0">
                  <c:v>1.3003982080637131</c:v>
                </c:pt>
                <c:pt idx="241" formatCode="0.0">
                  <c:v>1.225734196117471</c:v>
                </c:pt>
                <c:pt idx="242" formatCode="0.0">
                  <c:v>1.2568442010950718</c:v>
                </c:pt>
                <c:pt idx="243" formatCode="0.0">
                  <c:v>1.272399203583872</c:v>
                </c:pt>
                <c:pt idx="244" formatCode="0.0">
                  <c:v>1.2568442010950718</c:v>
                </c:pt>
                <c:pt idx="245" formatCode="0.0">
                  <c:v>1.3968392234942755</c:v>
                </c:pt>
                <c:pt idx="246" formatCode="0.0">
                  <c:v>1.4341712294673963</c:v>
                </c:pt>
                <c:pt idx="247" formatCode="0.0">
                  <c:v>1.3999502239920358</c:v>
                </c:pt>
                <c:pt idx="248" formatCode="0.0">
                  <c:v>1.2879542060726727</c:v>
                </c:pt>
                <c:pt idx="249" formatCode="0.0">
                  <c:v>1.1759581881533101</c:v>
                </c:pt>
                <c:pt idx="250" formatCode="0.0">
                  <c:v>1.2506222000995515</c:v>
                </c:pt>
                <c:pt idx="251" formatCode="0.0">
                  <c:v>1.2444001991040317</c:v>
                </c:pt>
                <c:pt idx="252" formatCode="0.0">
                  <c:v>1.1604031856645101</c:v>
                </c:pt>
                <c:pt idx="253" formatCode="0.0">
                  <c:v>1.0577401692384272</c:v>
                </c:pt>
                <c:pt idx="254" formatCode="0.0">
                  <c:v>1.1355151816824294</c:v>
                </c:pt>
                <c:pt idx="255" formatCode="0.0">
                  <c:v>1.2444001991040317</c:v>
                </c:pt>
                <c:pt idx="256" formatCode="0.0">
                  <c:v>1.2848432055749124</c:v>
                </c:pt>
                <c:pt idx="257" formatCode="0.0">
                  <c:v>1.2319561971129909</c:v>
                </c:pt>
                <c:pt idx="258" formatCode="0.0">
                  <c:v>1.1852911896465905</c:v>
                </c:pt>
                <c:pt idx="259" formatCode="0.0">
                  <c:v>1.1292931806869089</c:v>
                </c:pt>
                <c:pt idx="260" formatCode="0.0">
                  <c:v>1.1324041811846688</c:v>
                </c:pt>
                <c:pt idx="261" formatCode="0.0">
                  <c:v>1.0266301642608266</c:v>
                </c:pt>
                <c:pt idx="262" formatCode="0.0">
                  <c:v>0.92396714783474343</c:v>
                </c:pt>
                <c:pt idx="263" formatCode="0.0">
                  <c:v>0.91152314584370331</c:v>
                </c:pt>
                <c:pt idx="264" formatCode="0.0">
                  <c:v>0.89596814335490282</c:v>
                </c:pt>
                <c:pt idx="265" formatCode="0.0">
                  <c:v>0.89907914385266285</c:v>
                </c:pt>
                <c:pt idx="266" formatCode="0.0">
                  <c:v>0.97374315579890502</c:v>
                </c:pt>
                <c:pt idx="267" formatCode="0.0">
                  <c:v>1.0266301642608264</c:v>
                </c:pt>
                <c:pt idx="268" formatCode="0.0">
                  <c:v>1.0608511697361873</c:v>
                </c:pt>
                <c:pt idx="269" formatCode="0.0">
                  <c:v>1.1137381781981086</c:v>
                </c:pt>
                <c:pt idx="270" formatCode="0.0">
                  <c:v>1.1199601791936287</c:v>
                </c:pt>
                <c:pt idx="271" formatCode="0.0">
                  <c:v>1.1728471876555504</c:v>
                </c:pt>
                <c:pt idx="272" formatCode="0.0">
                  <c:v>1.238178198108512</c:v>
                </c:pt>
                <c:pt idx="273" formatCode="0.0">
                  <c:v>1.1977351916376304</c:v>
                </c:pt>
                <c:pt idx="274" formatCode="0.0">
                  <c:v>1.2848432055749126</c:v>
                </c:pt>
                <c:pt idx="275" formatCode="0.0">
                  <c:v>1.3750622200099549</c:v>
                </c:pt>
                <c:pt idx="276" formatCode="0.0">
                  <c:v>1.4497262319561965</c:v>
                </c:pt>
                <c:pt idx="277" formatCode="0.0">
                  <c:v>1.6363862618218021</c:v>
                </c:pt>
                <c:pt idx="278" formatCode="0.0">
                  <c:v>1.7421602787456445</c:v>
                </c:pt>
                <c:pt idx="279" formatCode="0.0">
                  <c:v>1.7670482827277252</c:v>
                </c:pt>
                <c:pt idx="280" formatCode="0.0">
                  <c:v>1.8323792931806862</c:v>
                </c:pt>
                <c:pt idx="281" formatCode="0.0">
                  <c:v>2.0128173220507706</c:v>
                </c:pt>
                <c:pt idx="282" formatCode="0.0">
                  <c:v>2.2772523643603781</c:v>
                </c:pt>
                <c:pt idx="283" formatCode="0.0">
                  <c:v>2.2928073668491784</c:v>
                </c:pt>
                <c:pt idx="284" formatCode="0.0">
                  <c:v>2.5572424091587842</c:v>
                </c:pt>
                <c:pt idx="285" formatCode="0.0">
                  <c:v>2.8963414634146343</c:v>
                </c:pt>
                <c:pt idx="286" formatCode="0.0">
                  <c:v>3.0923344947735192</c:v>
                </c:pt>
                <c:pt idx="287" formatCode="0.0">
                  <c:v>3.3754355400696854</c:v>
                </c:pt>
                <c:pt idx="288" formatCode="0.0">
                  <c:v>3.8265306122448983</c:v>
                </c:pt>
                <c:pt idx="289" formatCode="0.0">
                  <c:v>4.2122946739671479</c:v>
                </c:pt>
                <c:pt idx="290" formatCode="0.0">
                  <c:v>5.0833748133399705</c:v>
                </c:pt>
                <c:pt idx="291" formatCode="0.0">
                  <c:v>5.2824788451966143</c:v>
                </c:pt>
                <c:pt idx="292" formatCode="0.0">
                  <c:v>5.2638128422100543</c:v>
                </c:pt>
                <c:pt idx="293" formatCode="0.0">
                  <c:v>5.6837979094076658</c:v>
                </c:pt>
                <c:pt idx="294" formatCode="0.0">
                  <c:v>6.2779990044798408</c:v>
                </c:pt>
                <c:pt idx="295" formatCode="0.0">
                  <c:v>7.3917371826779492</c:v>
                </c:pt>
                <c:pt idx="296" formatCode="0.0">
                  <c:v>8.1601543056246904</c:v>
                </c:pt>
                <c:pt idx="297" formatCode="0.0">
                  <c:v>9.3236684917869574</c:v>
                </c:pt>
                <c:pt idx="298" formatCode="0.0">
                  <c:v>10.62717770034843</c:v>
                </c:pt>
                <c:pt idx="299" formatCode="0.0">
                  <c:v>11.264932802389252</c:v>
                </c:pt>
                <c:pt idx="300" formatCode="0.0">
                  <c:v>12.080014932802388</c:v>
                </c:pt>
                <c:pt idx="301" formatCode="0.0">
                  <c:v>12.496888999502241</c:v>
                </c:pt>
                <c:pt idx="302" formatCode="0.0">
                  <c:v>14.285714285714286</c:v>
                </c:pt>
                <c:pt idx="303" formatCode="0.0">
                  <c:v>16.239422598307613</c:v>
                </c:pt>
                <c:pt idx="304" formatCode="0.0">
                  <c:v>18.367346938775501</c:v>
                </c:pt>
                <c:pt idx="305" formatCode="0.0">
                  <c:v>20.778372324539564</c:v>
                </c:pt>
                <c:pt idx="306" formatCode="0.0">
                  <c:v>22.875186660029861</c:v>
                </c:pt>
                <c:pt idx="307" formatCode="0.0">
                  <c:v>24.219138875062217</c:v>
                </c:pt>
                <c:pt idx="308" formatCode="0.0">
                  <c:v>24.953334992533588</c:v>
                </c:pt>
                <c:pt idx="309" formatCode="0.0">
                  <c:v>23.942259830761561</c:v>
                </c:pt>
                <c:pt idx="310" formatCode="0.0">
                  <c:v>24.937779990044799</c:v>
                </c:pt>
                <c:pt idx="311" formatCode="0.0">
                  <c:v>23.718267794922841</c:v>
                </c:pt>
                <c:pt idx="312" formatCode="0.0">
                  <c:v>22.669860627177705</c:v>
                </c:pt>
                <c:pt idx="313" formatCode="0.0">
                  <c:v>23.379168740666994</c:v>
                </c:pt>
                <c:pt idx="314" formatCode="0.0">
                  <c:v>21.817446490791433</c:v>
                </c:pt>
                <c:pt idx="315" formatCode="0.0">
                  <c:v>22.1783225485316</c:v>
                </c:pt>
                <c:pt idx="316" formatCode="0.0">
                  <c:v>23.693379790940764</c:v>
                </c:pt>
                <c:pt idx="317" formatCode="0.0">
                  <c:v>21.565455450472875</c:v>
                </c:pt>
                <c:pt idx="318" formatCode="0.0">
                  <c:v>21.997884519661532</c:v>
                </c:pt>
                <c:pt idx="319" formatCode="0.0">
                  <c:v>22.355649576903925</c:v>
                </c:pt>
                <c:pt idx="320" formatCode="0.0">
                  <c:v>21.609009457441516</c:v>
                </c:pt>
                <c:pt idx="321" formatCode="0.0">
                  <c:v>21.882777501244391</c:v>
                </c:pt>
                <c:pt idx="322" formatCode="0.0">
                  <c:v>20.86859133897461</c:v>
                </c:pt>
                <c:pt idx="323" formatCode="0.0">
                  <c:v>18.61622697859632</c:v>
                </c:pt>
                <c:pt idx="324" formatCode="0.0">
                  <c:v>19.4593081134893</c:v>
                </c:pt>
                <c:pt idx="325" formatCode="0.0">
                  <c:v>18.146465903434549</c:v>
                </c:pt>
                <c:pt idx="326" formatCode="0.0">
                  <c:v>16.189646590343447</c:v>
                </c:pt>
                <c:pt idx="327" formatCode="0.0">
                  <c:v>14.618591338974612</c:v>
                </c:pt>
                <c:pt idx="328" formatCode="0.0">
                  <c:v>14.123942259830759</c:v>
                </c:pt>
                <c:pt idx="329" formatCode="0.0">
                  <c:v>13.262195121951219</c:v>
                </c:pt>
                <c:pt idx="330" formatCode="0.0">
                  <c:v>12.447112991538075</c:v>
                </c:pt>
                <c:pt idx="331" formatCode="0.0">
                  <c:v>10.017421602787453</c:v>
                </c:pt>
                <c:pt idx="332" formatCode="0.0">
                  <c:v>8.8539074166251872</c:v>
                </c:pt>
                <c:pt idx="333" formatCode="0.0">
                  <c:v>8.2534843205574955</c:v>
                </c:pt>
                <c:pt idx="334" formatCode="0.0">
                  <c:v>7.0619711299153805</c:v>
                </c:pt>
                <c:pt idx="335" formatCode="0.0">
                  <c:v>6.5268790443006486</c:v>
                </c:pt>
                <c:pt idx="336" formatCode="0.0">
                  <c:v>6.2562220009955212</c:v>
                </c:pt>
                <c:pt idx="337" formatCode="0.0">
                  <c:v>5.9700099552015935</c:v>
                </c:pt>
                <c:pt idx="338" formatCode="0.0">
                  <c:v>5.522025883524142</c:v>
                </c:pt>
                <c:pt idx="339" formatCode="0.0">
                  <c:v>5.2389248382279732</c:v>
                </c:pt>
                <c:pt idx="340" formatCode="0.0">
                  <c:v>4.6260577401692373</c:v>
                </c:pt>
                <c:pt idx="341" formatCode="0.0">
                  <c:v>4.4922847187655544</c:v>
                </c:pt>
                <c:pt idx="342" formatCode="0.0">
                  <c:v>4.7598307615729221</c:v>
                </c:pt>
                <c:pt idx="343" formatCode="0.0">
                  <c:v>4.6571677451468387</c:v>
                </c:pt>
                <c:pt idx="344" formatCode="0.0">
                  <c:v>4.4611747137879529</c:v>
                </c:pt>
                <c:pt idx="345" formatCode="0.0">
                  <c:v>4.6291687406669979</c:v>
                </c:pt>
                <c:pt idx="346" formatCode="0.0">
                  <c:v>4.3709556993529111</c:v>
                </c:pt>
                <c:pt idx="347" formatCode="0.0">
                  <c:v>4.280736684917871</c:v>
                </c:pt>
                <c:pt idx="348" formatCode="0.0">
                  <c:v>4.2278496764559463</c:v>
                </c:pt>
                <c:pt idx="349" formatCode="0.0">
                  <c:v>3.6149825783972136</c:v>
                </c:pt>
                <c:pt idx="350" formatCode="0.0">
                  <c:v>3.5620955699352903</c:v>
                </c:pt>
                <c:pt idx="351" formatCode="0.0">
                  <c:v>3.4532105525136885</c:v>
                </c:pt>
                <c:pt idx="352" formatCode="0.0">
                  <c:v>3.2634395221503243</c:v>
                </c:pt>
                <c:pt idx="353" formatCode="0.0">
                  <c:v>3.098556495769039</c:v>
                </c:pt>
                <c:pt idx="354" formatCode="0.0">
                  <c:v>2.971005475360875</c:v>
                </c:pt>
                <c:pt idx="355" formatCode="0.0">
                  <c:v>2.974116475858636</c:v>
                </c:pt>
                <c:pt idx="356" formatCode="0.0">
                  <c:v>2.9243404678944751</c:v>
                </c:pt>
                <c:pt idx="357" formatCode="0.0">
                  <c:v>2.9958934793429566</c:v>
                </c:pt>
                <c:pt idx="358" formatCode="0.0">
                  <c:v>2.7812344449975117</c:v>
                </c:pt>
                <c:pt idx="359" formatCode="0.0">
                  <c:v>2.6847934295669491</c:v>
                </c:pt>
                <c:pt idx="360" formatCode="0.0">
                  <c:v>2.5447984071677454</c:v>
                </c:pt>
                <c:pt idx="361" formatCode="0.0">
                  <c:v>2.6972374315579892</c:v>
                </c:pt>
                <c:pt idx="362" formatCode="0.0">
                  <c:v>2.5821304131408658</c:v>
                </c:pt>
                <c:pt idx="363" formatCode="0.0">
                  <c:v>2.7190144350423098</c:v>
                </c:pt>
                <c:pt idx="364" formatCode="0.0">
                  <c:v>2.6785714285714284</c:v>
                </c:pt>
                <c:pt idx="365" formatCode="0.0">
                  <c:v>2.7003484320557494</c:v>
                </c:pt>
                <c:pt idx="366" formatCode="0.0">
                  <c:v>2.9834494773519165</c:v>
                </c:pt>
                <c:pt idx="367" formatCode="0.0">
                  <c:v>3.2385515181682432</c:v>
                </c:pt>
                <c:pt idx="368" formatCode="0.0">
                  <c:v>3.0643354902936784</c:v>
                </c:pt>
                <c:pt idx="369" formatCode="0.0">
                  <c:v>3.0021154803384769</c:v>
                </c:pt>
                <c:pt idx="370" formatCode="0.0">
                  <c:v>2.8527874564459932</c:v>
                </c:pt>
                <c:pt idx="371" formatCode="0.0">
                  <c:v>2.9896714783474372</c:v>
                </c:pt>
                <c:pt idx="372" formatCode="0.0">
                  <c:v>3.0301144848183172</c:v>
                </c:pt>
                <c:pt idx="373" formatCode="0.0">
                  <c:v>2.899452463912394</c:v>
                </c:pt>
                <c:pt idx="374" formatCode="0.0">
                  <c:v>2.722125435540069</c:v>
                </c:pt>
                <c:pt idx="375" formatCode="0.0">
                  <c:v>2.7283474365355898</c:v>
                </c:pt>
                <c:pt idx="376" formatCode="0.0">
                  <c:v>2.9772274763563966</c:v>
                </c:pt>
                <c:pt idx="377" formatCode="0.0">
                  <c:v>3.0021154803384769</c:v>
                </c:pt>
                <c:pt idx="378" formatCode="0.0">
                  <c:v>2.6194624191139857</c:v>
                </c:pt>
                <c:pt idx="379" formatCode="0.0">
                  <c:v>2.1217023394723742</c:v>
                </c:pt>
                <c:pt idx="380" formatCode="0.0">
                  <c:v>2.3519163763066198</c:v>
                </c:pt>
                <c:pt idx="381" formatCode="0.0">
                  <c:v>2.4856893977103036</c:v>
                </c:pt>
                <c:pt idx="382" formatCode="0.0">
                  <c:v>2.5043554006968636</c:v>
                </c:pt>
                <c:pt idx="383" formatCode="0.0">
                  <c:v>2.5634644101543054</c:v>
                </c:pt>
                <c:pt idx="384" formatCode="0.0">
                  <c:v>2.7252364360378287</c:v>
                </c:pt>
                <c:pt idx="385" formatCode="0.0">
                  <c:v>2.8994524639123931</c:v>
                </c:pt>
                <c:pt idx="386" formatCode="0.0">
                  <c:v>3.400323544051767</c:v>
                </c:pt>
                <c:pt idx="387" formatCode="0.0">
                  <c:v>3.1452215032354407</c:v>
                </c:pt>
                <c:pt idx="388" formatCode="0.0">
                  <c:v>2.961672473867595</c:v>
                </c:pt>
                <c:pt idx="389" formatCode="0.0">
                  <c:v>2.8310104529616722</c:v>
                </c:pt>
                <c:pt idx="390" formatCode="0.0">
                  <c:v>2.6070184171229469</c:v>
                </c:pt>
                <c:pt idx="391" formatCode="0.0">
                  <c:v>2.4825783972125435</c:v>
                </c:pt>
                <c:pt idx="392" formatCode="0.0">
                  <c:v>2.3394723743155792</c:v>
                </c:pt>
                <c:pt idx="393" formatCode="0.0">
                  <c:v>2.0843703334992534</c:v>
                </c:pt>
                <c:pt idx="394" formatCode="0.0">
                  <c:v>2.0252613240418111</c:v>
                </c:pt>
                <c:pt idx="395" formatCode="0.0">
                  <c:v>1.9443753111000499</c:v>
                </c:pt>
                <c:pt idx="396" formatCode="0.0">
                  <c:v>2.1217023394723742</c:v>
                </c:pt>
                <c:pt idx="397" formatCode="0.0">
                  <c:v>2.0968143354902931</c:v>
                </c:pt>
                <c:pt idx="398" formatCode="0.0">
                  <c:v>2.2212543554006974</c:v>
                </c:pt>
                <c:pt idx="399" formatCode="0.0">
                  <c:v>2.3643603782976612</c:v>
                </c:pt>
                <c:pt idx="400" formatCode="0.0">
                  <c:v>2.6972374315579892</c:v>
                </c:pt>
                <c:pt idx="401" formatCode="0.0">
                  <c:v>2.6723494275759081</c:v>
                </c:pt>
                <c:pt idx="402" formatCode="0.0">
                  <c:v>2.6723494275759077</c:v>
                </c:pt>
                <c:pt idx="403" formatCode="0.0">
                  <c:v>2.597685415629666</c:v>
                </c:pt>
                <c:pt idx="404" formatCode="0.0">
                  <c:v>2.7345694375311091</c:v>
                </c:pt>
                <c:pt idx="405" formatCode="0.0">
                  <c:v>2.5105774016923843</c:v>
                </c:pt>
                <c:pt idx="406" formatCode="0.0">
                  <c:v>2.4670233947237428</c:v>
                </c:pt>
                <c:pt idx="407" formatCode="0.0">
                  <c:v>2.2928073668491784</c:v>
                </c:pt>
                <c:pt idx="408" formatCode="0.0">
                  <c:v>2.1808113489298169</c:v>
                </c:pt>
                <c:pt idx="409" formatCode="0.0">
                  <c:v>2.3394723743155792</c:v>
                </c:pt>
                <c:pt idx="410" formatCode="0.0">
                  <c:v>2.2336983573917375</c:v>
                </c:pt>
                <c:pt idx="411" formatCode="0.0">
                  <c:v>2.0408163265306127</c:v>
                </c:pt>
                <c:pt idx="412" formatCode="0.0">
                  <c:v>1.9848183175709306</c:v>
                </c:pt>
                <c:pt idx="413" formatCode="0.0">
                  <c:v>2.0688153310104531</c:v>
                </c:pt>
                <c:pt idx="414" formatCode="0.0">
                  <c:v>1.9381533101045301</c:v>
                </c:pt>
                <c:pt idx="415" formatCode="0.0">
                  <c:v>1.919487307117969</c:v>
                </c:pt>
                <c:pt idx="416" formatCode="0.0">
                  <c:v>1.8230462916874062</c:v>
                </c:pt>
                <c:pt idx="417" formatCode="0.0">
                  <c:v>1.8448232951717272</c:v>
                </c:pt>
                <c:pt idx="418" formatCode="0.0">
                  <c:v>1.9412643106022893</c:v>
                </c:pt>
                <c:pt idx="419" formatCode="0.0">
                  <c:v>3.0176704828272771</c:v>
                </c:pt>
                <c:pt idx="420" formatCode="0.0">
                  <c:v>1.8603782976605276</c:v>
                </c:pt>
                <c:pt idx="421" formatCode="0.0">
                  <c:v>2.022150323544051</c:v>
                </c:pt>
                <c:pt idx="422" formatCode="0.0">
                  <c:v>2.180811348929816</c:v>
                </c:pt>
                <c:pt idx="423" formatCode="0.0">
                  <c:v>2.1870333499253367</c:v>
                </c:pt>
                <c:pt idx="424" formatCode="0.0">
                  <c:v>2.2399203583872578</c:v>
                </c:pt>
                <c:pt idx="425" formatCode="0.0">
                  <c:v>2.2523643603782975</c:v>
                </c:pt>
                <c:pt idx="426" formatCode="0.0">
                  <c:v>1.2661772025883522</c:v>
                </c:pt>
                <c:pt idx="427" formatCode="0.0">
                  <c:v>2.4483573917371833</c:v>
                </c:pt>
                <c:pt idx="428" formatCode="0.0">
                  <c:v>2.4608013937282225</c:v>
                </c:pt>
                <c:pt idx="429" formatCode="0.0">
                  <c:v>2.5105774016923847</c:v>
                </c:pt>
                <c:pt idx="430" formatCode="0.0">
                  <c:v>2.6754604280736682</c:v>
                </c:pt>
                <c:pt idx="431" formatCode="0.0">
                  <c:v>2.6443504230960677</c:v>
                </c:pt>
                <c:pt idx="432" formatCode="0.0">
                  <c:v>2.7874564459930311</c:v>
                </c:pt>
                <c:pt idx="433" formatCode="0.0">
                  <c:v>2.8652314584370342</c:v>
                </c:pt>
                <c:pt idx="434" formatCode="0.0">
                  <c:v>2.8558984569437524</c:v>
                </c:pt>
                <c:pt idx="435" formatCode="0.0">
                  <c:v>3.0176704828272771</c:v>
                </c:pt>
                <c:pt idx="436" formatCode="0.0">
                  <c:v>3.1918865107018415</c:v>
                </c:pt>
                <c:pt idx="437" formatCode="0.0">
                  <c:v>3.2696615231458437</c:v>
                </c:pt>
                <c:pt idx="438" formatCode="0.0">
                  <c:v>3.5558735689397714</c:v>
                </c:pt>
                <c:pt idx="439" formatCode="0.0">
                  <c:v>3.7549776007964173</c:v>
                </c:pt>
                <c:pt idx="440" formatCode="0.0">
                  <c:v>3.7674216027874583</c:v>
                </c:pt>
                <c:pt idx="441" formatCode="0.0">
                  <c:v>3.7487555998008957</c:v>
                </c:pt>
                <c:pt idx="442" formatCode="0.0">
                  <c:v>3.9074166251866598</c:v>
                </c:pt>
                <c:pt idx="443" formatCode="0.0">
                  <c:v>3.9229716276754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A96-4795-8581-791AAA8989B0}"/>
            </c:ext>
          </c:extLst>
        </c:ser>
        <c:ser>
          <c:idx val="8"/>
          <c:order val="4"/>
          <c:tx>
            <c:v>North West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Y$5:$CY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0</c:v>
                </c:pt>
                <c:pt idx="11" formatCode="0.0">
                  <c:v>0</c:v>
                </c:pt>
                <c:pt idx="12" formatCode="0.0">
                  <c:v>0</c:v>
                </c:pt>
                <c:pt idx="13" formatCode="0.0">
                  <c:v>1.4189932243073539E-2</c:v>
                </c:pt>
                <c:pt idx="14" formatCode="0.0">
                  <c:v>1.773741530384192E-2</c:v>
                </c:pt>
                <c:pt idx="15" formatCode="0.0">
                  <c:v>1.773741530384192E-2</c:v>
                </c:pt>
                <c:pt idx="16" formatCode="0.0">
                  <c:v>1.773741530384192E-2</c:v>
                </c:pt>
                <c:pt idx="17" formatCode="0.0">
                  <c:v>1.773741530384192E-2</c:v>
                </c:pt>
                <c:pt idx="18" formatCode="0.0">
                  <c:v>2.1284898364610314E-2</c:v>
                </c:pt>
                <c:pt idx="19" formatCode="0.0">
                  <c:v>2.1284898364610314E-2</c:v>
                </c:pt>
                <c:pt idx="20" formatCode="0.0">
                  <c:v>1.4189932243073539E-2</c:v>
                </c:pt>
                <c:pt idx="21" formatCode="0.0">
                  <c:v>1.0642449182305157E-2</c:v>
                </c:pt>
                <c:pt idx="22" formatCode="0.0">
                  <c:v>1.4189932243073539E-2</c:v>
                </c:pt>
                <c:pt idx="23" formatCode="0.0">
                  <c:v>1.4189932243073539E-2</c:v>
                </c:pt>
                <c:pt idx="24" formatCode="0.0">
                  <c:v>1.4189932243073539E-2</c:v>
                </c:pt>
                <c:pt idx="25" formatCode="0.0">
                  <c:v>1.773741530384192E-2</c:v>
                </c:pt>
                <c:pt idx="26" formatCode="0.0">
                  <c:v>1.773741530384192E-2</c:v>
                </c:pt>
                <c:pt idx="27" formatCode="0.0">
                  <c:v>1.0642449182305157E-2</c:v>
                </c:pt>
                <c:pt idx="28" formatCode="0.0">
                  <c:v>-2.8379864486147079E-2</c:v>
                </c:pt>
                <c:pt idx="29" formatCode="0.0">
                  <c:v>2.1284898364610314E-2</c:v>
                </c:pt>
                <c:pt idx="30" formatCode="0.0">
                  <c:v>2.1284898364610314E-2</c:v>
                </c:pt>
                <c:pt idx="31" formatCode="0.0">
                  <c:v>3.1927347546915466E-2</c:v>
                </c:pt>
                <c:pt idx="32" formatCode="0.0">
                  <c:v>2.8379864486147079E-2</c:v>
                </c:pt>
                <c:pt idx="33" formatCode="0.0">
                  <c:v>2.8379864486147079E-2</c:v>
                </c:pt>
                <c:pt idx="34" formatCode="0.0">
                  <c:v>3.9022313668452234E-2</c:v>
                </c:pt>
                <c:pt idx="35" formatCode="0.0">
                  <c:v>7.8044627336904468E-2</c:v>
                </c:pt>
                <c:pt idx="36" formatCode="0.0">
                  <c:v>2.8379864486147079E-2</c:v>
                </c:pt>
                <c:pt idx="37" formatCode="0.0">
                  <c:v>3.1927347546915466E-2</c:v>
                </c:pt>
                <c:pt idx="38" formatCode="0.0">
                  <c:v>2.1284898364610314E-2</c:v>
                </c:pt>
                <c:pt idx="39" formatCode="0.0">
                  <c:v>1.773741530384192E-2</c:v>
                </c:pt>
                <c:pt idx="40" formatCode="0.0">
                  <c:v>1.773741530384192E-2</c:v>
                </c:pt>
                <c:pt idx="41" formatCode="0.0">
                  <c:v>1.0642449182305157E-2</c:v>
                </c:pt>
                <c:pt idx="42" formatCode="0.0">
                  <c:v>7.0949661215367697E-3</c:v>
                </c:pt>
                <c:pt idx="43" formatCode="0.0">
                  <c:v>3.5474830607683853E-3</c:v>
                </c:pt>
                <c:pt idx="44" formatCode="0.0">
                  <c:v>3.5474830607683853E-3</c:v>
                </c:pt>
                <c:pt idx="45" formatCode="0.0">
                  <c:v>3.5474830607683853E-3</c:v>
                </c:pt>
                <c:pt idx="46" formatCode="0.0">
                  <c:v>1.4189932243073539E-2</c:v>
                </c:pt>
                <c:pt idx="47" formatCode="0.0">
                  <c:v>1.4189932243073539E-2</c:v>
                </c:pt>
                <c:pt idx="48" formatCode="0.0">
                  <c:v>2.1284898364610314E-2</c:v>
                </c:pt>
                <c:pt idx="49" formatCode="0.0">
                  <c:v>1.773741530384192E-2</c:v>
                </c:pt>
                <c:pt idx="50" formatCode="0.0">
                  <c:v>1.773741530384192E-2</c:v>
                </c:pt>
                <c:pt idx="51" formatCode="0.0">
                  <c:v>2.1284898364610314E-2</c:v>
                </c:pt>
                <c:pt idx="52" formatCode="0.0">
                  <c:v>3.5195038857029286E-2</c:v>
                </c:pt>
                <c:pt idx="53" formatCode="0.0">
                  <c:v>2.4552589674724134E-2</c:v>
                </c:pt>
                <c:pt idx="54" formatCode="0.0">
                  <c:v>2.8030124797828869E-2</c:v>
                </c:pt>
                <c:pt idx="55" formatCode="0.0">
                  <c:v>1.3910140492418975E-2</c:v>
                </c:pt>
                <c:pt idx="56" formatCode="0.0">
                  <c:v>2.1005106613955753E-2</c:v>
                </c:pt>
                <c:pt idx="57" formatCode="0.0">
                  <c:v>2.7960176860165234E-2</c:v>
                </c:pt>
                <c:pt idx="58" formatCode="0.0">
                  <c:v>3.1297816107942696E-2</c:v>
                </c:pt>
                <c:pt idx="59" formatCode="0.0">
                  <c:v>2.4342745861733208E-2</c:v>
                </c:pt>
                <c:pt idx="60" formatCode="0.0">
                  <c:v>2.0865210738628463E-2</c:v>
                </c:pt>
                <c:pt idx="61" formatCode="0.0">
                  <c:v>3.1297816107942696E-2</c:v>
                </c:pt>
                <c:pt idx="62" formatCode="0.0">
                  <c:v>5.2163026846571169E-2</c:v>
                </c:pt>
                <c:pt idx="63" formatCode="0.0">
                  <c:v>5.5640561969675886E-2</c:v>
                </c:pt>
                <c:pt idx="64" formatCode="0.0">
                  <c:v>5.2163026846571169E-2</c:v>
                </c:pt>
                <c:pt idx="65" formatCode="0.0">
                  <c:v>6.2595632215885391E-2</c:v>
                </c:pt>
                <c:pt idx="66" formatCode="0.0">
                  <c:v>7.3028237585199621E-2</c:v>
                </c:pt>
                <c:pt idx="67" formatCode="0.0">
                  <c:v>7.9983307831409112E-2</c:v>
                </c:pt>
                <c:pt idx="68" formatCode="0.0">
                  <c:v>8.6938378077618617E-2</c:v>
                </c:pt>
                <c:pt idx="69" formatCode="0.0">
                  <c:v>7.6505772708304359E-2</c:v>
                </c:pt>
                <c:pt idx="70" formatCode="0.0">
                  <c:v>7.3028237585199621E-2</c:v>
                </c:pt>
                <c:pt idx="71" formatCode="0.0">
                  <c:v>6.9550702462094868E-2</c:v>
                </c:pt>
                <c:pt idx="72" formatCode="0.0">
                  <c:v>6.607316733899013E-2</c:v>
                </c:pt>
                <c:pt idx="73" formatCode="0.0">
                  <c:v>5.9118097092780653E-2</c:v>
                </c:pt>
                <c:pt idx="74" formatCode="0.0">
                  <c:v>5.9118097092780653E-2</c:v>
                </c:pt>
                <c:pt idx="75" formatCode="0.0">
                  <c:v>8.3460842954513864E-2</c:v>
                </c:pt>
                <c:pt idx="76" formatCode="0.0">
                  <c:v>0.12866879955487551</c:v>
                </c:pt>
                <c:pt idx="77" formatCode="0.0">
                  <c:v>0.14953401029350397</c:v>
                </c:pt>
                <c:pt idx="78" formatCode="0.0">
                  <c:v>0.19474196689386569</c:v>
                </c:pt>
                <c:pt idx="79" formatCode="0.0">
                  <c:v>0.19821950201697042</c:v>
                </c:pt>
                <c:pt idx="80" formatCode="0.0">
                  <c:v>0.21908471275559885</c:v>
                </c:pt>
                <c:pt idx="81" formatCode="0.0">
                  <c:v>0.28168034497148431</c:v>
                </c:pt>
                <c:pt idx="82" formatCode="0.0">
                  <c:v>0.28168034497148431</c:v>
                </c:pt>
                <c:pt idx="83" formatCode="0.0">
                  <c:v>0.27124773960216991</c:v>
                </c:pt>
                <c:pt idx="84" formatCode="0.0">
                  <c:v>0.54249547920433994</c:v>
                </c:pt>
                <c:pt idx="85" formatCode="0.0">
                  <c:v>0.64682153289748257</c:v>
                </c:pt>
                <c:pt idx="86" formatCode="0.0">
                  <c:v>0.79983307831409101</c:v>
                </c:pt>
                <c:pt idx="87" formatCode="0.0">
                  <c:v>0.92502434274586176</c:v>
                </c:pt>
                <c:pt idx="88" formatCode="0.0">
                  <c:v>1.0641257476700514</c:v>
                </c:pt>
                <c:pt idx="89" formatCode="0.0">
                  <c:v>1.2101822228404508</c:v>
                </c:pt>
                <c:pt idx="90" formatCode="0.0">
                  <c:v>1.3666713033801638</c:v>
                </c:pt>
                <c:pt idx="91" formatCode="0.0">
                  <c:v>1.1580191959938799</c:v>
                </c:pt>
                <c:pt idx="92" formatCode="0.0">
                  <c:v>1.1927945472249268</c:v>
                </c:pt>
                <c:pt idx="93" formatCode="0.0">
                  <c:v>1.3666713033801638</c:v>
                </c:pt>
                <c:pt idx="94" formatCode="0.0">
                  <c:v>1.5857560161357631</c:v>
                </c:pt>
                <c:pt idx="95" formatCode="0.0">
                  <c:v>1.7700653776603146</c:v>
                </c:pt>
                <c:pt idx="96" formatCode="0.0">
                  <c:v>1.9961051606621234</c:v>
                </c:pt>
                <c:pt idx="97" formatCode="0.0">
                  <c:v>2.0760884684935315</c:v>
                </c:pt>
                <c:pt idx="98" formatCode="0.0">
                  <c:v>2.3542912783419117</c:v>
                </c:pt>
                <c:pt idx="99" formatCode="0.0">
                  <c:v>2.5907636667130336</c:v>
                </c:pt>
                <c:pt idx="100" formatCode="0.0">
                  <c:v>2.9524273195159267</c:v>
                </c:pt>
                <c:pt idx="101" formatCode="0.0">
                  <c:v>3.1054388649325366</c:v>
                </c:pt>
                <c:pt idx="102" formatCode="0.0">
                  <c:v>3.4079844206426486</c:v>
                </c:pt>
                <c:pt idx="103" formatCode="0.0">
                  <c:v>3.6548894143830846</c:v>
                </c:pt>
                <c:pt idx="104" formatCode="0.0">
                  <c:v>3.9574349700931983</c:v>
                </c:pt>
                <c:pt idx="105" formatCode="0.0">
                  <c:v>4.0791486994018662</c:v>
                </c:pt>
                <c:pt idx="106" formatCode="0.0">
                  <c:v>4.2286827096953683</c:v>
                </c:pt>
                <c:pt idx="107" formatCode="0.0">
                  <c:v>4.7259702322993453</c:v>
                </c:pt>
                <c:pt idx="108" formatCode="0.0">
                  <c:v>5.0772012797329262</c:v>
                </c:pt>
                <c:pt idx="109" formatCode="0.0">
                  <c:v>5.2058700792878003</c:v>
                </c:pt>
                <c:pt idx="110" formatCode="0.0">
                  <c:v>5.2128251495340105</c:v>
                </c:pt>
                <c:pt idx="111" formatCode="0.0">
                  <c:v>5.6196967589372662</c:v>
                </c:pt>
                <c:pt idx="112" formatCode="0.0">
                  <c:v>6.0265683683405209</c:v>
                </c:pt>
                <c:pt idx="113" formatCode="0.0">
                  <c:v>6.1726248435109179</c:v>
                </c:pt>
                <c:pt idx="114" formatCode="0.0">
                  <c:v>6.3395465294199465</c:v>
                </c:pt>
                <c:pt idx="115" formatCode="0.0">
                  <c:v>6.7811934900542514</c:v>
                </c:pt>
                <c:pt idx="116" formatCode="0.0">
                  <c:v>7.6158019195993889</c:v>
                </c:pt>
                <c:pt idx="117" formatCode="0.0">
                  <c:v>8.4017248574210619</c:v>
                </c:pt>
                <c:pt idx="118" formatCode="0.0">
                  <c:v>8.6208095701766592</c:v>
                </c:pt>
                <c:pt idx="119" formatCode="0.0">
                  <c:v>9.2328557518430934</c:v>
                </c:pt>
                <c:pt idx="120" formatCode="0.0">
                  <c:v>9.5771317290304623</c:v>
                </c:pt>
                <c:pt idx="121" formatCode="0.0">
                  <c:v>10.717763249408819</c:v>
                </c:pt>
                <c:pt idx="122" formatCode="0.0">
                  <c:v>12.199193211851442</c:v>
                </c:pt>
                <c:pt idx="123" formatCode="0.0">
                  <c:v>13.124217554597303</c:v>
                </c:pt>
                <c:pt idx="124" formatCode="0.0">
                  <c:v>13.426763110307416</c:v>
                </c:pt>
                <c:pt idx="125" formatCode="0.0">
                  <c:v>14.31005703157602</c:v>
                </c:pt>
                <c:pt idx="126" formatCode="0.0">
                  <c:v>13.7084434552789</c:v>
                </c:pt>
                <c:pt idx="127" formatCode="0.0">
                  <c:v>14.181388232021146</c:v>
                </c:pt>
                <c:pt idx="128" formatCode="0.0">
                  <c:v>13.983168730004174</c:v>
                </c:pt>
                <c:pt idx="129" formatCode="0.0">
                  <c:v>14.070107108081793</c:v>
                </c:pt>
                <c:pt idx="130" formatCode="0.0">
                  <c:v>13.84754486020309</c:v>
                </c:pt>
                <c:pt idx="131" formatCode="0.0">
                  <c:v>14.195298372513561</c:v>
                </c:pt>
                <c:pt idx="132" formatCode="0.0">
                  <c:v>13.256363889275283</c:v>
                </c:pt>
                <c:pt idx="133" formatCode="0.0">
                  <c:v>13.388510223953265</c:v>
                </c:pt>
                <c:pt idx="134" formatCode="0.0">
                  <c:v>13.381555153707057</c:v>
                </c:pt>
                <c:pt idx="135" formatCode="0.0">
                  <c:v>13.944915843650021</c:v>
                </c:pt>
                <c:pt idx="136" formatCode="0.0">
                  <c:v>13.305049380998751</c:v>
                </c:pt>
                <c:pt idx="137" formatCode="0.0">
                  <c:v>12.317429406037002</c:v>
                </c:pt>
                <c:pt idx="138" formatCode="0.0">
                  <c:v>11.587147030185006</c:v>
                </c:pt>
                <c:pt idx="139" formatCode="0.0">
                  <c:v>11.361107247183199</c:v>
                </c:pt>
                <c:pt idx="140" formatCode="0.0">
                  <c:v>10.978578383641672</c:v>
                </c:pt>
                <c:pt idx="141" formatCode="0.0">
                  <c:v>10.982055918764784</c:v>
                </c:pt>
                <c:pt idx="142" formatCode="0.0">
                  <c:v>10.119627208234803</c:v>
                </c:pt>
                <c:pt idx="143" formatCode="0.0">
                  <c:v>9.657115036861871</c:v>
                </c:pt>
                <c:pt idx="144" formatCode="0.0">
                  <c:v>9.6397273612463472</c:v>
                </c:pt>
                <c:pt idx="145" formatCode="0.0">
                  <c:v>9.1215746279037422</c:v>
                </c:pt>
                <c:pt idx="146" formatCode="0.0">
                  <c:v>8.8503268883015718</c:v>
                </c:pt>
                <c:pt idx="147" formatCode="0.0">
                  <c:v>8.6208095701766592</c:v>
                </c:pt>
                <c:pt idx="148" formatCode="0.0">
                  <c:v>8.5373487272221453</c:v>
                </c:pt>
                <c:pt idx="149" formatCode="0.0">
                  <c:v>7.7653359298928919</c:v>
                </c:pt>
                <c:pt idx="150" formatCode="0.0">
                  <c:v>6.92029489497844</c:v>
                </c:pt>
                <c:pt idx="151" formatCode="0.0">
                  <c:v>6.7046877173459452</c:v>
                </c:pt>
                <c:pt idx="152" formatCode="0.0">
                  <c:v>6.523855890944497</c:v>
                </c:pt>
                <c:pt idx="153" formatCode="0.0">
                  <c:v>6.2039226596188621</c:v>
                </c:pt>
                <c:pt idx="154" formatCode="0.0">
                  <c:v>6.1239393517874507</c:v>
                </c:pt>
                <c:pt idx="155" formatCode="0.0">
                  <c:v>5.2823758519961057</c:v>
                </c:pt>
                <c:pt idx="156" formatCode="0.0">
                  <c:v>5.004173042147726</c:v>
                </c:pt>
                <c:pt idx="157" formatCode="0.0">
                  <c:v>5.2197802197802208</c:v>
                </c:pt>
                <c:pt idx="158" formatCode="0.0">
                  <c:v>5.045903463624982</c:v>
                </c:pt>
                <c:pt idx="159" formatCode="0.0">
                  <c:v>4.9137571289470037</c:v>
                </c:pt>
                <c:pt idx="160" formatCode="0.0">
                  <c:v>4.77117818889971</c:v>
                </c:pt>
                <c:pt idx="161" formatCode="0.0">
                  <c:v>4.9172346640701079</c:v>
                </c:pt>
                <c:pt idx="162" formatCode="0.0">
                  <c:v>4.9937404367784115</c:v>
                </c:pt>
                <c:pt idx="163" formatCode="0.0">
                  <c:v>4.8163861455000694</c:v>
                </c:pt>
                <c:pt idx="164" formatCode="0.0">
                  <c:v>4.1278341911253298</c:v>
                </c:pt>
                <c:pt idx="165" formatCode="0.0">
                  <c:v>3.7974683544303796</c:v>
                </c:pt>
                <c:pt idx="166" formatCode="0.0">
                  <c:v>3.654889414383085</c:v>
                </c:pt>
                <c:pt idx="167" formatCode="0.0">
                  <c:v>3.7070524412296568</c:v>
                </c:pt>
                <c:pt idx="168" formatCode="0.0">
                  <c:v>3.4775351231047429</c:v>
                </c:pt>
                <c:pt idx="169" formatCode="0.0">
                  <c:v>3.4949227987202671</c:v>
                </c:pt>
                <c:pt idx="170" formatCode="0.0">
                  <c:v>3.2584504103491443</c:v>
                </c:pt>
                <c:pt idx="171" formatCode="0.0">
                  <c:v>3.1958547781332594</c:v>
                </c:pt>
                <c:pt idx="172" formatCode="0.0">
                  <c:v>3.133259145917374</c:v>
                </c:pt>
                <c:pt idx="173" formatCode="0.0">
                  <c:v>3.2654054805953545</c:v>
                </c:pt>
                <c:pt idx="174" formatCode="0.0">
                  <c:v>3.3975518152733346</c:v>
                </c:pt>
                <c:pt idx="175" formatCode="0.0">
                  <c:v>3.2862706913339821</c:v>
                </c:pt>
                <c:pt idx="176" formatCode="0.0">
                  <c:v>3.3314786479343437</c:v>
                </c:pt>
                <c:pt idx="177" formatCode="0.0">
                  <c:v>3.5157880094588947</c:v>
                </c:pt>
                <c:pt idx="178" formatCode="0.0">
                  <c:v>3.6270691333982472</c:v>
                </c:pt>
                <c:pt idx="179" formatCode="0.0">
                  <c:v>3.4984003338433713</c:v>
                </c:pt>
                <c:pt idx="180" formatCode="0.0">
                  <c:v>3.4949227987202676</c:v>
                </c:pt>
                <c:pt idx="181" formatCode="0.0">
                  <c:v>3.2897482264570876</c:v>
                </c:pt>
                <c:pt idx="182" formatCode="0.0">
                  <c:v>3.5088329392126867</c:v>
                </c:pt>
                <c:pt idx="183" formatCode="0.0">
                  <c:v>3.3940742801502291</c:v>
                </c:pt>
                <c:pt idx="184" formatCode="0.0">
                  <c:v>3.3071359020726119</c:v>
                </c:pt>
                <c:pt idx="185" formatCode="0.0">
                  <c:v>3.3732090694116006</c:v>
                </c:pt>
                <c:pt idx="186" formatCode="0.0">
                  <c:v>3.4844901933509531</c:v>
                </c:pt>
                <c:pt idx="187" formatCode="0.0">
                  <c:v>3.3871192099040202</c:v>
                </c:pt>
                <c:pt idx="188" formatCode="0.0">
                  <c:v>3.3662539991653908</c:v>
                </c:pt>
                <c:pt idx="189" formatCode="0.0">
                  <c:v>3.2062873835025734</c:v>
                </c:pt>
                <c:pt idx="190" formatCode="0.0">
                  <c:v>3.2932257615801932</c:v>
                </c:pt>
                <c:pt idx="191" formatCode="0.0">
                  <c:v>3.3175685074419254</c:v>
                </c:pt>
                <c:pt idx="192" formatCode="0.0">
                  <c:v>3.2028098483794691</c:v>
                </c:pt>
                <c:pt idx="193" formatCode="0.0">
                  <c:v>3.2375851996105167</c:v>
                </c:pt>
                <c:pt idx="194" formatCode="0.0">
                  <c:v>3.3106134371957157</c:v>
                </c:pt>
                <c:pt idx="195" formatCode="0.0">
                  <c:v>3.2167199888718874</c:v>
                </c:pt>
                <c:pt idx="196" formatCode="0.0">
                  <c:v>3.5123104743357909</c:v>
                </c:pt>
                <c:pt idx="197" formatCode="0.0">
                  <c:v>3.481012658227848</c:v>
                </c:pt>
                <c:pt idx="198" formatCode="0.0">
                  <c:v>3.3627764640422861</c:v>
                </c:pt>
                <c:pt idx="199" formatCode="0.0">
                  <c:v>3.3140909723188194</c:v>
                </c:pt>
                <c:pt idx="200" formatCode="0.0">
                  <c:v>3.0115454166087066</c:v>
                </c:pt>
                <c:pt idx="201" formatCode="0.0">
                  <c:v>2.9246070385310894</c:v>
                </c:pt>
                <c:pt idx="202" formatCode="0.0">
                  <c:v>3.0984837946863268</c:v>
                </c:pt>
                <c:pt idx="203" formatCode="0.0">
                  <c:v>2.8828766170538316</c:v>
                </c:pt>
                <c:pt idx="204" formatCode="0.0">
                  <c:v>2.7472527472527486</c:v>
                </c:pt>
                <c:pt idx="205" formatCode="0.0">
                  <c:v>2.6950897204061768</c:v>
                </c:pt>
                <c:pt idx="206" formatCode="0.0">
                  <c:v>2.8550563360689942</c:v>
                </c:pt>
                <c:pt idx="207" formatCode="0.0">
                  <c:v>3.2793156210877732</c:v>
                </c:pt>
                <c:pt idx="208" formatCode="0.0">
                  <c:v>3.1819446376408398</c:v>
                </c:pt>
                <c:pt idx="209" formatCode="0.0">
                  <c:v>3.1332591459173749</c:v>
                </c:pt>
                <c:pt idx="210" formatCode="0.0">
                  <c:v>3.2793156210877732</c:v>
                </c:pt>
                <c:pt idx="211" formatCode="0.0">
                  <c:v>3.373209069411601</c:v>
                </c:pt>
                <c:pt idx="212" formatCode="0.0">
                  <c:v>3.2862706913339825</c:v>
                </c:pt>
                <c:pt idx="213" formatCode="0.0">
                  <c:v>3.1019613298094315</c:v>
                </c:pt>
                <c:pt idx="214" formatCode="0.0">
                  <c:v>3.0637084434552788</c:v>
                </c:pt>
                <c:pt idx="215" formatCode="0.0">
                  <c:v>3.0845736541939077</c:v>
                </c:pt>
                <c:pt idx="216" formatCode="0.0">
                  <c:v>3.1923772430101542</c:v>
                </c:pt>
                <c:pt idx="217" formatCode="0.0">
                  <c:v>3.1645569620253173</c:v>
                </c:pt>
                <c:pt idx="218" formatCode="0.0">
                  <c:v>3.0497983029628601</c:v>
                </c:pt>
                <c:pt idx="219" formatCode="0.0">
                  <c:v>3.2967032967032965</c:v>
                </c:pt>
                <c:pt idx="220" formatCode="0.0">
                  <c:v>3.456669912366114</c:v>
                </c:pt>
                <c:pt idx="221" formatCode="0.0">
                  <c:v>3.3871192099040197</c:v>
                </c:pt>
                <c:pt idx="222" formatCode="0.0">
                  <c:v>3.3697315342884955</c:v>
                </c:pt>
                <c:pt idx="223" formatCode="0.0">
                  <c:v>3.3627764640422866</c:v>
                </c:pt>
                <c:pt idx="224" formatCode="0.0">
                  <c:v>3.4531923772430102</c:v>
                </c:pt>
                <c:pt idx="225" formatCode="0.0">
                  <c:v>3.6062039226596183</c:v>
                </c:pt>
                <c:pt idx="226" formatCode="0.0">
                  <c:v>3.6827096953679237</c:v>
                </c:pt>
                <c:pt idx="227" formatCode="0.0">
                  <c:v>3.5853387119209912</c:v>
                </c:pt>
                <c:pt idx="228" formatCode="0.0">
                  <c:v>3.4114619557657533</c:v>
                </c:pt>
                <c:pt idx="229" formatCode="0.0">
                  <c:v>3.3210460425650297</c:v>
                </c:pt>
                <c:pt idx="230" formatCode="0.0">
                  <c:v>3.1123939351787442</c:v>
                </c:pt>
                <c:pt idx="231" formatCode="0.0">
                  <c:v>2.7750730282375851</c:v>
                </c:pt>
                <c:pt idx="232" formatCode="0.0">
                  <c:v>2.6220614828209765</c:v>
                </c:pt>
                <c:pt idx="233" formatCode="0.0">
                  <c:v>2.3716789539574346</c:v>
                </c:pt>
                <c:pt idx="234" formatCode="0.0">
                  <c:v>2.4655724022812633</c:v>
                </c:pt>
                <c:pt idx="235" formatCode="0.0">
                  <c:v>2.2812630407567118</c:v>
                </c:pt>
                <c:pt idx="236" formatCode="0.0">
                  <c:v>2.479482542773682</c:v>
                </c:pt>
                <c:pt idx="237" formatCode="0.0">
                  <c:v>2.5872861315899294</c:v>
                </c:pt>
                <c:pt idx="238" formatCode="0.0">
                  <c:v>2.6359716233133947</c:v>
                </c:pt>
                <c:pt idx="239" formatCode="0.0">
                  <c:v>2.3403811378494925</c:v>
                </c:pt>
                <c:pt idx="240" formatCode="0.0">
                  <c:v>2.069133398247323</c:v>
                </c:pt>
                <c:pt idx="241" formatCode="0.0">
                  <c:v>1.8152733342606759</c:v>
                </c:pt>
                <c:pt idx="242" formatCode="0.0">
                  <c:v>1.7179023508137434</c:v>
                </c:pt>
                <c:pt idx="243" formatCode="0.0">
                  <c:v>1.4049241897343161</c:v>
                </c:pt>
                <c:pt idx="244" formatCode="0.0">
                  <c:v>1.4084017248574214</c:v>
                </c:pt>
                <c:pt idx="245" formatCode="0.0">
                  <c:v>1.3423285575184312</c:v>
                </c:pt>
                <c:pt idx="246" formatCode="0.0">
                  <c:v>1.4049241897343161</c:v>
                </c:pt>
                <c:pt idx="247" formatCode="0.0">
                  <c:v>1.5266379190429824</c:v>
                </c:pt>
                <c:pt idx="248" formatCode="0.0">
                  <c:v>1.4953401029350395</c:v>
                </c:pt>
                <c:pt idx="249" formatCode="0.0">
                  <c:v>1.5509806649047158</c:v>
                </c:pt>
                <c:pt idx="250" formatCode="0.0">
                  <c:v>1.6066212268743916</c:v>
                </c:pt>
                <c:pt idx="251" formatCode="0.0">
                  <c:v>1.4814299624426204</c:v>
                </c:pt>
                <c:pt idx="252" formatCode="0.0">
                  <c:v>1.4709973570733061</c:v>
                </c:pt>
                <c:pt idx="253" formatCode="0.0">
                  <c:v>1.3840589789956883</c:v>
                </c:pt>
                <c:pt idx="254" formatCode="0.0">
                  <c:v>1.2206148282097649</c:v>
                </c:pt>
                <c:pt idx="255" formatCode="0.0">
                  <c:v>1.1093337042704132</c:v>
                </c:pt>
                <c:pt idx="256" formatCode="0.0">
                  <c:v>1.0571706774238419</c:v>
                </c:pt>
                <c:pt idx="257" formatCode="0.0">
                  <c:v>0.97370983446932857</c:v>
                </c:pt>
                <c:pt idx="258" formatCode="0.0">
                  <c:v>0.92502434274586176</c:v>
                </c:pt>
                <c:pt idx="259" formatCode="0.0">
                  <c:v>0.93545694811517599</c:v>
                </c:pt>
                <c:pt idx="260" formatCode="0.0">
                  <c:v>0.90068159688412852</c:v>
                </c:pt>
                <c:pt idx="261" formatCode="0.0">
                  <c:v>0.83113089442203381</c:v>
                </c:pt>
                <c:pt idx="262" formatCode="0.0">
                  <c:v>0.85199610516066204</c:v>
                </c:pt>
                <c:pt idx="263" formatCode="0.0">
                  <c:v>0.77549033245235788</c:v>
                </c:pt>
                <c:pt idx="264" formatCode="0.0">
                  <c:v>0.7720127973292531</c:v>
                </c:pt>
                <c:pt idx="265" formatCode="0.0">
                  <c:v>0.80331061343719579</c:v>
                </c:pt>
                <c:pt idx="266" formatCode="0.0">
                  <c:v>0.80331061343719579</c:v>
                </c:pt>
                <c:pt idx="267" formatCode="0.0">
                  <c:v>0.72332730560578662</c:v>
                </c:pt>
                <c:pt idx="268" formatCode="0.0">
                  <c:v>0.81374321880651013</c:v>
                </c:pt>
                <c:pt idx="269" formatCode="0.0">
                  <c:v>0.82417582417582436</c:v>
                </c:pt>
                <c:pt idx="270" formatCode="0.0">
                  <c:v>0.92850187786896654</c:v>
                </c:pt>
                <c:pt idx="271" formatCode="0.0">
                  <c:v>0.95284462373069989</c:v>
                </c:pt>
                <c:pt idx="272" formatCode="0.0">
                  <c:v>0.94936708860759522</c:v>
                </c:pt>
                <c:pt idx="273" formatCode="0.0">
                  <c:v>0.95284462373069989</c:v>
                </c:pt>
                <c:pt idx="274" formatCode="0.0">
                  <c:v>1.1301989150090417</c:v>
                </c:pt>
                <c:pt idx="275" formatCode="0.0">
                  <c:v>1.2971206009180694</c:v>
                </c:pt>
                <c:pt idx="276" formatCode="0.0">
                  <c:v>1.5857560161357631</c:v>
                </c:pt>
                <c:pt idx="277" formatCode="0.0">
                  <c:v>1.8396160801224091</c:v>
                </c:pt>
                <c:pt idx="278" formatCode="0.0">
                  <c:v>2.121296425093893</c:v>
                </c:pt>
                <c:pt idx="279" formatCode="0.0">
                  <c:v>2.1734594519404644</c:v>
                </c:pt>
                <c:pt idx="280" formatCode="0.0">
                  <c:v>2.5594658506050907</c:v>
                </c:pt>
                <c:pt idx="281" formatCode="0.0">
                  <c:v>2.9211295034079852</c:v>
                </c:pt>
                <c:pt idx="282" formatCode="0.0">
                  <c:v>2.9872026707469752</c:v>
                </c:pt>
                <c:pt idx="283" formatCode="0.0">
                  <c:v>2.9211295034079852</c:v>
                </c:pt>
                <c:pt idx="284" formatCode="0.0">
                  <c:v>3.2793156210877732</c:v>
                </c:pt>
                <c:pt idx="285" formatCode="0.0">
                  <c:v>3.3905967450271257</c:v>
                </c:pt>
                <c:pt idx="286" formatCode="0.0">
                  <c:v>3.7279176519682862</c:v>
                </c:pt>
                <c:pt idx="287" formatCode="0.0">
                  <c:v>4.2043399638336361</c:v>
                </c:pt>
                <c:pt idx="288" formatCode="0.0">
                  <c:v>4.965920155793575</c:v>
                </c:pt>
                <c:pt idx="289" formatCode="0.0">
                  <c:v>5.8805118931701212</c:v>
                </c:pt>
                <c:pt idx="290" formatCode="0.0">
                  <c:v>6.7325079983307825</c:v>
                </c:pt>
                <c:pt idx="291" formatCode="0.0">
                  <c:v>6.5099457504520801</c:v>
                </c:pt>
                <c:pt idx="292" formatCode="0.0">
                  <c:v>6.4751703992210334</c:v>
                </c:pt>
                <c:pt idx="293" formatCode="0.0">
                  <c:v>6.5099457504520784</c:v>
                </c:pt>
                <c:pt idx="294" formatCode="0.0">
                  <c:v>6.4925580748365554</c:v>
                </c:pt>
                <c:pt idx="295" formatCode="0.0">
                  <c:v>7.0941716511336779</c:v>
                </c:pt>
                <c:pt idx="296" formatCode="0.0">
                  <c:v>8.0226735290026454</c:v>
                </c:pt>
                <c:pt idx="297" formatCode="0.0">
                  <c:v>8.8746696341633076</c:v>
                </c:pt>
                <c:pt idx="298" formatCode="0.0">
                  <c:v>9.4554179997218029</c:v>
                </c:pt>
                <c:pt idx="299" formatCode="0.0">
                  <c:v>10.150925024342744</c:v>
                </c:pt>
                <c:pt idx="300" formatCode="0.0">
                  <c:v>10.648212546946722</c:v>
                </c:pt>
                <c:pt idx="301" formatCode="0.0">
                  <c:v>11.430657949645292</c:v>
                </c:pt>
                <c:pt idx="302" formatCode="0.0">
                  <c:v>12.616497426624012</c:v>
                </c:pt>
                <c:pt idx="303" formatCode="0.0">
                  <c:v>14.15356795103631</c:v>
                </c:pt>
                <c:pt idx="304" formatCode="0.0">
                  <c:v>14.890805397134512</c:v>
                </c:pt>
                <c:pt idx="305" formatCode="0.0">
                  <c:v>16.539157045486164</c:v>
                </c:pt>
                <c:pt idx="306" formatCode="0.0">
                  <c:v>17.359855334538889</c:v>
                </c:pt>
                <c:pt idx="307" formatCode="0.0">
                  <c:v>18.382250660731668</c:v>
                </c:pt>
                <c:pt idx="308" formatCode="0.0">
                  <c:v>18.559604952010019</c:v>
                </c:pt>
                <c:pt idx="309" formatCode="0.0">
                  <c:v>18.70566142718042</c:v>
                </c:pt>
                <c:pt idx="310" formatCode="0.0">
                  <c:v>17.749339268326608</c:v>
                </c:pt>
                <c:pt idx="311" formatCode="0.0">
                  <c:v>17.999721797190148</c:v>
                </c:pt>
                <c:pt idx="312" formatCode="0.0">
                  <c:v>17.394630685769922</c:v>
                </c:pt>
                <c:pt idx="313" formatCode="0.0">
                  <c:v>17.140770621783279</c:v>
                </c:pt>
                <c:pt idx="314" formatCode="0.0">
                  <c:v>15.739323967172064</c:v>
                </c:pt>
                <c:pt idx="315" formatCode="0.0">
                  <c:v>14.570872165808872</c:v>
                </c:pt>
                <c:pt idx="316" formatCode="0.0">
                  <c:v>13.138127695089718</c:v>
                </c:pt>
                <c:pt idx="317" formatCode="0.0">
                  <c:v>12.978161079426902</c:v>
                </c:pt>
                <c:pt idx="318" formatCode="0.0">
                  <c:v>12.091389623035193</c:v>
                </c:pt>
                <c:pt idx="319" formatCode="0.0">
                  <c:v>12.11920990402003</c:v>
                </c:pt>
                <c:pt idx="320" formatCode="0.0">
                  <c:v>11.628877451662261</c:v>
                </c:pt>
                <c:pt idx="321" formatCode="0.0">
                  <c:v>11.594102100431215</c:v>
                </c:pt>
                <c:pt idx="322" formatCode="0.0">
                  <c:v>12.05661427180415</c:v>
                </c:pt>
                <c:pt idx="323" formatCode="0.0">
                  <c:v>11.388927528168036</c:v>
                </c:pt>
                <c:pt idx="324" formatCode="0.0">
                  <c:v>10.582139379607739</c:v>
                </c:pt>
                <c:pt idx="325" formatCode="0.0">
                  <c:v>9.9909584086799281</c:v>
                </c:pt>
                <c:pt idx="326" formatCode="0.0">
                  <c:v>8.6034218945611354</c:v>
                </c:pt>
                <c:pt idx="327" formatCode="0.0">
                  <c:v>8.4504103491445264</c:v>
                </c:pt>
                <c:pt idx="328" formatCode="0.0">
                  <c:v>8.2800111281123936</c:v>
                </c:pt>
                <c:pt idx="329" formatCode="0.0">
                  <c:v>7.5462512171372929</c:v>
                </c:pt>
                <c:pt idx="330" formatCode="0.0">
                  <c:v>7.1532897482264568</c:v>
                </c:pt>
                <c:pt idx="331" formatCode="0.0">
                  <c:v>6.1795799137571308</c:v>
                </c:pt>
                <c:pt idx="332" formatCode="0.0">
                  <c:v>5.244122965641953</c:v>
                </c:pt>
                <c:pt idx="333" formatCode="0.0">
                  <c:v>5.0667686743636118</c:v>
                </c:pt>
                <c:pt idx="334" formatCode="0.0">
                  <c:v>4.437334817081652</c:v>
                </c:pt>
                <c:pt idx="335" formatCode="0.0">
                  <c:v>4.2947558770343575</c:v>
                </c:pt>
                <c:pt idx="336" formatCode="0.0">
                  <c:v>4.1799972179719012</c:v>
                </c:pt>
                <c:pt idx="337" formatCode="0.0">
                  <c:v>4.3225761580191957</c:v>
                </c:pt>
                <c:pt idx="338" formatCode="0.0">
                  <c:v>3.8009458895534842</c:v>
                </c:pt>
                <c:pt idx="339" formatCode="0.0">
                  <c:v>3.6409792738906659</c:v>
                </c:pt>
                <c:pt idx="340" formatCode="0.0">
                  <c:v>3.5853387119209912</c:v>
                </c:pt>
                <c:pt idx="341" formatCode="0.0">
                  <c:v>3.4705800528585344</c:v>
                </c:pt>
                <c:pt idx="342" formatCode="0.0">
                  <c:v>3.4531923772430102</c:v>
                </c:pt>
                <c:pt idx="343" formatCode="0.0">
                  <c:v>3.5053554040895807</c:v>
                </c:pt>
                <c:pt idx="344" formatCode="0.0">
                  <c:v>3.1263040756711646</c:v>
                </c:pt>
                <c:pt idx="345" formatCode="0.0">
                  <c:v>3.2827931562108787</c:v>
                </c:pt>
                <c:pt idx="346" formatCode="0.0">
                  <c:v>3.2619279454722512</c:v>
                </c:pt>
                <c:pt idx="347" formatCode="0.0">
                  <c:v>3.0810961190708026</c:v>
                </c:pt>
                <c:pt idx="348" formatCode="0.0">
                  <c:v>3.0219780219780223</c:v>
                </c:pt>
                <c:pt idx="349" formatCode="0.0">
                  <c:v>2.9385171790235081</c:v>
                </c:pt>
                <c:pt idx="350" formatCode="0.0">
                  <c:v>2.7159549311448039</c:v>
                </c:pt>
                <c:pt idx="351" formatCode="0.0">
                  <c:v>2.6116288774516625</c:v>
                </c:pt>
                <c:pt idx="352" formatCode="0.0">
                  <c:v>2.3751564890805392</c:v>
                </c:pt>
                <c:pt idx="353" formatCode="0.0">
                  <c:v>2.2882181110029212</c:v>
                </c:pt>
                <c:pt idx="354" formatCode="0.0">
                  <c:v>2.2186674085408264</c:v>
                </c:pt>
                <c:pt idx="355" formatCode="0.0">
                  <c:v>2.1838920573097793</c:v>
                </c:pt>
                <c:pt idx="356" formatCode="0.0">
                  <c:v>2.305605786618445</c:v>
                </c:pt>
                <c:pt idx="357" formatCode="0.0">
                  <c:v>2.3334260676032827</c:v>
                </c:pt>
                <c:pt idx="358" formatCode="0.0">
                  <c:v>2.2360550841563498</c:v>
                </c:pt>
                <c:pt idx="359" formatCode="0.0">
                  <c:v>2.2012797329253035</c:v>
                </c:pt>
                <c:pt idx="360" formatCode="0.0">
                  <c:v>2.0447906523855894</c:v>
                </c:pt>
                <c:pt idx="361" formatCode="0.0">
                  <c:v>2.0517457226317988</c:v>
                </c:pt>
                <c:pt idx="362" formatCode="0.0">
                  <c:v>2.0100153011545414</c:v>
                </c:pt>
                <c:pt idx="363" formatCode="0.0">
                  <c:v>1.9404645986924469</c:v>
                </c:pt>
                <c:pt idx="364" formatCode="0.0">
                  <c:v>1.9995826957852276</c:v>
                </c:pt>
                <c:pt idx="365" formatCode="0.0">
                  <c:v>2.034358047016275</c:v>
                </c:pt>
                <c:pt idx="366" formatCode="0.0">
                  <c:v>2.1491167060787317</c:v>
                </c:pt>
                <c:pt idx="367" formatCode="0.0">
                  <c:v>2.1630268465711509</c:v>
                </c:pt>
                <c:pt idx="368" formatCode="0.0">
                  <c:v>2.2151898734177213</c:v>
                </c:pt>
                <c:pt idx="369" formatCode="0.0">
                  <c:v>2.2777855056336072</c:v>
                </c:pt>
                <c:pt idx="370" formatCode="0.0">
                  <c:v>2.2360550841563493</c:v>
                </c:pt>
                <c:pt idx="371" formatCode="0.0">
                  <c:v>2.0899986089859515</c:v>
                </c:pt>
                <c:pt idx="372" formatCode="0.0">
                  <c:v>2.1804145221866746</c:v>
                </c:pt>
                <c:pt idx="373" formatCode="0.0">
                  <c:v>2.2186674085408264</c:v>
                </c:pt>
                <c:pt idx="374" formatCode="0.0">
                  <c:v>2.437752121296425</c:v>
                </c:pt>
                <c:pt idx="375" formatCode="0.0">
                  <c:v>2.427319515927111</c:v>
                </c:pt>
                <c:pt idx="376" formatCode="0.0">
                  <c:v>2.427319515927111</c:v>
                </c:pt>
                <c:pt idx="377" formatCode="0.0">
                  <c:v>2.5177354291278347</c:v>
                </c:pt>
                <c:pt idx="378" formatCode="0.0">
                  <c:v>2.5177354291278347</c:v>
                </c:pt>
                <c:pt idx="379" formatCode="0.0">
                  <c:v>2.3994992349422728</c:v>
                </c:pt>
                <c:pt idx="380" formatCode="0.0">
                  <c:v>2.3508137432188061</c:v>
                </c:pt>
                <c:pt idx="381" formatCode="0.0">
                  <c:v>2.3021282514953407</c:v>
                </c:pt>
                <c:pt idx="382" formatCode="0.0">
                  <c:v>2.253442759771874</c:v>
                </c:pt>
                <c:pt idx="383" formatCode="0.0">
                  <c:v>2.3125608568646543</c:v>
                </c:pt>
                <c:pt idx="384" formatCode="0.0">
                  <c:v>2.2221449436639311</c:v>
                </c:pt>
                <c:pt idx="385" formatCode="0.0">
                  <c:v>2.4203644456809021</c:v>
                </c:pt>
                <c:pt idx="386" formatCode="0.0">
                  <c:v>2.58033106134372</c:v>
                </c:pt>
                <c:pt idx="387" formatCode="0.0">
                  <c:v>2.6324940881902905</c:v>
                </c:pt>
                <c:pt idx="388" formatCode="0.0">
                  <c:v>2.6603143691751292</c:v>
                </c:pt>
                <c:pt idx="389" formatCode="0.0">
                  <c:v>2.4307970510502162</c:v>
                </c:pt>
                <c:pt idx="390" formatCode="0.0">
                  <c:v>2.1943246626790938</c:v>
                </c:pt>
                <c:pt idx="391" formatCode="0.0">
                  <c:v>2.1491167060787317</c:v>
                </c:pt>
                <c:pt idx="392" formatCode="0.0">
                  <c:v>1.9404645986924465</c:v>
                </c:pt>
                <c:pt idx="393" formatCode="0.0">
                  <c:v>1.6935596049520103</c:v>
                </c:pt>
                <c:pt idx="394" formatCode="0.0">
                  <c:v>1.6413965781054387</c:v>
                </c:pt>
                <c:pt idx="395" formatCode="0.0">
                  <c:v>1.8257059396299904</c:v>
                </c:pt>
                <c:pt idx="396" formatCode="0.0">
                  <c:v>2.1873695924328844</c:v>
                </c:pt>
                <c:pt idx="397" formatCode="0.0">
                  <c:v>2.3612463485881205</c:v>
                </c:pt>
                <c:pt idx="398" formatCode="0.0">
                  <c:v>2.4412296564195297</c:v>
                </c:pt>
                <c:pt idx="399" formatCode="0.0">
                  <c:v>2.6672694394213381</c:v>
                </c:pt>
                <c:pt idx="400" formatCode="0.0">
                  <c:v>3.12282654054806</c:v>
                </c:pt>
                <c:pt idx="401" formatCode="0.0">
                  <c:v>3.4253720962581724</c:v>
                </c:pt>
                <c:pt idx="402" formatCode="0.0">
                  <c:v>3.3871192099040202</c:v>
                </c:pt>
                <c:pt idx="403" formatCode="0.0">
                  <c:v>3.4531923772430102</c:v>
                </c:pt>
                <c:pt idx="404" formatCode="0.0">
                  <c:v>3.6235915982751439</c:v>
                </c:pt>
                <c:pt idx="405" formatCode="0.0">
                  <c:v>3.602726387536515</c:v>
                </c:pt>
                <c:pt idx="406" formatCode="0.0">
                  <c:v>3.5888162470440959</c:v>
                </c:pt>
                <c:pt idx="407" formatCode="0.0">
                  <c:v>3.4705800528585344</c:v>
                </c:pt>
                <c:pt idx="408" formatCode="0.0">
                  <c:v>3.5401307553206296</c:v>
                </c:pt>
                <c:pt idx="409" formatCode="0.0">
                  <c:v>3.4218945611350682</c:v>
                </c:pt>
                <c:pt idx="410" formatCode="0.0">
                  <c:v>3.5227430797051049</c:v>
                </c:pt>
                <c:pt idx="411" formatCode="0.0">
                  <c:v>3.5470858255668385</c:v>
                </c:pt>
                <c:pt idx="412" formatCode="0.0">
                  <c:v>3.6305466685213523</c:v>
                </c:pt>
                <c:pt idx="413" formatCode="0.0">
                  <c:v>3.7105299763527611</c:v>
                </c:pt>
                <c:pt idx="414" formatCode="0.0">
                  <c:v>3.4671025177354298</c:v>
                </c:pt>
                <c:pt idx="415" formatCode="0.0">
                  <c:v>3.199332313256364</c:v>
                </c:pt>
                <c:pt idx="416" formatCode="0.0">
                  <c:v>3.3001808318264021</c:v>
                </c:pt>
                <c:pt idx="417" formatCode="0.0">
                  <c:v>3.2758380859646676</c:v>
                </c:pt>
                <c:pt idx="418" formatCode="0.0">
                  <c:v>3.2549728752260401</c:v>
                </c:pt>
                <c:pt idx="419" formatCode="0.0">
                  <c:v>3.3314786479343437</c:v>
                </c:pt>
                <c:pt idx="420" formatCode="0.0">
                  <c:v>3.3175685074419254</c:v>
                </c:pt>
                <c:pt idx="421" formatCode="0.0">
                  <c:v>3.6618444846292943</c:v>
                </c:pt>
                <c:pt idx="422" formatCode="0.0">
                  <c:v>3.9574349700931983</c:v>
                </c:pt>
                <c:pt idx="423" formatCode="0.0">
                  <c:v>4.1034914452635984</c:v>
                </c:pt>
                <c:pt idx="424" formatCode="0.0">
                  <c:v>4.4686326331895954</c:v>
                </c:pt>
                <c:pt idx="425" formatCode="0.0">
                  <c:v>4.6529419947141477</c:v>
                </c:pt>
                <c:pt idx="426" formatCode="0.0">
                  <c:v>4.7677006537766022</c:v>
                </c:pt>
                <c:pt idx="427" formatCode="0.0">
                  <c:v>4.9763527611628895</c:v>
                </c:pt>
                <c:pt idx="428" formatCode="0.0">
                  <c:v>5.2893309222423159</c:v>
                </c:pt>
                <c:pt idx="429" formatCode="0.0">
                  <c:v>5.4145221866740867</c:v>
                </c:pt>
                <c:pt idx="430" formatCode="0.0">
                  <c:v>5.9500625956322173</c:v>
                </c:pt>
                <c:pt idx="431" formatCode="0.0">
                  <c:v>6.1308944220336636</c:v>
                </c:pt>
                <c:pt idx="432" formatCode="0.0">
                  <c:v>6.5586312421755455</c:v>
                </c:pt>
                <c:pt idx="433" formatCode="0.0">
                  <c:v>6.6212268743914304</c:v>
                </c:pt>
                <c:pt idx="434" formatCode="0.0">
                  <c:v>6.6316594797607475</c:v>
                </c:pt>
                <c:pt idx="435" formatCode="0.0">
                  <c:v>6.8368340520239252</c:v>
                </c:pt>
                <c:pt idx="436" formatCode="0.0">
                  <c:v>7.174154958965083</c:v>
                </c:pt>
                <c:pt idx="437" formatCode="0.0">
                  <c:v>7.0663513701488387</c:v>
                </c:pt>
                <c:pt idx="438" formatCode="0.0">
                  <c:v>7.1915426345806104</c:v>
                </c:pt>
                <c:pt idx="439" formatCode="0.0">
                  <c:v>7.3480317151203227</c:v>
                </c:pt>
                <c:pt idx="440" formatCode="0.0">
                  <c:v>7.6610098761997483</c:v>
                </c:pt>
                <c:pt idx="441" formatCode="0.0">
                  <c:v>8.2730560578661869</c:v>
                </c:pt>
                <c:pt idx="442" formatCode="0.0">
                  <c:v>8.6764501321463374</c:v>
                </c:pt>
                <c:pt idx="443" formatCode="0.0">
                  <c:v>9.0415913200723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A96-4795-8581-791AAA8989B0}"/>
            </c:ext>
          </c:extLst>
        </c:ser>
        <c:ser>
          <c:idx val="0"/>
          <c:order val="5"/>
          <c:tx>
            <c:v>Eastern Cap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layout>
                <c:manualLayout>
                  <c:x val="-9.2423450682264513E-2"/>
                  <c:y val="-3.83659891459258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K$5:$CK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0</c:v>
                </c:pt>
                <c:pt idx="11" formatCode="0.0">
                  <c:v>2.1287012793494695E-3</c:v>
                </c:pt>
                <c:pt idx="12" formatCode="0.0">
                  <c:v>4.2574025586989365E-3</c:v>
                </c:pt>
                <c:pt idx="13" formatCode="0.0">
                  <c:v>4.2574025586989365E-3</c:v>
                </c:pt>
                <c:pt idx="14" formatCode="0.0">
                  <c:v>4.2574025586989365E-3</c:v>
                </c:pt>
                <c:pt idx="15" formatCode="0.0">
                  <c:v>4.2574025586989365E-3</c:v>
                </c:pt>
                <c:pt idx="16" formatCode="0.0">
                  <c:v>1.0643506396747347E-2</c:v>
                </c:pt>
                <c:pt idx="17" formatCode="0.0">
                  <c:v>1.7029610234795749E-2</c:v>
                </c:pt>
                <c:pt idx="18" formatCode="0.0">
                  <c:v>1.915831151414522E-2</c:v>
                </c:pt>
                <c:pt idx="19" formatCode="0.0">
                  <c:v>2.1287012793494695E-2</c:v>
                </c:pt>
                <c:pt idx="20" formatCode="0.0">
                  <c:v>2.1287012793494695E-2</c:v>
                </c:pt>
                <c:pt idx="21" formatCode="0.0">
                  <c:v>2.1287012793494695E-2</c:v>
                </c:pt>
                <c:pt idx="22" formatCode="0.0">
                  <c:v>2.7673116631543104E-2</c:v>
                </c:pt>
                <c:pt idx="23" formatCode="0.0">
                  <c:v>2.5544415352193626E-2</c:v>
                </c:pt>
                <c:pt idx="24" formatCode="0.0">
                  <c:v>2.7673116631543104E-2</c:v>
                </c:pt>
                <c:pt idx="25" formatCode="0.0">
                  <c:v>3.1930519190242035E-2</c:v>
                </c:pt>
                <c:pt idx="26" formatCode="0.0">
                  <c:v>4.0445324307639897E-2</c:v>
                </c:pt>
                <c:pt idx="27" formatCode="0.0">
                  <c:v>4.2574025586989361E-2</c:v>
                </c:pt>
                <c:pt idx="28" formatCode="0.0">
                  <c:v>5.53462332630862E-2</c:v>
                </c:pt>
                <c:pt idx="29" formatCode="0.0">
                  <c:v>6.386103838048407E-2</c:v>
                </c:pt>
                <c:pt idx="30" formatCode="0.0">
                  <c:v>9.3662856291376675E-2</c:v>
                </c:pt>
                <c:pt idx="31" formatCode="0.0">
                  <c:v>0.100048960129425</c:v>
                </c:pt>
                <c:pt idx="32" formatCode="0.0">
                  <c:v>9.3662856291376648E-2</c:v>
                </c:pt>
                <c:pt idx="33" formatCode="0.0">
                  <c:v>0.12133597292291975</c:v>
                </c:pt>
                <c:pt idx="34" formatCode="0.0">
                  <c:v>0.15326649211316179</c:v>
                </c:pt>
                <c:pt idx="35" formatCode="0.0">
                  <c:v>0.28950337399152781</c:v>
                </c:pt>
                <c:pt idx="36" formatCode="0.0">
                  <c:v>0.32781999701981834</c:v>
                </c:pt>
                <c:pt idx="37" formatCode="0.0">
                  <c:v>0.33846350341656561</c:v>
                </c:pt>
                <c:pt idx="38" formatCode="0.0">
                  <c:v>0.37890882772420548</c:v>
                </c:pt>
                <c:pt idx="39" formatCode="0.0">
                  <c:v>0.42786895714924339</c:v>
                </c:pt>
                <c:pt idx="40" formatCode="0.0">
                  <c:v>0.43638376226664127</c:v>
                </c:pt>
                <c:pt idx="41" formatCode="0.0">
                  <c:v>0.43851246354599072</c:v>
                </c:pt>
                <c:pt idx="42" formatCode="0.0">
                  <c:v>0.36400791876875921</c:v>
                </c:pt>
                <c:pt idx="43" formatCode="0.0">
                  <c:v>0.37890882772420559</c:v>
                </c:pt>
                <c:pt idx="44" formatCode="0.0">
                  <c:v>0.41935415203184534</c:v>
                </c:pt>
                <c:pt idx="45" formatCode="0.0">
                  <c:v>0.49811609936777579</c:v>
                </c:pt>
                <c:pt idx="46" formatCode="0.0">
                  <c:v>0.46405687889818426</c:v>
                </c:pt>
                <c:pt idx="47" formatCode="0.0">
                  <c:v>0.51514570960257156</c:v>
                </c:pt>
                <c:pt idx="48" formatCode="0.0">
                  <c:v>0.59177895565915251</c:v>
                </c:pt>
                <c:pt idx="49" formatCode="0.0">
                  <c:v>0.57687804670370624</c:v>
                </c:pt>
                <c:pt idx="50" formatCode="0.0">
                  <c:v>0.53856142367541571</c:v>
                </c:pt>
                <c:pt idx="51" formatCode="0.0">
                  <c:v>0.48960129425037785</c:v>
                </c:pt>
                <c:pt idx="52" formatCode="0.0">
                  <c:v>0.44915596994273788</c:v>
                </c:pt>
                <c:pt idx="53" formatCode="0.0">
                  <c:v>0.51940311216127033</c:v>
                </c:pt>
                <c:pt idx="54" formatCode="0.0">
                  <c:v>0.50875960576452317</c:v>
                </c:pt>
                <c:pt idx="55" formatCode="0.0">
                  <c:v>0.48108648913298002</c:v>
                </c:pt>
                <c:pt idx="56" formatCode="0.0">
                  <c:v>0.47257168401558219</c:v>
                </c:pt>
                <c:pt idx="57" formatCode="0.0">
                  <c:v>0.46618558017753381</c:v>
                </c:pt>
                <c:pt idx="58" formatCode="0.0">
                  <c:v>0.60029376077655017</c:v>
                </c:pt>
                <c:pt idx="59" formatCode="0.0">
                  <c:v>0.63435298124614159</c:v>
                </c:pt>
                <c:pt idx="60" formatCode="0.0">
                  <c:v>0.7365306426549163</c:v>
                </c:pt>
                <c:pt idx="61" formatCode="0.0">
                  <c:v>0.94514336803116428</c:v>
                </c:pt>
                <c:pt idx="62" formatCode="0.0">
                  <c:v>1.153756093407412</c:v>
                </c:pt>
                <c:pt idx="63" formatCode="0.0">
                  <c:v>1.4177150520467461</c:v>
                </c:pt>
                <c:pt idx="64" formatCode="0.0">
                  <c:v>1.4581603763543862</c:v>
                </c:pt>
                <c:pt idx="65" formatCode="0.0">
                  <c:v>1.36236881878366</c:v>
                </c:pt>
                <c:pt idx="66" formatCode="0.0">
                  <c:v>1.4326159610021925</c:v>
                </c:pt>
                <c:pt idx="67" formatCode="0.0">
                  <c:v>1.56246673904251</c:v>
                </c:pt>
                <c:pt idx="68" formatCode="0.0">
                  <c:v>1.5284075185729187</c:v>
                </c:pt>
                <c:pt idx="69" formatCode="0.0">
                  <c:v>1.4815760904272302</c:v>
                </c:pt>
                <c:pt idx="70" formatCode="0.0">
                  <c:v>1.3432105072695149</c:v>
                </c:pt>
                <c:pt idx="71" formatCode="0.0">
                  <c:v>1.4496455712369882</c:v>
                </c:pt>
                <c:pt idx="72" formatCode="0.0">
                  <c:v>1.6071694659088489</c:v>
                </c:pt>
                <c:pt idx="73" formatCode="0.0">
                  <c:v>1.6965749196415274</c:v>
                </c:pt>
                <c:pt idx="74" formatCode="0.0">
                  <c:v>1.6114268684675479</c:v>
                </c:pt>
                <c:pt idx="75" formatCode="0.0">
                  <c:v>1.6050407646294997</c:v>
                </c:pt>
                <c:pt idx="76" formatCode="0.0">
                  <c:v>1.4815760904272302</c:v>
                </c:pt>
                <c:pt idx="77" formatCode="0.0">
                  <c:v>1.5518232326457626</c:v>
                </c:pt>
                <c:pt idx="78" formatCode="0.0">
                  <c:v>1.7710794644187582</c:v>
                </c:pt>
                <c:pt idx="79" formatCode="0.0">
                  <c:v>2.090384656321179</c:v>
                </c:pt>
                <c:pt idx="80" formatCode="0.0">
                  <c:v>2.3926602379888022</c:v>
                </c:pt>
                <c:pt idx="81" formatCode="0.0">
                  <c:v>2.5331545224258676</c:v>
                </c:pt>
                <c:pt idx="82" formatCode="0.0">
                  <c:v>2.6332034825552926</c:v>
                </c:pt>
                <c:pt idx="83" formatCode="0.0">
                  <c:v>2.9014198437533261</c:v>
                </c:pt>
                <c:pt idx="84" formatCode="0.0">
                  <c:v>3.1079038678502253</c:v>
                </c:pt>
                <c:pt idx="85" formatCode="0.0">
                  <c:v>3.1483491921578648</c:v>
                </c:pt>
                <c:pt idx="86" formatCode="0.0">
                  <c:v>3.4697830853396345</c:v>
                </c:pt>
                <c:pt idx="87" formatCode="0.0">
                  <c:v>3.52725801988207</c:v>
                </c:pt>
                <c:pt idx="88" formatCode="0.0">
                  <c:v>3.9806713923835066</c:v>
                </c:pt>
                <c:pt idx="89" formatCode="0.0">
                  <c:v>4.3574515188283618</c:v>
                </c:pt>
                <c:pt idx="90" formatCode="0.0">
                  <c:v>4.747003852949315</c:v>
                </c:pt>
                <c:pt idx="91" formatCode="0.0">
                  <c:v>5.1855163164953053</c:v>
                </c:pt>
                <c:pt idx="92" formatCode="0.0">
                  <c:v>5.5942269621304046</c:v>
                </c:pt>
                <c:pt idx="93" formatCode="0.0">
                  <c:v>6.2413521510526442</c:v>
                </c:pt>
                <c:pt idx="94" formatCode="0.0">
                  <c:v>7.1843668178044569</c:v>
                </c:pt>
                <c:pt idx="95" formatCode="0.0">
                  <c:v>7.7080273325244288</c:v>
                </c:pt>
                <c:pt idx="96" formatCode="0.0">
                  <c:v>8.6276262852033998</c:v>
                </c:pt>
                <c:pt idx="97" formatCode="0.0">
                  <c:v>9.0597526449113417</c:v>
                </c:pt>
                <c:pt idx="98" formatCode="0.0">
                  <c:v>9.1087127743363769</c:v>
                </c:pt>
                <c:pt idx="99" formatCode="0.0">
                  <c:v>10.143261596100221</c:v>
                </c:pt>
                <c:pt idx="100" formatCode="0.0">
                  <c:v>10.156033803776317</c:v>
                </c:pt>
                <c:pt idx="101" formatCode="0.0">
                  <c:v>10.411477957298253</c:v>
                </c:pt>
                <c:pt idx="102" formatCode="0.0">
                  <c:v>11.646124699320946</c:v>
                </c:pt>
                <c:pt idx="103" formatCode="0.0">
                  <c:v>12.184686122996359</c:v>
                </c:pt>
                <c:pt idx="104" formatCode="0.0">
                  <c:v>13.406560657342958</c:v>
                </c:pt>
                <c:pt idx="105" formatCode="0.0">
                  <c:v>12.919088064371929</c:v>
                </c:pt>
                <c:pt idx="106" formatCode="0.0">
                  <c:v>15.528875832854371</c:v>
                </c:pt>
                <c:pt idx="107" formatCode="0.0">
                  <c:v>16.706047640334624</c:v>
                </c:pt>
                <c:pt idx="108" formatCode="0.0">
                  <c:v>17.949209187474722</c:v>
                </c:pt>
                <c:pt idx="109" formatCode="0.0">
                  <c:v>19.0242033335462</c:v>
                </c:pt>
                <c:pt idx="110" formatCode="0.0">
                  <c:v>19.899099559358831</c:v>
                </c:pt>
                <c:pt idx="111" formatCode="0.0">
                  <c:v>19.79692189795006</c:v>
                </c:pt>
                <c:pt idx="112" formatCode="0.0">
                  <c:v>22.517402132958686</c:v>
                </c:pt>
                <c:pt idx="113" formatCode="0.0">
                  <c:v>21.555229154692718</c:v>
                </c:pt>
                <c:pt idx="114" formatCode="0.0">
                  <c:v>21.533942141899228</c:v>
                </c:pt>
                <c:pt idx="115" formatCode="0.0">
                  <c:v>21.753198373672223</c:v>
                </c:pt>
                <c:pt idx="116" formatCode="0.0">
                  <c:v>22.357749537007468</c:v>
                </c:pt>
                <c:pt idx="117" formatCode="0.0">
                  <c:v>22.455669795857546</c:v>
                </c:pt>
                <c:pt idx="118" formatCode="0.0">
                  <c:v>25.301743406347789</c:v>
                </c:pt>
                <c:pt idx="119" formatCode="0.0">
                  <c:v>27.066436766928494</c:v>
                </c:pt>
                <c:pt idx="120" formatCode="0.0">
                  <c:v>27.709304553292039</c:v>
                </c:pt>
                <c:pt idx="121" formatCode="0.0">
                  <c:v>29.437809992123803</c:v>
                </c:pt>
                <c:pt idx="122" formatCode="0.0">
                  <c:v>30.072162973369942</c:v>
                </c:pt>
                <c:pt idx="123" formatCode="0.0">
                  <c:v>29.952955701726378</c:v>
                </c:pt>
                <c:pt idx="124" formatCode="0.0">
                  <c:v>31.189731145028421</c:v>
                </c:pt>
                <c:pt idx="125" formatCode="0.0">
                  <c:v>29.752857781467533</c:v>
                </c:pt>
                <c:pt idx="126" formatCode="0.0">
                  <c:v>28.860931945420102</c:v>
                </c:pt>
                <c:pt idx="127" formatCode="0.0">
                  <c:v>28.156331821955426</c:v>
                </c:pt>
                <c:pt idx="128" formatCode="0.0">
                  <c:v>27.149456116823124</c:v>
                </c:pt>
                <c:pt idx="129" formatCode="0.0">
                  <c:v>26.770547289098918</c:v>
                </c:pt>
                <c:pt idx="130" formatCode="0.0">
                  <c:v>27.128169104029631</c:v>
                </c:pt>
                <c:pt idx="131" formatCode="0.0">
                  <c:v>27.419801179300514</c:v>
                </c:pt>
                <c:pt idx="132" formatCode="0.0">
                  <c:v>28.222321561615253</c:v>
                </c:pt>
                <c:pt idx="133" formatCode="0.0">
                  <c:v>27.247376375673198</c:v>
                </c:pt>
                <c:pt idx="134" formatCode="0.0">
                  <c:v>26.042531451561388</c:v>
                </c:pt>
                <c:pt idx="135" formatCode="0.0">
                  <c:v>26.095748983545136</c:v>
                </c:pt>
                <c:pt idx="136" formatCode="0.0">
                  <c:v>26.561934563722673</c:v>
                </c:pt>
                <c:pt idx="137" formatCode="0.0">
                  <c:v>25.110160291206334</c:v>
                </c:pt>
                <c:pt idx="138" formatCode="0.0">
                  <c:v>22.147008110351877</c:v>
                </c:pt>
                <c:pt idx="139" formatCode="0.0">
                  <c:v>18.977371905400517</c:v>
                </c:pt>
                <c:pt idx="140" formatCode="0.0">
                  <c:v>17.685250228835386</c:v>
                </c:pt>
                <c:pt idx="141" formatCode="0.0">
                  <c:v>17.144560103880629</c:v>
                </c:pt>
                <c:pt idx="142" formatCode="0.0">
                  <c:v>16.199416735849461</c:v>
                </c:pt>
                <c:pt idx="143" formatCode="0.0">
                  <c:v>14.049428443706493</c:v>
                </c:pt>
                <c:pt idx="144" formatCode="0.0">
                  <c:v>12.793494688890307</c:v>
                </c:pt>
                <c:pt idx="145" formatCode="0.0">
                  <c:v>12.399684952210661</c:v>
                </c:pt>
                <c:pt idx="146" formatCode="0.0">
                  <c:v>11.586521063499157</c:v>
                </c:pt>
                <c:pt idx="147" formatCode="0.0">
                  <c:v>10.168806011452416</c:v>
                </c:pt>
                <c:pt idx="148" formatCode="0.0">
                  <c:v>9.6387593928943947</c:v>
                </c:pt>
                <c:pt idx="149" formatCode="0.0">
                  <c:v>8.427528364944548</c:v>
                </c:pt>
                <c:pt idx="150" formatCode="0.0">
                  <c:v>7.8272346041679954</c:v>
                </c:pt>
                <c:pt idx="151" formatCode="0.0">
                  <c:v>7.0076846116184495</c:v>
                </c:pt>
                <c:pt idx="152" formatCode="0.0">
                  <c:v>6.36694552653426</c:v>
                </c:pt>
                <c:pt idx="153" formatCode="0.0">
                  <c:v>6.1817485152308578</c:v>
                </c:pt>
                <c:pt idx="154" formatCode="0.0">
                  <c:v>6.1115013730123264</c:v>
                </c:pt>
                <c:pt idx="155" formatCode="0.0">
                  <c:v>5.064180343572386</c:v>
                </c:pt>
                <c:pt idx="156" formatCode="0.0">
                  <c:v>4.231858143346745</c:v>
                </c:pt>
                <c:pt idx="157" formatCode="0.0">
                  <c:v>3.7401281478170181</c:v>
                </c:pt>
                <c:pt idx="158" formatCode="0.0">
                  <c:v>3.3995359431211023</c:v>
                </c:pt>
                <c:pt idx="159" formatCode="0.0">
                  <c:v>3.416565553355897</c:v>
                </c:pt>
                <c:pt idx="160" formatCode="0.0">
                  <c:v>3.2228537369350962</c:v>
                </c:pt>
                <c:pt idx="161" formatCode="0.0">
                  <c:v>3.0419141281903919</c:v>
                </c:pt>
                <c:pt idx="162" formatCode="0.0">
                  <c:v>3.36973412521021</c:v>
                </c:pt>
                <c:pt idx="163" formatCode="0.0">
                  <c:v>3.3718628264895583</c:v>
                </c:pt>
                <c:pt idx="164" formatCode="0.0">
                  <c:v>2.9269642591055196</c:v>
                </c:pt>
                <c:pt idx="165" formatCode="0.0">
                  <c:v>2.9120633501500737</c:v>
                </c:pt>
                <c:pt idx="166" formatCode="0.0">
                  <c:v>2.5480554313813144</c:v>
                </c:pt>
                <c:pt idx="167" formatCode="0.0">
                  <c:v>2.4437490686931898</c:v>
                </c:pt>
                <c:pt idx="168" formatCode="0.0">
                  <c:v>2.4841943930008301</c:v>
                </c:pt>
                <c:pt idx="169" formatCode="0.0">
                  <c:v>2.3628584200779099</c:v>
                </c:pt>
                <c:pt idx="170" formatCode="0.0">
                  <c:v>2.2117206292440983</c:v>
                </c:pt>
                <c:pt idx="171" formatCode="0.0">
                  <c:v>2.0307810204993935</c:v>
                </c:pt>
                <c:pt idx="172" formatCode="0.0">
                  <c:v>1.8306831002405437</c:v>
                </c:pt>
                <c:pt idx="173" formatCode="0.0">
                  <c:v>1.8242969964024947</c:v>
                </c:pt>
                <c:pt idx="174" formatCode="0.0">
                  <c:v>1.9647912808395598</c:v>
                </c:pt>
                <c:pt idx="175" formatCode="0.0">
                  <c:v>1.9286033590906191</c:v>
                </c:pt>
                <c:pt idx="176" formatCode="0.0">
                  <c:v>1.8093960874470483</c:v>
                </c:pt>
                <c:pt idx="177" formatCode="0.0">
                  <c:v>1.8391979053579413</c:v>
                </c:pt>
                <c:pt idx="178" formatCode="0.0">
                  <c:v>1.9882069949124044</c:v>
                </c:pt>
                <c:pt idx="179" formatCode="0.0">
                  <c:v>1.8221682951231453</c:v>
                </c:pt>
                <c:pt idx="180" formatCode="0.0">
                  <c:v>1.679545309406731</c:v>
                </c:pt>
                <c:pt idx="181" formatCode="0.0">
                  <c:v>1.5007344019413755</c:v>
                </c:pt>
                <c:pt idx="182" formatCode="0.0">
                  <c:v>1.5092492070587729</c:v>
                </c:pt>
                <c:pt idx="183" formatCode="0.0">
                  <c:v>1.5284075185729187</c:v>
                </c:pt>
                <c:pt idx="184" formatCode="0.0">
                  <c:v>1.3602401175043106</c:v>
                </c:pt>
                <c:pt idx="185" formatCode="0.0">
                  <c:v>1.249547650978138</c:v>
                </c:pt>
                <c:pt idx="186" formatCode="0.0">
                  <c:v>1.2091023266704981</c:v>
                </c:pt>
                <c:pt idx="187" formatCode="0.0">
                  <c:v>1.2048449241118</c:v>
                </c:pt>
                <c:pt idx="188" formatCode="0.0">
                  <c:v>1.251676352257487</c:v>
                </c:pt>
                <c:pt idx="189" formatCode="0.0">
                  <c:v>1.249547650978138</c:v>
                </c:pt>
                <c:pt idx="190" formatCode="0.0">
                  <c:v>1.3261808970347191</c:v>
                </c:pt>
                <c:pt idx="191" formatCode="0.0">
                  <c:v>1.379398429018456</c:v>
                </c:pt>
                <c:pt idx="192" formatCode="0.0">
                  <c:v>1.4304872597228433</c:v>
                </c:pt>
                <c:pt idx="193" formatCode="0.0">
                  <c:v>1.5135066096174719</c:v>
                </c:pt>
                <c:pt idx="194" formatCode="0.0">
                  <c:v>1.5943972582327519</c:v>
                </c:pt>
                <c:pt idx="195" formatCode="0.0">
                  <c:v>1.5943972582327519</c:v>
                </c:pt>
                <c:pt idx="196" formatCode="0.0">
                  <c:v>1.7157332311556712</c:v>
                </c:pt>
                <c:pt idx="197" formatCode="0.0">
                  <c:v>1.6114268684675479</c:v>
                </c:pt>
                <c:pt idx="198" formatCode="0.0">
                  <c:v>1.6859314132447794</c:v>
                </c:pt>
                <c:pt idx="199" formatCode="0.0">
                  <c:v>1.6731592055686824</c:v>
                </c:pt>
                <c:pt idx="200" formatCode="0.0">
                  <c:v>1.5794963492773058</c:v>
                </c:pt>
                <c:pt idx="201" formatCode="0.0">
                  <c:v>1.5496945313664134</c:v>
                </c:pt>
                <c:pt idx="202" formatCode="0.0">
                  <c:v>1.6390999850990911</c:v>
                </c:pt>
                <c:pt idx="203" formatCode="0.0">
                  <c:v>1.6114268684675479</c:v>
                </c:pt>
                <c:pt idx="204" formatCode="0.0">
                  <c:v>1.6689018030099836</c:v>
                </c:pt>
                <c:pt idx="205" formatCode="0.0">
                  <c:v>1.68380271196543</c:v>
                </c:pt>
                <c:pt idx="206" formatCode="0.0">
                  <c:v>1.856227515592737</c:v>
                </c:pt>
                <c:pt idx="207" formatCode="0.0">
                  <c:v>1.9520190731634632</c:v>
                </c:pt>
                <c:pt idx="208" formatCode="0.0">
                  <c:v>2.045681929454839</c:v>
                </c:pt>
                <c:pt idx="209" formatCode="0.0">
                  <c:v>2.1052855652766245</c:v>
                </c:pt>
                <c:pt idx="210" formatCode="0.0">
                  <c:v>1.9477616706047638</c:v>
                </c:pt>
                <c:pt idx="211" formatCode="0.0">
                  <c:v>2.045681929454839</c:v>
                </c:pt>
                <c:pt idx="212" formatCode="0.0">
                  <c:v>2.0861272537624802</c:v>
                </c:pt>
                <c:pt idx="213" formatCode="0.0">
                  <c:v>1.9733060859569578</c:v>
                </c:pt>
                <c:pt idx="214" formatCode="0.0">
                  <c:v>2.1138003703940229</c:v>
                </c:pt>
                <c:pt idx="215" formatCode="0.0">
                  <c:v>2.1585030972603616</c:v>
                </c:pt>
                <c:pt idx="216" formatCode="0.0">
                  <c:v>2.1989484215680002</c:v>
                </c:pt>
                <c:pt idx="217" formatCode="0.0">
                  <c:v>2.2521659535517378</c:v>
                </c:pt>
                <c:pt idx="218" formatCode="0.0">
                  <c:v>2.2436511484343407</c:v>
                </c:pt>
                <c:pt idx="219" formatCode="0.0">
                  <c:v>2.2010771228473516</c:v>
                </c:pt>
                <c:pt idx="220" formatCode="0.0">
                  <c:v>2.2287502394788943</c:v>
                </c:pt>
                <c:pt idx="221" formatCode="0.0">
                  <c:v>2.4160759520616466</c:v>
                </c:pt>
                <c:pt idx="222" formatCode="0.0">
                  <c:v>2.4245907571790459</c:v>
                </c:pt>
                <c:pt idx="223" formatCode="0.0">
                  <c:v>2.3947889392681523</c:v>
                </c:pt>
                <c:pt idx="224" formatCode="0.0">
                  <c:v>2.5480554313813144</c:v>
                </c:pt>
                <c:pt idx="225" formatCode="0.0">
                  <c:v>2.8673606232837341</c:v>
                </c:pt>
                <c:pt idx="226" formatCode="0.0">
                  <c:v>3.3271600996232196</c:v>
                </c:pt>
                <c:pt idx="227" formatCode="0.0">
                  <c:v>3.5698320454690595</c:v>
                </c:pt>
                <c:pt idx="228" formatCode="0.0">
                  <c:v>3.7188411350235215</c:v>
                </c:pt>
                <c:pt idx="229" formatCode="0.0">
                  <c:v>4.2148285331119473</c:v>
                </c:pt>
                <c:pt idx="230" formatCode="0.0">
                  <c:v>4.3851246354599045</c:v>
                </c:pt>
                <c:pt idx="231" formatCode="0.0">
                  <c:v>4.7917065798156546</c:v>
                </c:pt>
                <c:pt idx="232" formatCode="0.0">
                  <c:v>5.2876939779040812</c:v>
                </c:pt>
                <c:pt idx="233" formatCode="0.0">
                  <c:v>5.5835834557336579</c:v>
                </c:pt>
                <c:pt idx="234" formatCode="0.0">
                  <c:v>6.151946697319965</c:v>
                </c:pt>
                <c:pt idx="235" formatCode="0.0">
                  <c:v>6.6138748749387979</c:v>
                </c:pt>
                <c:pt idx="236" formatCode="0.0">
                  <c:v>6.4606083828256393</c:v>
                </c:pt>
                <c:pt idx="237" formatCode="0.0">
                  <c:v>6.6926368222747294</c:v>
                </c:pt>
                <c:pt idx="238" formatCode="0.0">
                  <c:v>7.4504544777231416</c:v>
                </c:pt>
                <c:pt idx="239" formatCode="0.0">
                  <c:v>7.603720969836302</c:v>
                </c:pt>
                <c:pt idx="240" formatCode="0.0">
                  <c:v>8.1337675883943188</c:v>
                </c:pt>
                <c:pt idx="241" formatCode="0.0">
                  <c:v>8.453072780296738</c:v>
                </c:pt>
                <c:pt idx="242" formatCode="0.0">
                  <c:v>8.5893096621751059</c:v>
                </c:pt>
                <c:pt idx="243" formatCode="0.0">
                  <c:v>9.1853460203929576</c:v>
                </c:pt>
                <c:pt idx="244" formatCode="0.0">
                  <c:v>10.07088575260234</c:v>
                </c:pt>
                <c:pt idx="245" formatCode="0.0">
                  <c:v>11.033058730868296</c:v>
                </c:pt>
                <c:pt idx="246" formatCode="0.0">
                  <c:v>11.714243140260123</c:v>
                </c:pt>
                <c:pt idx="247" formatCode="0.0">
                  <c:v>12.531664431530324</c:v>
                </c:pt>
                <c:pt idx="248" formatCode="0.0">
                  <c:v>13.346957021521169</c:v>
                </c:pt>
                <c:pt idx="249" formatCode="0.0">
                  <c:v>14.485812205973136</c:v>
                </c:pt>
                <c:pt idx="250" formatCode="0.0">
                  <c:v>14.851948826021246</c:v>
                </c:pt>
                <c:pt idx="251" formatCode="0.0">
                  <c:v>14.764672073567921</c:v>
                </c:pt>
                <c:pt idx="252" formatCode="0.0">
                  <c:v>15.18189752432041</c:v>
                </c:pt>
                <c:pt idx="253" formatCode="0.0">
                  <c:v>16.801839197905359</c:v>
                </c:pt>
                <c:pt idx="254" formatCode="0.0">
                  <c:v>16.757136471039015</c:v>
                </c:pt>
                <c:pt idx="255" formatCode="0.0">
                  <c:v>18.085446069353083</c:v>
                </c:pt>
                <c:pt idx="256" formatCode="0.0">
                  <c:v>18.434553079166395</c:v>
                </c:pt>
                <c:pt idx="257" formatCode="0.0">
                  <c:v>19.288162292185529</c:v>
                </c:pt>
                <c:pt idx="258" formatCode="0.0">
                  <c:v>20.637758903293104</c:v>
                </c:pt>
                <c:pt idx="259" formatCode="0.0">
                  <c:v>20.733550460863828</c:v>
                </c:pt>
                <c:pt idx="260" formatCode="0.0">
                  <c:v>19.8203376120229</c:v>
                </c:pt>
                <c:pt idx="261" formatCode="0.0">
                  <c:v>20.11196968729379</c:v>
                </c:pt>
                <c:pt idx="262" formatCode="0.0">
                  <c:v>19.662813717351042</c:v>
                </c:pt>
                <c:pt idx="263" formatCode="0.0">
                  <c:v>19.807565404346811</c:v>
                </c:pt>
                <c:pt idx="264" formatCode="0.0">
                  <c:v>19.469101900930237</c:v>
                </c:pt>
                <c:pt idx="265" formatCode="0.0">
                  <c:v>19.262617876833332</c:v>
                </c:pt>
                <c:pt idx="266" formatCode="0.0">
                  <c:v>18.811333205611252</c:v>
                </c:pt>
                <c:pt idx="267" formatCode="0.0">
                  <c:v>19.373310343359517</c:v>
                </c:pt>
                <c:pt idx="268" formatCode="0.0">
                  <c:v>20.354641633139614</c:v>
                </c:pt>
                <c:pt idx="269" formatCode="0.0">
                  <c:v>21.189092534644612</c:v>
                </c:pt>
                <c:pt idx="270" formatCode="0.0">
                  <c:v>21.261468378142496</c:v>
                </c:pt>
                <c:pt idx="271" formatCode="0.0">
                  <c:v>21.823445515890757</c:v>
                </c:pt>
                <c:pt idx="272" formatCode="0.0">
                  <c:v>21.889435255550588</c:v>
                </c:pt>
                <c:pt idx="273" formatCode="0.0">
                  <c:v>21.640377205866702</c:v>
                </c:pt>
                <c:pt idx="274" formatCode="0.0">
                  <c:v>21.74894097111352</c:v>
                </c:pt>
                <c:pt idx="275" formatCode="0.0">
                  <c:v>22.745173169849075</c:v>
                </c:pt>
                <c:pt idx="276" formatCode="0.0">
                  <c:v>23.009132128488414</c:v>
                </c:pt>
                <c:pt idx="277" formatCode="0.0">
                  <c:v>23.924473678608681</c:v>
                </c:pt>
                <c:pt idx="278" formatCode="0.0">
                  <c:v>25.02501224003235</c:v>
                </c:pt>
                <c:pt idx="279" formatCode="0.0">
                  <c:v>24.458777699725392</c:v>
                </c:pt>
                <c:pt idx="280" formatCode="0.0">
                  <c:v>26.419311578006262</c:v>
                </c:pt>
                <c:pt idx="281" formatCode="0.0">
                  <c:v>26.476786512548692</c:v>
                </c:pt>
                <c:pt idx="282" formatCode="0.0">
                  <c:v>25.350703535772823</c:v>
                </c:pt>
                <c:pt idx="283" formatCode="0.0">
                  <c:v>23.507248227856191</c:v>
                </c:pt>
                <c:pt idx="284" formatCode="0.0">
                  <c:v>22.355620835728118</c:v>
                </c:pt>
                <c:pt idx="285" formatCode="0.0">
                  <c:v>21.193349937203308</c:v>
                </c:pt>
                <c:pt idx="286" formatCode="0.0">
                  <c:v>21.834089022287507</c:v>
                </c:pt>
                <c:pt idx="287" formatCode="0.0">
                  <c:v>20.690976435276838</c:v>
                </c:pt>
                <c:pt idx="288" formatCode="0.0">
                  <c:v>19.939544883666471</c:v>
                </c:pt>
                <c:pt idx="289" formatCode="0.0">
                  <c:v>19.292419694744229</c:v>
                </c:pt>
                <c:pt idx="290" formatCode="0.0">
                  <c:v>19.475488004768284</c:v>
                </c:pt>
                <c:pt idx="291" formatCode="0.0">
                  <c:v>18.687868531408991</c:v>
                </c:pt>
                <c:pt idx="292" formatCode="0.0">
                  <c:v>17.806586201758304</c:v>
                </c:pt>
                <c:pt idx="293" formatCode="0.0">
                  <c:v>15.905655959299233</c:v>
                </c:pt>
                <c:pt idx="294" formatCode="0.0">
                  <c:v>14.696553632628735</c:v>
                </c:pt>
                <c:pt idx="295" formatCode="0.0">
                  <c:v>14.711454541584178</c:v>
                </c:pt>
                <c:pt idx="296" formatCode="0.0">
                  <c:v>14.647593503203694</c:v>
                </c:pt>
                <c:pt idx="297" formatCode="0.0">
                  <c:v>14.685910126231985</c:v>
                </c:pt>
                <c:pt idx="298" formatCode="0.0">
                  <c:v>14.749771164612465</c:v>
                </c:pt>
                <c:pt idx="299" formatCode="0.0">
                  <c:v>14.353832726653469</c:v>
                </c:pt>
                <c:pt idx="300" formatCode="0.0">
                  <c:v>14.766800774847267</c:v>
                </c:pt>
                <c:pt idx="301" formatCode="0.0">
                  <c:v>14.396406752240464</c:v>
                </c:pt>
                <c:pt idx="302" formatCode="0.0">
                  <c:v>14.002597015560807</c:v>
                </c:pt>
                <c:pt idx="303" formatCode="0.0">
                  <c:v>14.106903378248933</c:v>
                </c:pt>
                <c:pt idx="304" formatCode="0.0">
                  <c:v>14.057943248823896</c:v>
                </c:pt>
                <c:pt idx="305" formatCode="0.0">
                  <c:v>14.466653894458993</c:v>
                </c:pt>
                <c:pt idx="306" formatCode="0.0">
                  <c:v>15.10739297954318</c:v>
                </c:pt>
                <c:pt idx="307" formatCode="0.0">
                  <c:v>15.658726610894695</c:v>
                </c:pt>
                <c:pt idx="308" formatCode="0.0">
                  <c:v>16.293079592140828</c:v>
                </c:pt>
                <c:pt idx="309" formatCode="0.0">
                  <c:v>16.290950890861485</c:v>
                </c:pt>
                <c:pt idx="310" formatCode="0.0">
                  <c:v>15.533133235413075</c:v>
                </c:pt>
                <c:pt idx="311" formatCode="0.0">
                  <c:v>14.585861166102561</c:v>
                </c:pt>
                <c:pt idx="312" formatCode="0.0">
                  <c:v>13.687549226217088</c:v>
                </c:pt>
                <c:pt idx="313" formatCode="0.0">
                  <c:v>12.946761181003467</c:v>
                </c:pt>
                <c:pt idx="314" formatCode="0.0">
                  <c:v>12.003746514251658</c:v>
                </c:pt>
                <c:pt idx="315" formatCode="0.0">
                  <c:v>10.73929795431807</c:v>
                </c:pt>
                <c:pt idx="316" formatCode="0.0">
                  <c:v>9.9303914681652703</c:v>
                </c:pt>
                <c:pt idx="317" formatCode="0.0">
                  <c:v>9.1108414756157252</c:v>
                </c:pt>
                <c:pt idx="318" formatCode="0.0">
                  <c:v>8.9022287502394768</c:v>
                </c:pt>
                <c:pt idx="319" formatCode="0.0">
                  <c:v>8.389211741916256</c:v>
                </c:pt>
                <c:pt idx="320" formatCode="0.0">
                  <c:v>7.7293143453179214</c:v>
                </c:pt>
                <c:pt idx="321" formatCode="0.0">
                  <c:v>7.1417927922174691</c:v>
                </c:pt>
                <c:pt idx="322" formatCode="0.0">
                  <c:v>6.9842688975456095</c:v>
                </c:pt>
                <c:pt idx="323" formatCode="0.0">
                  <c:v>5.9624922834578644</c:v>
                </c:pt>
                <c:pt idx="324" formatCode="0.0">
                  <c:v>5.1855163164953053</c:v>
                </c:pt>
                <c:pt idx="325" formatCode="0.0">
                  <c:v>4.3702237265044612</c:v>
                </c:pt>
                <c:pt idx="326" formatCode="0.0">
                  <c:v>3.7720586670072587</c:v>
                </c:pt>
                <c:pt idx="327" formatCode="0.0">
                  <c:v>3.3952785405624035</c:v>
                </c:pt>
                <c:pt idx="328" formatCode="0.0">
                  <c:v>3.3888924367243547</c:v>
                </c:pt>
                <c:pt idx="329" formatCode="0.0">
                  <c:v>2.8716180258424338</c:v>
                </c:pt>
                <c:pt idx="330" formatCode="0.0">
                  <c:v>2.7034506247738248</c:v>
                </c:pt>
                <c:pt idx="331" formatCode="0.0">
                  <c:v>2.4267194584583951</c:v>
                </c:pt>
                <c:pt idx="332" formatCode="0.0">
                  <c:v>2.0584541371309362</c:v>
                </c:pt>
                <c:pt idx="333" formatCode="0.0">
                  <c:v>1.8221682951231453</c:v>
                </c:pt>
                <c:pt idx="334" formatCode="0.0">
                  <c:v>1.696574919641527</c:v>
                </c:pt>
                <c:pt idx="335" formatCode="0.0">
                  <c:v>1.5496945313664134</c:v>
                </c:pt>
                <c:pt idx="336" formatCode="0.0">
                  <c:v>1.5156353108968219</c:v>
                </c:pt>
                <c:pt idx="337" formatCode="0.0">
                  <c:v>1.5135066096174719</c:v>
                </c:pt>
                <c:pt idx="338" formatCode="0.0">
                  <c:v>1.4453881686782895</c:v>
                </c:pt>
                <c:pt idx="339" formatCode="0.0">
                  <c:v>1.3708836239010582</c:v>
                </c:pt>
                <c:pt idx="340" formatCode="0.0">
                  <c:v>1.2048449241118</c:v>
                </c:pt>
                <c:pt idx="341" formatCode="0.0">
                  <c:v>1.1494986908487133</c:v>
                </c:pt>
                <c:pt idx="342" formatCode="0.0">
                  <c:v>1.0877663537475784</c:v>
                </c:pt>
                <c:pt idx="343" formatCode="0.0">
                  <c:v>1.1047959639823743</c:v>
                </c:pt>
                <c:pt idx="344" formatCode="0.0">
                  <c:v>0.94940077058986305</c:v>
                </c:pt>
                <c:pt idx="345" formatCode="0.0">
                  <c:v>0.85786661557783594</c:v>
                </c:pt>
                <c:pt idx="346" formatCode="0.0">
                  <c:v>0.7961342784767016</c:v>
                </c:pt>
                <c:pt idx="347" formatCode="0.0">
                  <c:v>0.76420375928645945</c:v>
                </c:pt>
                <c:pt idx="348" formatCode="0.0">
                  <c:v>0.74078804521361541</c:v>
                </c:pt>
                <c:pt idx="349" formatCode="0.0">
                  <c:v>0.74291674649296457</c:v>
                </c:pt>
                <c:pt idx="350" formatCode="0.0">
                  <c:v>0.66415479915703413</c:v>
                </c:pt>
                <c:pt idx="351" formatCode="0.0">
                  <c:v>0.60880856589394816</c:v>
                </c:pt>
                <c:pt idx="352" formatCode="0.0">
                  <c:v>0.56623454030695852</c:v>
                </c:pt>
                <c:pt idx="353" formatCode="0.0">
                  <c:v>0.52366051471996933</c:v>
                </c:pt>
                <c:pt idx="354" formatCode="0.0">
                  <c:v>0.51727441088192083</c:v>
                </c:pt>
                <c:pt idx="355" formatCode="0.0">
                  <c:v>0.45341337250143693</c:v>
                </c:pt>
                <c:pt idx="356" formatCode="0.0">
                  <c:v>0.43212635970794233</c:v>
                </c:pt>
                <c:pt idx="357" formatCode="0.0">
                  <c:v>0.48108648913298008</c:v>
                </c:pt>
                <c:pt idx="358" formatCode="0.0">
                  <c:v>0.4448985673840391</c:v>
                </c:pt>
                <c:pt idx="359" formatCode="0.0">
                  <c:v>0.44064116482534005</c:v>
                </c:pt>
                <c:pt idx="360" formatCode="0.0">
                  <c:v>0.44702726866338843</c:v>
                </c:pt>
                <c:pt idx="361" formatCode="0.0">
                  <c:v>0.45979947633948531</c:v>
                </c:pt>
                <c:pt idx="362" formatCode="0.0">
                  <c:v>0.46831428145688325</c:v>
                </c:pt>
                <c:pt idx="363" formatCode="0.0">
                  <c:v>0.46831428145688325</c:v>
                </c:pt>
                <c:pt idx="364" formatCode="0.0">
                  <c:v>0.41722545075249595</c:v>
                </c:pt>
                <c:pt idx="365" formatCode="0.0">
                  <c:v>0.40871064563509801</c:v>
                </c:pt>
                <c:pt idx="366" formatCode="0.0">
                  <c:v>0.3725227238861572</c:v>
                </c:pt>
                <c:pt idx="367" formatCode="0.0">
                  <c:v>0.34272090597526456</c:v>
                </c:pt>
                <c:pt idx="368" formatCode="0.0">
                  <c:v>0.46405687889818426</c:v>
                </c:pt>
                <c:pt idx="369" formatCode="0.0">
                  <c:v>0.46405687889818426</c:v>
                </c:pt>
                <c:pt idx="370" formatCode="0.0">
                  <c:v>0.45341337250143676</c:v>
                </c:pt>
                <c:pt idx="371" formatCode="0.0">
                  <c:v>0.63435298124614159</c:v>
                </c:pt>
                <c:pt idx="372" formatCode="0.0">
                  <c:v>0.81103518743214753</c:v>
                </c:pt>
                <c:pt idx="373" formatCode="0.0">
                  <c:v>0.98345999105945459</c:v>
                </c:pt>
                <c:pt idx="374" formatCode="0.0">
                  <c:v>1.1643995998041596</c:v>
                </c:pt>
                <c:pt idx="375" formatCode="0.0">
                  <c:v>1.1771718074802564</c:v>
                </c:pt>
                <c:pt idx="376" formatCode="0.0">
                  <c:v>1.1771718074802564</c:v>
                </c:pt>
                <c:pt idx="377" formatCode="0.0">
                  <c:v>1.175043106200907</c:v>
                </c:pt>
                <c:pt idx="378" formatCode="0.0">
                  <c:v>0.97494518594205681</c:v>
                </c:pt>
                <c:pt idx="379" formatCode="0.0">
                  <c:v>0.96004427698661055</c:v>
                </c:pt>
                <c:pt idx="380" formatCode="0.0">
                  <c:v>0.96855908210400843</c:v>
                </c:pt>
                <c:pt idx="381" formatCode="0.0">
                  <c:v>0.97281648466270731</c:v>
                </c:pt>
                <c:pt idx="382" formatCode="0.0">
                  <c:v>0.9834599910594547</c:v>
                </c:pt>
                <c:pt idx="383" formatCode="0.0">
                  <c:v>0.9855886923388042</c:v>
                </c:pt>
                <c:pt idx="384" formatCode="0.0">
                  <c:v>0.99623219873555147</c:v>
                </c:pt>
                <c:pt idx="385" formatCode="0.0">
                  <c:v>1.0388062243225407</c:v>
                </c:pt>
                <c:pt idx="386" formatCode="0.0">
                  <c:v>0.8919258360474277</c:v>
                </c:pt>
                <c:pt idx="387" formatCode="0.0">
                  <c:v>0.74291674649296457</c:v>
                </c:pt>
                <c:pt idx="388" formatCode="0.0">
                  <c:v>0.56836324158630813</c:v>
                </c:pt>
                <c:pt idx="389" formatCode="0.0">
                  <c:v>0.34910700981331289</c:v>
                </c:pt>
                <c:pt idx="390" formatCode="0.0">
                  <c:v>0.30866168550567302</c:v>
                </c:pt>
                <c:pt idx="391" formatCode="0.0">
                  <c:v>0.27885986759478043</c:v>
                </c:pt>
                <c:pt idx="392" formatCode="0.0">
                  <c:v>0.26395895863933411</c:v>
                </c:pt>
                <c:pt idx="393" formatCode="0.0">
                  <c:v>0.25118675096323734</c:v>
                </c:pt>
                <c:pt idx="394" formatCode="0.0">
                  <c:v>0.23841454328714054</c:v>
                </c:pt>
                <c:pt idx="395" formatCode="0.0">
                  <c:v>0.26608765991868366</c:v>
                </c:pt>
                <c:pt idx="396" formatCode="0.0">
                  <c:v>0.31930519190242046</c:v>
                </c:pt>
                <c:pt idx="397" formatCode="0.0">
                  <c:v>0.37039402260680765</c:v>
                </c:pt>
                <c:pt idx="398" formatCode="0.0">
                  <c:v>0.41935415203184534</c:v>
                </c:pt>
                <c:pt idx="399" formatCode="0.0">
                  <c:v>0.40871064563509801</c:v>
                </c:pt>
                <c:pt idx="400" formatCode="0.0">
                  <c:v>0.4150967494731464</c:v>
                </c:pt>
                <c:pt idx="401" formatCode="0.0">
                  <c:v>0.3980671392383508</c:v>
                </c:pt>
                <c:pt idx="402" formatCode="0.0">
                  <c:v>0.39380973667965191</c:v>
                </c:pt>
                <c:pt idx="403" formatCode="0.0">
                  <c:v>0.4023245417970498</c:v>
                </c:pt>
                <c:pt idx="404" formatCode="0.0">
                  <c:v>0.38742363284160342</c:v>
                </c:pt>
                <c:pt idx="405" formatCode="0.0">
                  <c:v>0.3661366200481086</c:v>
                </c:pt>
                <c:pt idx="406" formatCode="0.0">
                  <c:v>0.36400791876875926</c:v>
                </c:pt>
                <c:pt idx="407" formatCode="0.0">
                  <c:v>0.35336441237201194</c:v>
                </c:pt>
                <c:pt idx="408" formatCode="0.0">
                  <c:v>0.36187921748940982</c:v>
                </c:pt>
                <c:pt idx="409" formatCode="0.0">
                  <c:v>0.33420610085786673</c:v>
                </c:pt>
                <c:pt idx="410" formatCode="0.0">
                  <c:v>0.28737467271217837</c:v>
                </c:pt>
                <c:pt idx="411" formatCode="0.0">
                  <c:v>0.27460246503608154</c:v>
                </c:pt>
                <c:pt idx="412" formatCode="0.0">
                  <c:v>0.25331545224258678</c:v>
                </c:pt>
                <c:pt idx="413" formatCode="0.0">
                  <c:v>0.25970155608063517</c:v>
                </c:pt>
                <c:pt idx="414" formatCode="0.0">
                  <c:v>0.27034506247738255</c:v>
                </c:pt>
                <c:pt idx="415" formatCode="0.0">
                  <c:v>0.25118675096323739</c:v>
                </c:pt>
                <c:pt idx="416" formatCode="0.0">
                  <c:v>0.25118675096323734</c:v>
                </c:pt>
                <c:pt idx="417" formatCode="0.0">
                  <c:v>0.26821636119803316</c:v>
                </c:pt>
                <c:pt idx="418" formatCode="0.0">
                  <c:v>0.27673116631543093</c:v>
                </c:pt>
                <c:pt idx="419" formatCode="0.0">
                  <c:v>0.30014688038827514</c:v>
                </c:pt>
                <c:pt idx="420" formatCode="0.0">
                  <c:v>0.30440428294697414</c:v>
                </c:pt>
                <c:pt idx="421" formatCode="0.0">
                  <c:v>0.30440428294697414</c:v>
                </c:pt>
                <c:pt idx="422" formatCode="0.0">
                  <c:v>0.31079038678502247</c:v>
                </c:pt>
                <c:pt idx="423" formatCode="0.0">
                  <c:v>0.33633480213721617</c:v>
                </c:pt>
                <c:pt idx="424" formatCode="0.0">
                  <c:v>0.32781999701981834</c:v>
                </c:pt>
                <c:pt idx="425" formatCode="0.0">
                  <c:v>0.37465142516550659</c:v>
                </c:pt>
                <c:pt idx="426" formatCode="0.0">
                  <c:v>0.39380973667965191</c:v>
                </c:pt>
                <c:pt idx="427" formatCode="0.0">
                  <c:v>0.4023245417970498</c:v>
                </c:pt>
                <c:pt idx="428" formatCode="0.0">
                  <c:v>0.45341337250143693</c:v>
                </c:pt>
                <c:pt idx="429" formatCode="0.0">
                  <c:v>0.54069012495476509</c:v>
                </c:pt>
                <c:pt idx="430" formatCode="0.0">
                  <c:v>0.57262064414500724</c:v>
                </c:pt>
                <c:pt idx="431" formatCode="0.0">
                  <c:v>0.65351129276028708</c:v>
                </c:pt>
                <c:pt idx="432" formatCode="0.0">
                  <c:v>0.65351129276028708</c:v>
                </c:pt>
                <c:pt idx="433" formatCode="0.0">
                  <c:v>0.64499648764288942</c:v>
                </c:pt>
                <c:pt idx="434" formatCode="0.0">
                  <c:v>0.72588713625816914</c:v>
                </c:pt>
                <c:pt idx="435" formatCode="0.0">
                  <c:v>0.8748962258126316</c:v>
                </c:pt>
                <c:pt idx="436" formatCode="0.0">
                  <c:v>0.87702492709198132</c:v>
                </c:pt>
                <c:pt idx="437" formatCode="0.0">
                  <c:v>0.93024245907571779</c:v>
                </c:pt>
                <c:pt idx="438" formatCode="0.0">
                  <c:v>1.0260340166464439</c:v>
                </c:pt>
                <c:pt idx="439" formatCode="0.0">
                  <c:v>1.0664793409540838</c:v>
                </c:pt>
                <c:pt idx="440" formatCode="0.0">
                  <c:v>1.0920237563062778</c:v>
                </c:pt>
                <c:pt idx="441" formatCode="0.0">
                  <c:v>1.1282116780552185</c:v>
                </c:pt>
                <c:pt idx="442" formatCode="0.0">
                  <c:v>1.1388551844519663</c:v>
                </c:pt>
                <c:pt idx="443" formatCode="0.0">
                  <c:v>1.277220767609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A96-4795-8581-791AAA8989B0}"/>
            </c:ext>
          </c:extLst>
        </c:ser>
        <c:ser>
          <c:idx val="3"/>
          <c:order val="6"/>
          <c:tx>
            <c:v>Western Cape</c:v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layout>
                <c:manualLayout>
                  <c:x val="-7.1715732960244083E-2"/>
                  <c:y val="-0.3768894227864478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I$5:$CI$451</c:f>
              <c:numCache>
                <c:formatCode>General</c:formatCode>
                <c:ptCount val="447"/>
                <c:pt idx="3" formatCode="0.0">
                  <c:v>6.2620021708274191E-3</c:v>
                </c:pt>
                <c:pt idx="4" formatCode="0.0">
                  <c:v>1.8786006512482259E-2</c:v>
                </c:pt>
                <c:pt idx="5" formatCode="0.0">
                  <c:v>2.9222676797194622E-2</c:v>
                </c:pt>
                <c:pt idx="6" formatCode="0.0">
                  <c:v>3.3397344911079575E-2</c:v>
                </c:pt>
                <c:pt idx="7" formatCode="0.0">
                  <c:v>4.3834015195791935E-2</c:v>
                </c:pt>
                <c:pt idx="8" formatCode="0.0">
                  <c:v>6.2620021708274201E-2</c:v>
                </c:pt>
                <c:pt idx="9" formatCode="0.0">
                  <c:v>9.3930032562411309E-2</c:v>
                </c:pt>
                <c:pt idx="10" formatCode="0.0">
                  <c:v>0.11271603907489355</c:v>
                </c:pt>
                <c:pt idx="11" formatCode="0.0">
                  <c:v>0.13776404775820325</c:v>
                </c:pt>
                <c:pt idx="12" formatCode="0.0">
                  <c:v>0.1565500542706855</c:v>
                </c:pt>
                <c:pt idx="13" formatCode="0.0">
                  <c:v>0.17533606078316774</c:v>
                </c:pt>
                <c:pt idx="14" formatCode="0.0">
                  <c:v>0.19203473323870751</c:v>
                </c:pt>
                <c:pt idx="15" formatCode="0.0">
                  <c:v>0.31727477665525605</c:v>
                </c:pt>
                <c:pt idx="16" formatCode="0.0">
                  <c:v>0.38198213242047263</c:v>
                </c:pt>
                <c:pt idx="17" formatCode="0.0">
                  <c:v>0.40285547298989738</c:v>
                </c:pt>
                <c:pt idx="18" formatCode="0.0">
                  <c:v>0.40911747516072478</c:v>
                </c:pt>
                <c:pt idx="19" formatCode="0.0">
                  <c:v>0.46130082658428656</c:v>
                </c:pt>
                <c:pt idx="20" formatCode="0.0">
                  <c:v>0.46756282875511396</c:v>
                </c:pt>
                <c:pt idx="21" formatCode="0.0">
                  <c:v>0.44251482007180432</c:v>
                </c:pt>
                <c:pt idx="22" formatCode="0.0">
                  <c:v>0.29848877014277386</c:v>
                </c:pt>
                <c:pt idx="23" formatCode="0.0">
                  <c:v>0.25882942306086676</c:v>
                </c:pt>
                <c:pt idx="24" formatCode="0.0">
                  <c:v>0.25882942306086681</c:v>
                </c:pt>
                <c:pt idx="25" formatCode="0.0">
                  <c:v>0.3381481172246808</c:v>
                </c:pt>
                <c:pt idx="26" formatCode="0.0">
                  <c:v>0.3005761041997162</c:v>
                </c:pt>
                <c:pt idx="27" formatCode="0.0">
                  <c:v>0.28805209985806141</c:v>
                </c:pt>
                <c:pt idx="28" formatCode="0.0">
                  <c:v>0.31936211071219844</c:v>
                </c:pt>
                <c:pt idx="29" formatCode="0.0">
                  <c:v>0.35275945562327793</c:v>
                </c:pt>
                <c:pt idx="30" formatCode="0.0">
                  <c:v>0.3381481172246808</c:v>
                </c:pt>
                <c:pt idx="31" formatCode="0.0">
                  <c:v>0.34858478750939315</c:v>
                </c:pt>
                <c:pt idx="32" formatCode="0.0">
                  <c:v>0.23586874843449948</c:v>
                </c:pt>
                <c:pt idx="33" formatCode="0.0">
                  <c:v>0.27761542957334895</c:v>
                </c:pt>
                <c:pt idx="34" formatCode="0.0">
                  <c:v>0.32353677882608339</c:v>
                </c:pt>
                <c:pt idx="35" formatCode="0.0">
                  <c:v>0.3444101193955082</c:v>
                </c:pt>
                <c:pt idx="36" formatCode="0.0">
                  <c:v>0.33814811722468086</c:v>
                </c:pt>
                <c:pt idx="37" formatCode="0.0">
                  <c:v>0.33397344911079574</c:v>
                </c:pt>
                <c:pt idx="38" formatCode="0.0">
                  <c:v>0.36737079402187534</c:v>
                </c:pt>
                <c:pt idx="39" formatCode="0.0">
                  <c:v>0.60532687651331729</c:v>
                </c:pt>
                <c:pt idx="40" formatCode="0.0">
                  <c:v>0.58654087000083499</c:v>
                </c:pt>
                <c:pt idx="41" formatCode="0.0">
                  <c:v>0.67420890039241888</c:v>
                </c:pt>
                <c:pt idx="42" formatCode="0.0">
                  <c:v>0.76605159889788765</c:v>
                </c:pt>
                <c:pt idx="43" formatCode="0.0">
                  <c:v>0.88085497202972363</c:v>
                </c:pt>
                <c:pt idx="44" formatCode="0.0">
                  <c:v>1.260749770393254</c:v>
                </c:pt>
                <c:pt idx="45" formatCode="0.0">
                  <c:v>1.4527845036319615</c:v>
                </c:pt>
                <c:pt idx="46" formatCode="0.0">
                  <c:v>1.4152124906069965</c:v>
                </c:pt>
                <c:pt idx="47" formatCode="0.0">
                  <c:v>1.5446272021374297</c:v>
                </c:pt>
                <c:pt idx="48" formatCode="0.0">
                  <c:v>1.663605243383151</c:v>
                </c:pt>
                <c:pt idx="49" formatCode="0.0">
                  <c:v>1.7951072889705271</c:v>
                </c:pt>
                <c:pt idx="50" formatCode="0.0">
                  <c:v>2.204224764131252</c:v>
                </c:pt>
                <c:pt idx="51" formatCode="0.0">
                  <c:v>2.2188361025298486</c:v>
                </c:pt>
                <c:pt idx="52" formatCode="0.0">
                  <c:v>2.2835434582950658</c:v>
                </c:pt>
                <c:pt idx="53" formatCode="0.0">
                  <c:v>2.4755781915337729</c:v>
                </c:pt>
                <c:pt idx="54" formatCode="0.0">
                  <c:v>2.9974117057693919</c:v>
                </c:pt>
                <c:pt idx="55" formatCode="0.0">
                  <c:v>3.3919178425315191</c:v>
                </c:pt>
                <c:pt idx="56" formatCode="0.0">
                  <c:v>3.6298739250229604</c:v>
                </c:pt>
                <c:pt idx="57" formatCode="0.0">
                  <c:v>3.3919178425315191</c:v>
                </c:pt>
                <c:pt idx="58" formatCode="0.0">
                  <c:v>3.4482758620689657</c:v>
                </c:pt>
                <c:pt idx="59" formatCode="0.0">
                  <c:v>4.1537947733155205</c:v>
                </c:pt>
                <c:pt idx="60" formatCode="0.0">
                  <c:v>4.4021875260916756</c:v>
                </c:pt>
                <c:pt idx="61" formatCode="0.0">
                  <c:v>4.4334975369458123</c:v>
                </c:pt>
                <c:pt idx="62" formatCode="0.0">
                  <c:v>4.7152876346330483</c:v>
                </c:pt>
                <c:pt idx="63" formatCode="0.0">
                  <c:v>5.2099858061284108</c:v>
                </c:pt>
                <c:pt idx="64" formatCode="0.0">
                  <c:v>6.1638974701511229</c:v>
                </c:pt>
                <c:pt idx="65" formatCode="0.0">
                  <c:v>6.7650496785505556</c:v>
                </c:pt>
                <c:pt idx="66" formatCode="0.0">
                  <c:v>6.8902897219671058</c:v>
                </c:pt>
                <c:pt idx="67" formatCode="0.0">
                  <c:v>7.5039659347081917</c:v>
                </c:pt>
                <c:pt idx="68" formatCode="0.0">
                  <c:v>8.6123403189446464</c:v>
                </c:pt>
                <c:pt idx="69" formatCode="0.0">
                  <c:v>9.2134925273440764</c:v>
                </c:pt>
                <c:pt idx="70" formatCode="0.0">
                  <c:v>9.4639726141771714</c:v>
                </c:pt>
                <c:pt idx="71" formatCode="0.0">
                  <c:v>9.4952826250313098</c:v>
                </c:pt>
                <c:pt idx="72" formatCode="0.0">
                  <c:v>10.265508892043085</c:v>
                </c:pt>
                <c:pt idx="73" formatCode="0.0">
                  <c:v>10.624530349837187</c:v>
                </c:pt>
                <c:pt idx="74" formatCode="0.0">
                  <c:v>11.317525256742091</c:v>
                </c:pt>
                <c:pt idx="75" formatCode="0.0">
                  <c:v>11.367621274108711</c:v>
                </c:pt>
                <c:pt idx="76" formatCode="0.0">
                  <c:v>11.190197879268601</c:v>
                </c:pt>
                <c:pt idx="77" formatCode="0.0">
                  <c:v>10.833263755531432</c:v>
                </c:pt>
                <c:pt idx="78" formatCode="0.0">
                  <c:v>11.753778074643066</c:v>
                </c:pt>
                <c:pt idx="79" formatCode="0.0">
                  <c:v>11.69115805293479</c:v>
                </c:pt>
                <c:pt idx="80" formatCode="0.0">
                  <c:v>12.561576354679802</c:v>
                </c:pt>
                <c:pt idx="81" formatCode="0.0">
                  <c:v>13.221173916673621</c:v>
                </c:pt>
                <c:pt idx="82" formatCode="0.0">
                  <c:v>13.86407280621191</c:v>
                </c:pt>
                <c:pt idx="83" formatCode="0.0">
                  <c:v>14.968272522334473</c:v>
                </c:pt>
                <c:pt idx="84" formatCode="0.0">
                  <c:v>16.185188277531925</c:v>
                </c:pt>
                <c:pt idx="85" formatCode="0.0">
                  <c:v>16.206061618101362</c:v>
                </c:pt>
                <c:pt idx="86" formatCode="0.0">
                  <c:v>19.31201469483176</c:v>
                </c:pt>
                <c:pt idx="87" formatCode="0.0">
                  <c:v>20.666694497787432</c:v>
                </c:pt>
                <c:pt idx="88" formatCode="0.0">
                  <c:v>21.330466727895136</c:v>
                </c:pt>
                <c:pt idx="89" formatCode="0.0">
                  <c:v>21.7959422225933</c:v>
                </c:pt>
                <c:pt idx="90" formatCode="0.0">
                  <c:v>22.962761960424146</c:v>
                </c:pt>
                <c:pt idx="91" formatCode="0.0">
                  <c:v>23.453285463805631</c:v>
                </c:pt>
                <c:pt idx="92" formatCode="0.0">
                  <c:v>23.720464223094265</c:v>
                </c:pt>
                <c:pt idx="93" formatCode="0.0">
                  <c:v>21.741671537112797</c:v>
                </c:pt>
                <c:pt idx="94" formatCode="0.0">
                  <c:v>19.034399265258415</c:v>
                </c:pt>
                <c:pt idx="95" formatCode="0.0">
                  <c:v>21.345078066293731</c:v>
                </c:pt>
                <c:pt idx="96" formatCode="0.0">
                  <c:v>22.365784420138596</c:v>
                </c:pt>
                <c:pt idx="97" formatCode="0.0">
                  <c:v>22.073557652166652</c:v>
                </c:pt>
                <c:pt idx="98" formatCode="0.0">
                  <c:v>21.996326292059781</c:v>
                </c:pt>
                <c:pt idx="99" formatCode="0.0">
                  <c:v>21.987976955832014</c:v>
                </c:pt>
                <c:pt idx="100" formatCode="0.0">
                  <c:v>21.082073975118977</c:v>
                </c:pt>
                <c:pt idx="101" formatCode="0.0">
                  <c:v>22.501461133839857</c:v>
                </c:pt>
                <c:pt idx="102" formatCode="0.0">
                  <c:v>19.971612256825576</c:v>
                </c:pt>
                <c:pt idx="103" formatCode="0.0">
                  <c:v>18.581447774901889</c:v>
                </c:pt>
                <c:pt idx="104" formatCode="0.0">
                  <c:v>17.556566752943134</c:v>
                </c:pt>
                <c:pt idx="105" formatCode="0.0">
                  <c:v>17.022209234365857</c:v>
                </c:pt>
                <c:pt idx="106" formatCode="0.0">
                  <c:v>17.965684228103861</c:v>
                </c:pt>
                <c:pt idx="107" formatCode="0.0">
                  <c:v>19.324538699173416</c:v>
                </c:pt>
                <c:pt idx="108" formatCode="0.0">
                  <c:v>19.276530015863727</c:v>
                </c:pt>
                <c:pt idx="109" formatCode="0.0">
                  <c:v>19.082407948568083</c:v>
                </c:pt>
                <c:pt idx="110" formatCode="0.0">
                  <c:v>18.79435584871003</c:v>
                </c:pt>
                <c:pt idx="111" formatCode="0.0">
                  <c:v>18.412373716289554</c:v>
                </c:pt>
                <c:pt idx="112" formatCode="0.0">
                  <c:v>18.721299156717038</c:v>
                </c:pt>
                <c:pt idx="113" formatCode="0.0">
                  <c:v>19.234783334724884</c:v>
                </c:pt>
                <c:pt idx="114" formatCode="0.0">
                  <c:v>18.913333889955741</c:v>
                </c:pt>
                <c:pt idx="115" formatCode="0.0">
                  <c:v>18.775569842197537</c:v>
                </c:pt>
                <c:pt idx="116" formatCode="0.0">
                  <c:v>18.913333889955741</c:v>
                </c:pt>
                <c:pt idx="117" formatCode="0.0">
                  <c:v>18.965517241379295</c:v>
                </c:pt>
                <c:pt idx="118" formatCode="0.0">
                  <c:v>19.961175586540865</c:v>
                </c:pt>
                <c:pt idx="119" formatCode="0.0">
                  <c:v>20.194957000918432</c:v>
                </c:pt>
                <c:pt idx="120" formatCode="0.0">
                  <c:v>18.608583117642151</c:v>
                </c:pt>
                <c:pt idx="121" formatCode="0.0">
                  <c:v>18.731735827001756</c:v>
                </c:pt>
                <c:pt idx="122" formatCode="0.0">
                  <c:v>19.059447273941714</c:v>
                </c:pt>
                <c:pt idx="123" formatCode="0.0">
                  <c:v>18.70251315020456</c:v>
                </c:pt>
                <c:pt idx="124" formatCode="0.0">
                  <c:v>18.510478416965849</c:v>
                </c:pt>
                <c:pt idx="125" formatCode="0.0">
                  <c:v>17.546130082658433</c:v>
                </c:pt>
                <c:pt idx="126" formatCode="0.0">
                  <c:v>16.788427819988303</c:v>
                </c:pt>
                <c:pt idx="127" formatCode="0.0">
                  <c:v>17.249728646572592</c:v>
                </c:pt>
                <c:pt idx="128" formatCode="0.0">
                  <c:v>17.05560657927694</c:v>
                </c:pt>
                <c:pt idx="129" formatCode="0.0">
                  <c:v>17.089003924188027</c:v>
                </c:pt>
                <c:pt idx="130" formatCode="0.0">
                  <c:v>16.855222509810471</c:v>
                </c:pt>
                <c:pt idx="131" formatCode="0.0">
                  <c:v>15.711363446605995</c:v>
                </c:pt>
                <c:pt idx="132" formatCode="0.0">
                  <c:v>13.417383318026218</c:v>
                </c:pt>
                <c:pt idx="133" formatCode="0.0">
                  <c:v>12.795357769057357</c:v>
                </c:pt>
                <c:pt idx="134" formatCode="0.0">
                  <c:v>13.131418552225099</c:v>
                </c:pt>
                <c:pt idx="135" formatCode="0.0">
                  <c:v>12.402938966352178</c:v>
                </c:pt>
                <c:pt idx="136" formatCode="0.0">
                  <c:v>12.016782165817817</c:v>
                </c:pt>
                <c:pt idx="137" formatCode="0.0">
                  <c:v>11.73499206813058</c:v>
                </c:pt>
                <c:pt idx="138" formatCode="0.0">
                  <c:v>12.843366452367039</c:v>
                </c:pt>
                <c:pt idx="139" formatCode="0.0">
                  <c:v>14.252316940803206</c:v>
                </c:pt>
                <c:pt idx="140" formatCode="0.0">
                  <c:v>13.889120814895218</c:v>
                </c:pt>
                <c:pt idx="141" formatCode="0.0">
                  <c:v>12.294397595391167</c:v>
                </c:pt>
                <c:pt idx="142" formatCode="0.0">
                  <c:v>11.505385321866914</c:v>
                </c:pt>
                <c:pt idx="143" formatCode="0.0">
                  <c:v>10.87918510478417</c:v>
                </c:pt>
                <c:pt idx="144" formatCode="0.0">
                  <c:v>10.762294397595394</c:v>
                </c:pt>
                <c:pt idx="145" formatCode="0.0">
                  <c:v>9.93362277698923</c:v>
                </c:pt>
                <c:pt idx="146" formatCode="0.0">
                  <c:v>9.3429072388745098</c:v>
                </c:pt>
                <c:pt idx="147" formatCode="0.0">
                  <c:v>8.9296150955998996</c:v>
                </c:pt>
                <c:pt idx="148" formatCode="0.0">
                  <c:v>8.9630124405109779</c:v>
                </c:pt>
                <c:pt idx="149" formatCode="0.0">
                  <c:v>8.6812223428237427</c:v>
                </c:pt>
                <c:pt idx="150" formatCode="0.0">
                  <c:v>7.9402187526091694</c:v>
                </c:pt>
                <c:pt idx="151" formatCode="0.0">
                  <c:v>7.0948484595474657</c:v>
                </c:pt>
                <c:pt idx="152" formatCode="0.0">
                  <c:v>6.514569591717458</c:v>
                </c:pt>
                <c:pt idx="153" formatCode="0.0">
                  <c:v>6.5479669366285371</c:v>
                </c:pt>
                <c:pt idx="154" formatCode="0.0">
                  <c:v>6.3768055439592555</c:v>
                </c:pt>
                <c:pt idx="155" formatCode="0.0">
                  <c:v>5.2287718126408951</c:v>
                </c:pt>
                <c:pt idx="156" formatCode="0.0">
                  <c:v>4.9615930533522592</c:v>
                </c:pt>
                <c:pt idx="157" formatCode="0.0">
                  <c:v>5.32687651331719</c:v>
                </c:pt>
                <c:pt idx="158" formatCode="0.0">
                  <c:v>5.0116890707188784</c:v>
                </c:pt>
                <c:pt idx="159" formatCode="0.0">
                  <c:v>5.1974618017867567</c:v>
                </c:pt>
                <c:pt idx="160" formatCode="0.0">
                  <c:v>5.0012524004341685</c:v>
                </c:pt>
                <c:pt idx="161" formatCode="0.0">
                  <c:v>5.0576104199716116</c:v>
                </c:pt>
                <c:pt idx="162" formatCode="0.0">
                  <c:v>5.5815312682641727</c:v>
                </c:pt>
                <c:pt idx="163" formatCode="0.0">
                  <c:v>5.5105619103281294</c:v>
                </c:pt>
                <c:pt idx="164" formatCode="0.0">
                  <c:v>4.9323703765550642</c:v>
                </c:pt>
                <c:pt idx="165" formatCode="0.0">
                  <c:v>4.7925189947399183</c:v>
                </c:pt>
                <c:pt idx="166" formatCode="0.0">
                  <c:v>4.4648075477999489</c:v>
                </c:pt>
                <c:pt idx="167" formatCode="0.0">
                  <c:v>4.2957334891876107</c:v>
                </c:pt>
                <c:pt idx="168" formatCode="0.0">
                  <c:v>4.2623361442765306</c:v>
                </c:pt>
                <c:pt idx="169" formatCode="0.0">
                  <c:v>3.7300659597561996</c:v>
                </c:pt>
                <c:pt idx="170" formatCode="0.0">
                  <c:v>3.4587125323536783</c:v>
                </c:pt>
                <c:pt idx="171" formatCode="0.0">
                  <c:v>3.2666777991149702</c:v>
                </c:pt>
                <c:pt idx="172" formatCode="0.0">
                  <c:v>2.9034816732069801</c:v>
                </c:pt>
                <c:pt idx="173" formatCode="0.0">
                  <c:v>2.7552809551640647</c:v>
                </c:pt>
                <c:pt idx="174" formatCode="0.0">
                  <c:v>2.8262503131001075</c:v>
                </c:pt>
                <c:pt idx="175" formatCode="0.0">
                  <c:v>2.7824162979043172</c:v>
                </c:pt>
                <c:pt idx="176" formatCode="0.0">
                  <c:v>2.8304249812139934</c:v>
                </c:pt>
                <c:pt idx="177" formatCode="0.0">
                  <c:v>2.7323202805376976</c:v>
                </c:pt>
                <c:pt idx="178" formatCode="0.0">
                  <c:v>2.6717875928863659</c:v>
                </c:pt>
                <c:pt idx="179" formatCode="0.0">
                  <c:v>2.7260582783668701</c:v>
                </c:pt>
                <c:pt idx="180" formatCode="0.0">
                  <c:v>2.6697002588294239</c:v>
                </c:pt>
                <c:pt idx="181" formatCode="0.0">
                  <c:v>2.5528095516406442</c:v>
                </c:pt>
                <c:pt idx="182" formatCode="0.0">
                  <c:v>2.5402855472989896</c:v>
                </c:pt>
                <c:pt idx="183" formatCode="0.0">
                  <c:v>2.6530015863738834</c:v>
                </c:pt>
                <c:pt idx="184" formatCode="0.0">
                  <c:v>2.6822242631710784</c:v>
                </c:pt>
                <c:pt idx="185" formatCode="0.0">
                  <c:v>2.6321282458044593</c:v>
                </c:pt>
                <c:pt idx="186" formatCode="0.0">
                  <c:v>2.7072722718543876</c:v>
                </c:pt>
                <c:pt idx="187" formatCode="0.0">
                  <c:v>2.5966435668364372</c:v>
                </c:pt>
                <c:pt idx="188" formatCode="0.0">
                  <c:v>2.5924688987225513</c:v>
                </c:pt>
                <c:pt idx="189" formatCode="0.0">
                  <c:v>2.5194122067295646</c:v>
                </c:pt>
                <c:pt idx="190" formatCode="0.0">
                  <c:v>2.3858228270852466</c:v>
                </c:pt>
                <c:pt idx="191" formatCode="0.0">
                  <c:v>2.3545128162311091</c:v>
                </c:pt>
                <c:pt idx="192" formatCode="0.0">
                  <c:v>2.3148534691492015</c:v>
                </c:pt>
                <c:pt idx="193" formatCode="0.0">
                  <c:v>2.2522334474409282</c:v>
                </c:pt>
                <c:pt idx="194" formatCode="0.0">
                  <c:v>2.2459714452701012</c:v>
                </c:pt>
                <c:pt idx="195" formatCode="0.0">
                  <c:v>2.170827419220172</c:v>
                </c:pt>
                <c:pt idx="196" formatCode="0.0">
                  <c:v>2.2501461133839857</c:v>
                </c:pt>
                <c:pt idx="197" formatCode="0.0">
                  <c:v>2.2188361025298482</c:v>
                </c:pt>
                <c:pt idx="198" formatCode="0.0">
                  <c:v>2.2647574517825841</c:v>
                </c:pt>
                <c:pt idx="199" formatCode="0.0">
                  <c:v>2.2271854387576195</c:v>
                </c:pt>
                <c:pt idx="200" formatCode="0.0">
                  <c:v>1.9558320113550971</c:v>
                </c:pt>
                <c:pt idx="201" formatCode="0.0">
                  <c:v>1.9266093345579025</c:v>
                </c:pt>
                <c:pt idx="202" formatCode="0.0">
                  <c:v>2.0184520330633706</c:v>
                </c:pt>
                <c:pt idx="203" formatCode="0.0">
                  <c:v>1.9307840026717875</c:v>
                </c:pt>
                <c:pt idx="204" formatCode="0.0">
                  <c:v>1.8973866577607077</c:v>
                </c:pt>
                <c:pt idx="205" formatCode="0.0">
                  <c:v>1.6865659180095183</c:v>
                </c:pt>
                <c:pt idx="206" formatCode="0.0">
                  <c:v>1.7450112716039075</c:v>
                </c:pt>
                <c:pt idx="207" formatCode="0.0">
                  <c:v>1.9996660265508894</c:v>
                </c:pt>
                <c:pt idx="208" formatCode="0.0">
                  <c:v>2.1249060699674387</c:v>
                </c:pt>
                <c:pt idx="209" formatCode="0.0">
                  <c:v>2.1374300743090933</c:v>
                </c:pt>
                <c:pt idx="210" formatCode="0.0">
                  <c:v>2.2021374300743086</c:v>
                </c:pt>
                <c:pt idx="211" formatCode="0.0">
                  <c:v>2.2689321198964687</c:v>
                </c:pt>
                <c:pt idx="212" formatCode="0.0">
                  <c:v>2.3461634800033395</c:v>
                </c:pt>
                <c:pt idx="213" formatCode="0.0">
                  <c:v>2.5131502045587375</c:v>
                </c:pt>
                <c:pt idx="214" formatCode="0.0">
                  <c:v>2.9514903565166581</c:v>
                </c:pt>
                <c:pt idx="215" formatCode="0.0">
                  <c:v>3.1101277448442852</c:v>
                </c:pt>
                <c:pt idx="216" formatCode="0.0">
                  <c:v>3.1623110962678473</c:v>
                </c:pt>
                <c:pt idx="217" formatCode="0.0">
                  <c:v>3.1372630875845373</c:v>
                </c:pt>
                <c:pt idx="218" formatCode="0.0">
                  <c:v>3.3355598229940715</c:v>
                </c:pt>
                <c:pt idx="219" formatCode="0.0">
                  <c:v>3.3731318360190374</c:v>
                </c:pt>
                <c:pt idx="220" formatCode="0.0">
                  <c:v>3.5275945562327808</c:v>
                </c:pt>
                <c:pt idx="221" formatCode="0.0">
                  <c:v>3.1602237622109053</c:v>
                </c:pt>
                <c:pt idx="222" formatCode="0.0">
                  <c:v>3.0662937296484931</c:v>
                </c:pt>
                <c:pt idx="223" formatCode="0.0">
                  <c:v>3.1351757535275953</c:v>
                </c:pt>
                <c:pt idx="224" formatCode="0.0">
                  <c:v>3.2729398012857982</c:v>
                </c:pt>
                <c:pt idx="225" formatCode="0.0">
                  <c:v>3.214494447691409</c:v>
                </c:pt>
                <c:pt idx="226" formatCode="0.0">
                  <c:v>3.4774985388661608</c:v>
                </c:pt>
                <c:pt idx="227" formatCode="0.0">
                  <c:v>3.3063371461968782</c:v>
                </c:pt>
                <c:pt idx="228" formatCode="0.0">
                  <c:v>3.5693412373716291</c:v>
                </c:pt>
                <c:pt idx="229" formatCode="0.0">
                  <c:v>3.6382232612507308</c:v>
                </c:pt>
                <c:pt idx="230" formatCode="0.0">
                  <c:v>3.5651665692577441</c:v>
                </c:pt>
                <c:pt idx="231" formatCode="0.0">
                  <c:v>3.4461885280120232</c:v>
                </c:pt>
                <c:pt idx="232" formatCode="0.0">
                  <c:v>3.3480838273357274</c:v>
                </c:pt>
                <c:pt idx="233" formatCode="0.0">
                  <c:v>3.2520664607163732</c:v>
                </c:pt>
                <c:pt idx="234" formatCode="0.0">
                  <c:v>3.2708524672288548</c:v>
                </c:pt>
                <c:pt idx="235" formatCode="0.0">
                  <c:v>2.9953243717124494</c:v>
                </c:pt>
                <c:pt idx="236" formatCode="0.0">
                  <c:v>3.0099357101110469</c:v>
                </c:pt>
                <c:pt idx="237" formatCode="0.0">
                  <c:v>2.9347916840611172</c:v>
                </c:pt>
                <c:pt idx="238" formatCode="0.0">
                  <c:v>2.9431410202888868</c:v>
                </c:pt>
                <c:pt idx="239" formatCode="0.0">
                  <c:v>3.0078483760541026</c:v>
                </c:pt>
                <c:pt idx="240" formatCode="0.0">
                  <c:v>3.1080404107873432</c:v>
                </c:pt>
                <c:pt idx="241" formatCode="0.0">
                  <c:v>3.1915337730650415</c:v>
                </c:pt>
                <c:pt idx="242" formatCode="0.0">
                  <c:v>3.5255072221758379</c:v>
                </c:pt>
                <c:pt idx="243" formatCode="0.0">
                  <c:v>3.4441011939550807</c:v>
                </c:pt>
                <c:pt idx="244" formatCode="0.0">
                  <c:v>3.6215245887951926</c:v>
                </c:pt>
                <c:pt idx="245" formatCode="0.0">
                  <c:v>3.7446772981547976</c:v>
                </c:pt>
                <c:pt idx="246" formatCode="0.0">
                  <c:v>4.1141354262336138</c:v>
                </c:pt>
                <c:pt idx="247" formatCode="0.0">
                  <c:v>4.3646155130667097</c:v>
                </c:pt>
                <c:pt idx="248" formatCode="0.0">
                  <c:v>4.8113050012524008</c:v>
                </c:pt>
                <c:pt idx="249" formatCode="0.0">
                  <c:v>4.8259163396509948</c:v>
                </c:pt>
                <c:pt idx="250" formatCode="0.0">
                  <c:v>5.3707105285129835</c:v>
                </c:pt>
                <c:pt idx="251" formatCode="0.0">
                  <c:v>5.685897971111296</c:v>
                </c:pt>
                <c:pt idx="252" formatCode="0.0">
                  <c:v>5.8821073724638895</c:v>
                </c:pt>
                <c:pt idx="253" formatCode="0.0">
                  <c:v>5.9447273941721654</c:v>
                </c:pt>
                <c:pt idx="254" formatCode="0.0">
                  <c:v>6.5563162728563071</c:v>
                </c:pt>
                <c:pt idx="255" formatCode="0.0">
                  <c:v>6.6857309843867405</c:v>
                </c:pt>
                <c:pt idx="256" formatCode="0.0">
                  <c:v>7.3578525507222166</c:v>
                </c:pt>
                <c:pt idx="257" formatCode="0.0">
                  <c:v>7.5853719629289476</c:v>
                </c:pt>
                <c:pt idx="258" formatCode="0.0">
                  <c:v>7.9569174250647086</c:v>
                </c:pt>
                <c:pt idx="259" formatCode="0.0">
                  <c:v>8.8315103949236047</c:v>
                </c:pt>
                <c:pt idx="260" formatCode="0.0">
                  <c:v>10.056775486348837</c:v>
                </c:pt>
                <c:pt idx="261" formatCode="0.0">
                  <c:v>10.708023712114885</c:v>
                </c:pt>
                <c:pt idx="262" formatCode="0.0">
                  <c:v>11.655673373966771</c:v>
                </c:pt>
                <c:pt idx="263" formatCode="0.0">
                  <c:v>12.377890957668871</c:v>
                </c:pt>
                <c:pt idx="264" formatCode="0.0">
                  <c:v>13.110545211655674</c:v>
                </c:pt>
                <c:pt idx="265" formatCode="0.0">
                  <c:v>13.632378725891293</c:v>
                </c:pt>
                <c:pt idx="266" formatCode="0.0">
                  <c:v>13.13768055439593</c:v>
                </c:pt>
                <c:pt idx="267" formatCode="0.0">
                  <c:v>13.749269433080071</c:v>
                </c:pt>
                <c:pt idx="268" formatCode="0.0">
                  <c:v>14.490273023294648</c:v>
                </c:pt>
                <c:pt idx="269" formatCode="0.0">
                  <c:v>15.64039408866995</c:v>
                </c:pt>
                <c:pt idx="270" formatCode="0.0">
                  <c:v>17.051431911163057</c:v>
                </c:pt>
                <c:pt idx="271" formatCode="0.0">
                  <c:v>17.798697503548464</c:v>
                </c:pt>
                <c:pt idx="272" formatCode="0.0">
                  <c:v>18.464557067713116</c:v>
                </c:pt>
                <c:pt idx="273" formatCode="0.0">
                  <c:v>19.852634215579858</c:v>
                </c:pt>
                <c:pt idx="274" formatCode="0.0">
                  <c:v>21.26158470401603</c:v>
                </c:pt>
                <c:pt idx="275" formatCode="0.0">
                  <c:v>23.879101611421891</c:v>
                </c:pt>
                <c:pt idx="276" formatCode="0.0">
                  <c:v>25.966435668364365</c:v>
                </c:pt>
                <c:pt idx="277" formatCode="0.0">
                  <c:v>27.680136929114134</c:v>
                </c:pt>
                <c:pt idx="278" formatCode="0.0">
                  <c:v>30.462553227018454</c:v>
                </c:pt>
                <c:pt idx="279" formatCode="0.0">
                  <c:v>31.848543040828247</c:v>
                </c:pt>
                <c:pt idx="280" formatCode="0.0">
                  <c:v>35.409534941972112</c:v>
                </c:pt>
                <c:pt idx="281" formatCode="0.0">
                  <c:v>37.895549803790594</c:v>
                </c:pt>
                <c:pt idx="282" formatCode="0.0">
                  <c:v>38.118894547883436</c:v>
                </c:pt>
                <c:pt idx="283" formatCode="0.0">
                  <c:v>39.498622359522422</c:v>
                </c:pt>
                <c:pt idx="284" formatCode="0.0">
                  <c:v>41.435668364365036</c:v>
                </c:pt>
                <c:pt idx="285" formatCode="0.0">
                  <c:v>41.356349670201205</c:v>
                </c:pt>
                <c:pt idx="286" formatCode="0.0">
                  <c:v>43.105535609919023</c:v>
                </c:pt>
                <c:pt idx="287" formatCode="0.0">
                  <c:v>43.493779744510327</c:v>
                </c:pt>
                <c:pt idx="288" formatCode="0.0">
                  <c:v>44.913166903231186</c:v>
                </c:pt>
                <c:pt idx="289" formatCode="0.0">
                  <c:v>46.860649578358505</c:v>
                </c:pt>
                <c:pt idx="290" formatCode="0.0">
                  <c:v>47.572430491775911</c:v>
                </c:pt>
                <c:pt idx="291" formatCode="0.0">
                  <c:v>46.153043333055017</c:v>
                </c:pt>
                <c:pt idx="292" formatCode="0.0">
                  <c:v>46.274108708357687</c:v>
                </c:pt>
                <c:pt idx="293" formatCode="0.0">
                  <c:v>45.551891124655583</c:v>
                </c:pt>
                <c:pt idx="294" formatCode="0.0">
                  <c:v>44.071971278283371</c:v>
                </c:pt>
                <c:pt idx="295" formatCode="0.0">
                  <c:v>44.228521332554074</c:v>
                </c:pt>
                <c:pt idx="296" formatCode="0.0">
                  <c:v>45.345245053018274</c:v>
                </c:pt>
                <c:pt idx="297" formatCode="0.0">
                  <c:v>44.700258829423063</c:v>
                </c:pt>
                <c:pt idx="298" formatCode="0.0">
                  <c:v>45.07180429155882</c:v>
                </c:pt>
                <c:pt idx="299" formatCode="0.0">
                  <c:v>45.599899807965265</c:v>
                </c:pt>
                <c:pt idx="300" formatCode="0.0">
                  <c:v>47.234282374551235</c:v>
                </c:pt>
                <c:pt idx="301" formatCode="0.0">
                  <c:v>47.163313016615184</c:v>
                </c:pt>
                <c:pt idx="302" formatCode="0.0">
                  <c:v>46.702012190030906</c:v>
                </c:pt>
                <c:pt idx="303" formatCode="0.0">
                  <c:v>44.959088252483916</c:v>
                </c:pt>
                <c:pt idx="304" formatCode="0.0">
                  <c:v>45.412039742840456</c:v>
                </c:pt>
                <c:pt idx="305" formatCode="0.0">
                  <c:v>46.125907990314786</c:v>
                </c:pt>
                <c:pt idx="306" formatCode="0.0">
                  <c:v>46.593470819069893</c:v>
                </c:pt>
                <c:pt idx="307" formatCode="0.0">
                  <c:v>44.929865575686719</c:v>
                </c:pt>
                <c:pt idx="308" formatCode="0.0">
                  <c:v>44.961175586540868</c:v>
                </c:pt>
                <c:pt idx="309" formatCode="0.0">
                  <c:v>43.17650496785506</c:v>
                </c:pt>
                <c:pt idx="310" formatCode="0.0">
                  <c:v>41.844785839525763</c:v>
                </c:pt>
                <c:pt idx="311" formatCode="0.0">
                  <c:v>39.385906320447525</c:v>
                </c:pt>
                <c:pt idx="312" formatCode="0.0">
                  <c:v>36.866494113717948</c:v>
                </c:pt>
                <c:pt idx="313" formatCode="0.0">
                  <c:v>33.885781080404101</c:v>
                </c:pt>
                <c:pt idx="314" formatCode="0.0">
                  <c:v>31.188945478834434</c:v>
                </c:pt>
                <c:pt idx="315" formatCode="0.0">
                  <c:v>28.538031226517493</c:v>
                </c:pt>
                <c:pt idx="316" formatCode="0.0">
                  <c:v>25.367370794021877</c:v>
                </c:pt>
                <c:pt idx="317" formatCode="0.0">
                  <c:v>22.610002504800867</c:v>
                </c:pt>
                <c:pt idx="318" formatCode="0.0">
                  <c:v>20.816982549887285</c:v>
                </c:pt>
                <c:pt idx="319" formatCode="0.0">
                  <c:v>19.038573933372291</c:v>
                </c:pt>
                <c:pt idx="320" formatCode="0.0">
                  <c:v>17.101527928529681</c:v>
                </c:pt>
                <c:pt idx="321" formatCode="0.0">
                  <c:v>15.736411455289305</c:v>
                </c:pt>
                <c:pt idx="322" formatCode="0.0">
                  <c:v>14.467312348668285</c:v>
                </c:pt>
                <c:pt idx="323" formatCode="0.0">
                  <c:v>13.632378725891289</c:v>
                </c:pt>
                <c:pt idx="324" formatCode="0.0">
                  <c:v>12.294397595391167</c:v>
                </c:pt>
                <c:pt idx="325" formatCode="0.0">
                  <c:v>10.689237705602405</c:v>
                </c:pt>
                <c:pt idx="326" formatCode="0.0">
                  <c:v>9.4284879352091533</c:v>
                </c:pt>
                <c:pt idx="327" formatCode="0.0">
                  <c:v>8.7772397094430996</c:v>
                </c:pt>
                <c:pt idx="328" formatCode="0.0">
                  <c:v>8.6749603406529179</c:v>
                </c:pt>
                <c:pt idx="329" formatCode="0.0">
                  <c:v>8.4411789262753594</c:v>
                </c:pt>
                <c:pt idx="330" formatCode="0.0">
                  <c:v>7.6584286549219343</c:v>
                </c:pt>
                <c:pt idx="331" formatCode="0.0">
                  <c:v>7.0092677632128275</c:v>
                </c:pt>
                <c:pt idx="332" formatCode="0.0">
                  <c:v>6.5584036069132505</c:v>
                </c:pt>
                <c:pt idx="333" formatCode="0.0">
                  <c:v>5.9447273941721654</c:v>
                </c:pt>
                <c:pt idx="334" formatCode="0.0">
                  <c:v>5.7819153377306503</c:v>
                </c:pt>
                <c:pt idx="335" formatCode="0.0">
                  <c:v>5.6504132921432753</c:v>
                </c:pt>
                <c:pt idx="336" formatCode="0.0">
                  <c:v>5.5084745762711851</c:v>
                </c:pt>
                <c:pt idx="337" formatCode="0.0">
                  <c:v>5.2037238039575868</c:v>
                </c:pt>
                <c:pt idx="338" formatCode="0.0">
                  <c:v>4.8864490273023318</c:v>
                </c:pt>
                <c:pt idx="339" formatCode="0.0">
                  <c:v>4.72572430491776</c:v>
                </c:pt>
                <c:pt idx="340" formatCode="0.0">
                  <c:v>4.5462135760207065</c:v>
                </c:pt>
                <c:pt idx="341" formatCode="0.0">
                  <c:v>4.4042748601486181</c:v>
                </c:pt>
                <c:pt idx="342" formatCode="0.0">
                  <c:v>4.375052183351424</c:v>
                </c:pt>
                <c:pt idx="343" formatCode="0.0">
                  <c:v>4.2268514653085081</c:v>
                </c:pt>
                <c:pt idx="344" formatCode="0.0">
                  <c:v>3.9951573849878934</c:v>
                </c:pt>
                <c:pt idx="345" formatCode="0.0">
                  <c:v>3.9763713784754122</c:v>
                </c:pt>
                <c:pt idx="346" formatCode="0.0">
                  <c:v>3.7780746430658758</c:v>
                </c:pt>
                <c:pt idx="347" formatCode="0.0">
                  <c:v>3.7405026300409125</c:v>
                </c:pt>
                <c:pt idx="348" formatCode="0.0">
                  <c:v>3.6173499206813062</c:v>
                </c:pt>
                <c:pt idx="349" formatCode="0.0">
                  <c:v>3.5568172330299737</c:v>
                </c:pt>
                <c:pt idx="350" formatCode="0.0">
                  <c:v>3.5463805627452625</c:v>
                </c:pt>
                <c:pt idx="351" formatCode="0.0">
                  <c:v>3.4378391917842528</c:v>
                </c:pt>
                <c:pt idx="352" formatCode="0.0">
                  <c:v>3.2833764715705112</c:v>
                </c:pt>
                <c:pt idx="353" formatCode="0.0">
                  <c:v>3.1643984303247885</c:v>
                </c:pt>
                <c:pt idx="354" formatCode="0.0">
                  <c:v>3.1038657426734582</c:v>
                </c:pt>
                <c:pt idx="355" formatCode="0.0">
                  <c:v>2.9681890289721977</c:v>
                </c:pt>
                <c:pt idx="356" formatCode="0.0">
                  <c:v>2.9786256992569089</c:v>
                </c:pt>
                <c:pt idx="357" formatCode="0.0">
                  <c:v>2.9410536862319447</c:v>
                </c:pt>
                <c:pt idx="358" formatCode="0.0">
                  <c:v>2.8095516406445689</c:v>
                </c:pt>
                <c:pt idx="359" formatCode="0.0">
                  <c:v>2.7051849377974455</c:v>
                </c:pt>
                <c:pt idx="360" formatCode="0.0">
                  <c:v>2.6509142523169418</c:v>
                </c:pt>
                <c:pt idx="361" formatCode="0.0">
                  <c:v>2.5882942306086671</c:v>
                </c:pt>
                <c:pt idx="362" formatCode="0.0">
                  <c:v>2.5361108791851046</c:v>
                </c:pt>
                <c:pt idx="363" formatCode="0.0">
                  <c:v>2.5423728813559325</c:v>
                </c:pt>
                <c:pt idx="364" formatCode="0.0">
                  <c:v>2.53193621107122</c:v>
                </c:pt>
                <c:pt idx="365" formatCode="0.0">
                  <c:v>2.4087835017116146</c:v>
                </c:pt>
                <c:pt idx="366" formatCode="0.0">
                  <c:v>2.4734908574768308</c:v>
                </c:pt>
                <c:pt idx="367" formatCode="0.0">
                  <c:v>2.3879101611421896</c:v>
                </c:pt>
                <c:pt idx="368" formatCode="0.0">
                  <c:v>2.4839275277615442</c:v>
                </c:pt>
                <c:pt idx="369" formatCode="0.0">
                  <c:v>2.3962594973699587</c:v>
                </c:pt>
                <c:pt idx="370" formatCode="0.0">
                  <c:v>2.3106788010353179</c:v>
                </c:pt>
                <c:pt idx="371" formatCode="0.0">
                  <c:v>2.4004341654838437</c:v>
                </c:pt>
                <c:pt idx="372" formatCode="0.0">
                  <c:v>2.4755781915337725</c:v>
                </c:pt>
                <c:pt idx="373" formatCode="0.0">
                  <c:v>2.4776655255907154</c:v>
                </c:pt>
                <c:pt idx="374" formatCode="0.0">
                  <c:v>2.5486348835267596</c:v>
                </c:pt>
                <c:pt idx="375" formatCode="0.0">
                  <c:v>2.4922768639893134</c:v>
                </c:pt>
                <c:pt idx="376" formatCode="0.0">
                  <c:v>2.4881021958754279</c:v>
                </c:pt>
                <c:pt idx="377" formatCode="0.0">
                  <c:v>2.5653335559822996</c:v>
                </c:pt>
                <c:pt idx="378" formatCode="0.0">
                  <c:v>2.4066961676546712</c:v>
                </c:pt>
                <c:pt idx="379" formatCode="0.0">
                  <c:v>2.2939801285797787</c:v>
                </c:pt>
                <c:pt idx="380" formatCode="0.0">
                  <c:v>2.3962594973699582</c:v>
                </c:pt>
                <c:pt idx="381" formatCode="0.0">
                  <c:v>2.4066961676546712</c:v>
                </c:pt>
                <c:pt idx="382" formatCode="0.0">
                  <c:v>2.544460215412875</c:v>
                </c:pt>
                <c:pt idx="383" formatCode="0.0">
                  <c:v>2.5402855472989896</c:v>
                </c:pt>
                <c:pt idx="384" formatCode="0.0">
                  <c:v>2.49853886616014</c:v>
                </c:pt>
                <c:pt idx="385" formatCode="0.0">
                  <c:v>2.5778575603239546</c:v>
                </c:pt>
                <c:pt idx="386" formatCode="0.0">
                  <c:v>2.7114469399682721</c:v>
                </c:pt>
                <c:pt idx="387" formatCode="0.0">
                  <c:v>2.5486348835267596</c:v>
                </c:pt>
                <c:pt idx="388" formatCode="0.0">
                  <c:v>2.4588795190782333</c:v>
                </c:pt>
                <c:pt idx="389" formatCode="0.0">
                  <c:v>2.1061200634549557</c:v>
                </c:pt>
                <c:pt idx="390" formatCode="0.0">
                  <c:v>1.9370460048426155</c:v>
                </c:pt>
                <c:pt idx="391" formatCode="0.0">
                  <c:v>1.9787926859814644</c:v>
                </c:pt>
                <c:pt idx="392" formatCode="0.0">
                  <c:v>1.9140853302162482</c:v>
                </c:pt>
                <c:pt idx="393" formatCode="0.0">
                  <c:v>1.6385572346998416</c:v>
                </c:pt>
                <c:pt idx="394" formatCode="0.0">
                  <c:v>1.6740419136678637</c:v>
                </c:pt>
                <c:pt idx="395" formatCode="0.0">
                  <c:v>1.6719545796109212</c:v>
                </c:pt>
                <c:pt idx="396" formatCode="0.0">
                  <c:v>1.7387492694330802</c:v>
                </c:pt>
                <c:pt idx="397" formatCode="0.0">
                  <c:v>1.8786006512482258</c:v>
                </c:pt>
                <c:pt idx="398" formatCode="0.0">
                  <c:v>1.8138932954830085</c:v>
                </c:pt>
                <c:pt idx="399" formatCode="0.0">
                  <c:v>1.8598146447357435</c:v>
                </c:pt>
                <c:pt idx="400" formatCode="0.0">
                  <c:v>2.0685480504299902</c:v>
                </c:pt>
                <c:pt idx="401" formatCode="0.0">
                  <c:v>1.8744259831343411</c:v>
                </c:pt>
                <c:pt idx="402" formatCode="0.0">
                  <c:v>1.9600066794689823</c:v>
                </c:pt>
                <c:pt idx="403" formatCode="0.0">
                  <c:v>1.9954913584370042</c:v>
                </c:pt>
                <c:pt idx="404" formatCode="0.0">
                  <c:v>2.043500041746682</c:v>
                </c:pt>
                <c:pt idx="405" formatCode="0.0">
                  <c:v>2.0601987142022211</c:v>
                </c:pt>
                <c:pt idx="406" formatCode="0.0">
                  <c:v>2.0539367120313941</c:v>
                </c:pt>
                <c:pt idx="407" formatCode="0.0">
                  <c:v>1.945395341070385</c:v>
                </c:pt>
                <c:pt idx="408" formatCode="0.0">
                  <c:v>1.9683560156967523</c:v>
                </c:pt>
                <c:pt idx="409" formatCode="0.0">
                  <c:v>1.9266093345579027</c:v>
                </c:pt>
                <c:pt idx="410" formatCode="0.0">
                  <c:v>1.859814644735744</c:v>
                </c:pt>
                <c:pt idx="411" formatCode="0.0">
                  <c:v>1.7992819570844116</c:v>
                </c:pt>
                <c:pt idx="412" formatCode="0.0">
                  <c:v>1.7679719462302743</c:v>
                </c:pt>
                <c:pt idx="413" formatCode="0.0">
                  <c:v>1.8138932954830087</c:v>
                </c:pt>
                <c:pt idx="414" formatCode="0.0">
                  <c:v>1.8243299657677219</c:v>
                </c:pt>
                <c:pt idx="415" formatCode="0.0">
                  <c:v>1.7137012607497701</c:v>
                </c:pt>
                <c:pt idx="416" formatCode="0.0">
                  <c:v>1.7262252650914252</c:v>
                </c:pt>
                <c:pt idx="417" formatCode="0.0">
                  <c:v>1.7429239375469652</c:v>
                </c:pt>
                <c:pt idx="418" formatCode="0.0">
                  <c:v>1.8347666360524337</c:v>
                </c:pt>
                <c:pt idx="419" formatCode="0.0">
                  <c:v>1.8786006512482261</c:v>
                </c:pt>
                <c:pt idx="420" formatCode="0.0">
                  <c:v>1.8326793019954912</c:v>
                </c:pt>
                <c:pt idx="421" formatCode="0.0">
                  <c:v>1.9913166903231196</c:v>
                </c:pt>
                <c:pt idx="422" formatCode="0.0">
                  <c:v>2.2209234365867916</c:v>
                </c:pt>
                <c:pt idx="423" formatCode="0.0">
                  <c:v>2.2960674626367208</c:v>
                </c:pt>
                <c:pt idx="424" formatCode="0.0">
                  <c:v>2.5361108791851046</c:v>
                </c:pt>
                <c:pt idx="425" formatCode="0.0">
                  <c:v>2.5569842197545292</c:v>
                </c:pt>
                <c:pt idx="426" formatCode="0.0">
                  <c:v>2.5966435668364367</c:v>
                </c:pt>
                <c:pt idx="427" formatCode="0.0">
                  <c:v>2.6947482675127334</c:v>
                </c:pt>
                <c:pt idx="428" formatCode="0.0">
                  <c:v>2.7448442848793526</c:v>
                </c:pt>
                <c:pt idx="429" formatCode="0.0">
                  <c:v>3.0099357101110469</c:v>
                </c:pt>
                <c:pt idx="430" formatCode="0.0">
                  <c:v>3.2583284628872002</c:v>
                </c:pt>
                <c:pt idx="431" formatCode="0.0">
                  <c:v>3.1706604324956165</c:v>
                </c:pt>
                <c:pt idx="432" formatCode="0.0">
                  <c:v>3.2833764715705116</c:v>
                </c:pt>
                <c:pt idx="433" formatCode="0.0">
                  <c:v>3.2792018034566253</c:v>
                </c:pt>
                <c:pt idx="434" formatCode="0.0">
                  <c:v>3.3000751440260494</c:v>
                </c:pt>
                <c:pt idx="435" formatCode="0.0">
                  <c:v>3.4733238707522758</c:v>
                </c:pt>
                <c:pt idx="436" formatCode="0.0">
                  <c:v>3.4628872004675633</c:v>
                </c:pt>
                <c:pt idx="437" formatCode="0.0">
                  <c:v>3.2666777991149702</c:v>
                </c:pt>
                <c:pt idx="438" formatCode="0.0">
                  <c:v>3.4169658512148282</c:v>
                </c:pt>
                <c:pt idx="439" formatCode="0.0">
                  <c:v>3.4879352091508729</c:v>
                </c:pt>
                <c:pt idx="440" formatCode="0.0">
                  <c:v>3.5776905735993991</c:v>
                </c:pt>
                <c:pt idx="441" formatCode="0.0">
                  <c:v>3.7551139684395092</c:v>
                </c:pt>
                <c:pt idx="442" formatCode="0.0">
                  <c:v>3.9304500292226767</c:v>
                </c:pt>
                <c:pt idx="443" formatCode="0.0">
                  <c:v>4.0264673958420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FA96-4795-8581-791AAA8989B0}"/>
            </c:ext>
          </c:extLst>
        </c:ser>
        <c:ser>
          <c:idx val="4"/>
          <c:order val="7"/>
          <c:tx>
            <c:v>Free State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O$5:$CO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3.4638032559750613E-2</c:v>
                </c:pt>
                <c:pt idx="11" formatCode="0.0">
                  <c:v>3.4638032559750613E-2</c:v>
                </c:pt>
                <c:pt idx="12" formatCode="0.0">
                  <c:v>4.4534613291107923E-2</c:v>
                </c:pt>
                <c:pt idx="13" formatCode="0.0">
                  <c:v>6.4327774753822564E-2</c:v>
                </c:pt>
                <c:pt idx="14" formatCode="0.0">
                  <c:v>8.9069226582215846E-2</c:v>
                </c:pt>
                <c:pt idx="15" formatCode="0.0">
                  <c:v>0.14844871097035978</c:v>
                </c:pt>
                <c:pt idx="16" formatCode="0.0">
                  <c:v>0.2424662279182542</c:v>
                </c:pt>
                <c:pt idx="17" formatCode="0.0">
                  <c:v>0.20782819535850364</c:v>
                </c:pt>
                <c:pt idx="18" formatCode="0.0">
                  <c:v>0.30184571230639812</c:v>
                </c:pt>
                <c:pt idx="19" formatCode="0.0">
                  <c:v>0.31174229303775552</c:v>
                </c:pt>
                <c:pt idx="20" formatCode="0.0">
                  <c:v>0.29194913157504082</c:v>
                </c:pt>
                <c:pt idx="21" formatCode="0.0">
                  <c:v>0.27710426047800485</c:v>
                </c:pt>
                <c:pt idx="22" formatCode="0.0">
                  <c:v>0.22762135682121826</c:v>
                </c:pt>
                <c:pt idx="23" formatCode="0.0">
                  <c:v>0.17319016279875302</c:v>
                </c:pt>
                <c:pt idx="24" formatCode="0.0">
                  <c:v>0.17319016279875302</c:v>
                </c:pt>
                <c:pt idx="25" formatCode="0.0">
                  <c:v>8.4120936216537198E-2</c:v>
                </c:pt>
                <c:pt idx="26" formatCode="0.0">
                  <c:v>7.422435548517986E-2</c:v>
                </c:pt>
                <c:pt idx="27" formatCode="0.0">
                  <c:v>8.4120936216537198E-2</c:v>
                </c:pt>
                <c:pt idx="28" formatCode="0.0">
                  <c:v>-0.36617348706022074</c:v>
                </c:pt>
                <c:pt idx="29" formatCode="0.0">
                  <c:v>5.937948438814393E-2</c:v>
                </c:pt>
                <c:pt idx="30" formatCode="0.0">
                  <c:v>4.4534613291107923E-2</c:v>
                </c:pt>
                <c:pt idx="31" formatCode="0.0">
                  <c:v>4.9482903656786606E-2</c:v>
                </c:pt>
                <c:pt idx="32" formatCode="0.0">
                  <c:v>4.4534613291107923E-2</c:v>
                </c:pt>
                <c:pt idx="33" formatCode="0.0">
                  <c:v>4.4534613291107923E-2</c:v>
                </c:pt>
                <c:pt idx="34" formatCode="0.0">
                  <c:v>3.4638032559750606E-2</c:v>
                </c:pt>
                <c:pt idx="35" formatCode="0.0">
                  <c:v>0.48493245583650851</c:v>
                </c:pt>
                <c:pt idx="36" formatCode="0.0">
                  <c:v>4.4534613291107923E-2</c:v>
                </c:pt>
                <c:pt idx="37" formatCode="0.0">
                  <c:v>2.4741451828393293E-2</c:v>
                </c:pt>
                <c:pt idx="38" formatCode="0.0">
                  <c:v>2.9689742194071958E-2</c:v>
                </c:pt>
                <c:pt idx="39" formatCode="0.0">
                  <c:v>2.9689742194071958E-2</c:v>
                </c:pt>
                <c:pt idx="40" formatCode="0.0">
                  <c:v>1.9793161462714634E-2</c:v>
                </c:pt>
                <c:pt idx="41" formatCode="0.0">
                  <c:v>4.4534613291107923E-2</c:v>
                </c:pt>
                <c:pt idx="42" formatCode="0.0">
                  <c:v>3.9586322925429268E-2</c:v>
                </c:pt>
                <c:pt idx="43" formatCode="0.0">
                  <c:v>4.4534613291107923E-2</c:v>
                </c:pt>
                <c:pt idx="44" formatCode="0.0">
                  <c:v>3.9586322925429268E-2</c:v>
                </c:pt>
                <c:pt idx="45" formatCode="0.0">
                  <c:v>5.443119402246524E-2</c:v>
                </c:pt>
                <c:pt idx="46" formatCode="0.0">
                  <c:v>5.443119402246524E-2</c:v>
                </c:pt>
                <c:pt idx="47" formatCode="0.0">
                  <c:v>4.9482903656786585E-2</c:v>
                </c:pt>
                <c:pt idx="48" formatCode="0.0">
                  <c:v>2.9689742194071951E-2</c:v>
                </c:pt>
                <c:pt idx="49" formatCode="0.0">
                  <c:v>3.4638032559750613E-2</c:v>
                </c:pt>
                <c:pt idx="50" formatCode="0.0">
                  <c:v>3.4638032559750613E-2</c:v>
                </c:pt>
                <c:pt idx="51" formatCode="0.0">
                  <c:v>4.9482903656786606E-2</c:v>
                </c:pt>
                <c:pt idx="52" formatCode="0.0">
                  <c:v>3.4638032559750613E-2</c:v>
                </c:pt>
                <c:pt idx="53" formatCode="0.0">
                  <c:v>4.9482903656786606E-2</c:v>
                </c:pt>
                <c:pt idx="54" formatCode="0.0">
                  <c:v>5.9379484388143916E-2</c:v>
                </c:pt>
                <c:pt idx="55" formatCode="0.0">
                  <c:v>6.9276065119501226E-2</c:v>
                </c:pt>
                <c:pt idx="56" formatCode="0.0">
                  <c:v>7.422435548517986E-2</c:v>
                </c:pt>
                <c:pt idx="57" formatCode="0.0">
                  <c:v>8.4120936216537198E-2</c:v>
                </c:pt>
                <c:pt idx="58" formatCode="0.0">
                  <c:v>8.9069226582215846E-2</c:v>
                </c:pt>
                <c:pt idx="59" formatCode="0.0">
                  <c:v>7.422435548517986E-2</c:v>
                </c:pt>
                <c:pt idx="60" formatCode="0.0">
                  <c:v>6.4327774753822564E-2</c:v>
                </c:pt>
                <c:pt idx="61" formatCode="0.0">
                  <c:v>6.4327774753822564E-2</c:v>
                </c:pt>
                <c:pt idx="62" formatCode="0.0">
                  <c:v>4.9482903656786606E-2</c:v>
                </c:pt>
                <c:pt idx="63" formatCode="0.0">
                  <c:v>3.463803255975062E-2</c:v>
                </c:pt>
                <c:pt idx="64" formatCode="0.0">
                  <c:v>3.9586322925429268E-2</c:v>
                </c:pt>
                <c:pt idx="65" formatCode="0.0">
                  <c:v>5.443119402246524E-2</c:v>
                </c:pt>
                <c:pt idx="66" formatCode="0.0">
                  <c:v>8.9069226582215846E-2</c:v>
                </c:pt>
                <c:pt idx="67" formatCode="0.0">
                  <c:v>9.4017516947894508E-2</c:v>
                </c:pt>
                <c:pt idx="68" formatCode="0.0">
                  <c:v>0.11381067841060914</c:v>
                </c:pt>
                <c:pt idx="69" formatCode="0.0">
                  <c:v>0.13855213023900242</c:v>
                </c:pt>
                <c:pt idx="70" formatCode="0.0">
                  <c:v>0.16329358206739578</c:v>
                </c:pt>
                <c:pt idx="71" formatCode="0.0">
                  <c:v>0.20782819535850364</c:v>
                </c:pt>
                <c:pt idx="72" formatCode="0.0">
                  <c:v>0.19298332426146766</c:v>
                </c:pt>
                <c:pt idx="73" formatCode="0.0">
                  <c:v>0.1682418724330744</c:v>
                </c:pt>
                <c:pt idx="74" formatCode="0.0">
                  <c:v>0.21277648572418231</c:v>
                </c:pt>
                <c:pt idx="75" formatCode="0.0">
                  <c:v>0.21772477608986093</c:v>
                </c:pt>
                <c:pt idx="76" formatCode="0.0">
                  <c:v>0.22267306645553961</c:v>
                </c:pt>
                <c:pt idx="77" formatCode="0.0">
                  <c:v>0.18803503389578907</c:v>
                </c:pt>
                <c:pt idx="78" formatCode="0.0">
                  <c:v>0.20287990499282496</c:v>
                </c:pt>
                <c:pt idx="79" formatCode="0.0">
                  <c:v>0.20287990499282499</c:v>
                </c:pt>
                <c:pt idx="80" formatCode="0.0">
                  <c:v>0.22762135682121828</c:v>
                </c:pt>
                <c:pt idx="81" formatCode="0.0">
                  <c:v>0.32163887376911288</c:v>
                </c:pt>
                <c:pt idx="82" formatCode="0.0">
                  <c:v>0.37607006779157814</c:v>
                </c:pt>
                <c:pt idx="83" formatCode="0.0">
                  <c:v>0.38101835815725682</c:v>
                </c:pt>
                <c:pt idx="84" formatCode="0.0">
                  <c:v>0.46019100400811519</c:v>
                </c:pt>
                <c:pt idx="85" formatCode="0.0">
                  <c:v>0.48493245583650851</c:v>
                </c:pt>
                <c:pt idx="86" formatCode="0.0">
                  <c:v>0.47998416547082995</c:v>
                </c:pt>
                <c:pt idx="87" formatCode="0.0">
                  <c:v>0.51957048839625897</c:v>
                </c:pt>
                <c:pt idx="88" formatCode="0.0">
                  <c:v>0.43050126181404341</c:v>
                </c:pt>
                <c:pt idx="89" formatCode="0.0">
                  <c:v>0.41070810035132865</c:v>
                </c:pt>
                <c:pt idx="90" formatCode="0.0">
                  <c:v>0.43544955217972198</c:v>
                </c:pt>
                <c:pt idx="91" formatCode="0.0">
                  <c:v>0.45524271364243657</c:v>
                </c:pt>
                <c:pt idx="92" formatCode="0.0">
                  <c:v>0.40575980998565003</c:v>
                </c:pt>
                <c:pt idx="93" formatCode="0.0">
                  <c:v>0.41565639071700738</c:v>
                </c:pt>
                <c:pt idx="94" formatCode="0.0">
                  <c:v>0.48988074620218724</c:v>
                </c:pt>
                <c:pt idx="95" formatCode="0.0">
                  <c:v>0.53936364985897356</c:v>
                </c:pt>
                <c:pt idx="96" formatCode="0.0">
                  <c:v>0.66307090900094023</c:v>
                </c:pt>
                <c:pt idx="97" formatCode="0.0">
                  <c:v>0.68781236082933339</c:v>
                </c:pt>
                <c:pt idx="98" formatCode="0.0">
                  <c:v>0.92533029838190906</c:v>
                </c:pt>
                <c:pt idx="99" formatCode="0.0">
                  <c:v>1.024296105695482</c:v>
                </c:pt>
                <c:pt idx="100" formatCode="0.0">
                  <c:v>1.2024345588599135</c:v>
                </c:pt>
                <c:pt idx="101" formatCode="0.0">
                  <c:v>1.1034687515463406</c:v>
                </c:pt>
                <c:pt idx="102" formatCode="0.0">
                  <c:v>1.2024345588599135</c:v>
                </c:pt>
                <c:pt idx="103" formatCode="0.0">
                  <c:v>1.1776931070315206</c:v>
                </c:pt>
                <c:pt idx="104" formatCode="0.0">
                  <c:v>1.2865554950764511</c:v>
                </c:pt>
                <c:pt idx="105" formatCode="0.0">
                  <c:v>1.1677965263001633</c:v>
                </c:pt>
                <c:pt idx="106" formatCode="0.0">
                  <c:v>1.3904695927557025</c:v>
                </c:pt>
                <c:pt idx="107" formatCode="0.0">
                  <c:v>1.6180909495769213</c:v>
                </c:pt>
                <c:pt idx="108" formatCode="0.0">
                  <c:v>2.0337473402939286</c:v>
                </c:pt>
                <c:pt idx="109" formatCode="0.0">
                  <c:v>2.2762135682121833</c:v>
                </c:pt>
                <c:pt idx="110" formatCode="0.0">
                  <c:v>2.701766539660547</c:v>
                </c:pt>
                <c:pt idx="111" formatCode="0.0">
                  <c:v>2.9937156712355879</c:v>
                </c:pt>
                <c:pt idx="112" formatCode="0.0">
                  <c:v>3.4638032559750611</c:v>
                </c:pt>
                <c:pt idx="113" formatCode="0.0">
                  <c:v>3.8745113563263898</c:v>
                </c:pt>
                <c:pt idx="114" formatCode="0.0">
                  <c:v>4.502944232767577</c:v>
                </c:pt>
                <c:pt idx="115" formatCode="0.0">
                  <c:v>5.2501360779850543</c:v>
                </c:pt>
                <c:pt idx="116" formatCode="0.0">
                  <c:v>6.0171210846652485</c:v>
                </c:pt>
                <c:pt idx="117" formatCode="0.0">
                  <c:v>6.3041219258746102</c:v>
                </c:pt>
                <c:pt idx="118" formatCode="0.0">
                  <c:v>7.0612103518234459</c:v>
                </c:pt>
                <c:pt idx="119" formatCode="0.0">
                  <c:v>7.5214013558315589</c:v>
                </c:pt>
                <c:pt idx="120" formatCode="0.0">
                  <c:v>7.8529368103320296</c:v>
                </c:pt>
                <c:pt idx="121" formatCode="0.0">
                  <c:v>9.0949576921173723</c:v>
                </c:pt>
                <c:pt idx="122" formatCode="0.0">
                  <c:v>10.346875154634072</c:v>
                </c:pt>
                <c:pt idx="123" formatCode="0.0">
                  <c:v>11.395912712157951</c:v>
                </c:pt>
                <c:pt idx="124" formatCode="0.0">
                  <c:v>13.216883566727695</c:v>
                </c:pt>
                <c:pt idx="125" formatCode="0.0">
                  <c:v>13.993765154139245</c:v>
                </c:pt>
                <c:pt idx="126" formatCode="0.0">
                  <c:v>14.543025384729573</c:v>
                </c:pt>
                <c:pt idx="127" formatCode="0.0">
                  <c:v>16.339254787470932</c:v>
                </c:pt>
                <c:pt idx="128" formatCode="0.0">
                  <c:v>17.754465832055025</c:v>
                </c:pt>
                <c:pt idx="129" formatCode="0.0">
                  <c:v>20.134593497946469</c:v>
                </c:pt>
                <c:pt idx="130" formatCode="0.0">
                  <c:v>21.401355831560195</c:v>
                </c:pt>
                <c:pt idx="131" formatCode="0.0">
                  <c:v>23.598396753921516</c:v>
                </c:pt>
                <c:pt idx="132" formatCode="0.0">
                  <c:v>25.211539413132762</c:v>
                </c:pt>
                <c:pt idx="133" formatCode="0.0">
                  <c:v>26.616853876985505</c:v>
                </c:pt>
                <c:pt idx="134" formatCode="0.0">
                  <c:v>28.556583700331533</c:v>
                </c:pt>
                <c:pt idx="135" formatCode="0.0">
                  <c:v>30.337968231975847</c:v>
                </c:pt>
                <c:pt idx="136" formatCode="0.0">
                  <c:v>30.936711366222966</c:v>
                </c:pt>
                <c:pt idx="137" formatCode="0.0">
                  <c:v>32.203473699836692</c:v>
                </c:pt>
                <c:pt idx="138" formatCode="0.0">
                  <c:v>32.109456182888813</c:v>
                </c:pt>
                <c:pt idx="139" formatCode="0.0">
                  <c:v>32.139145925082886</c:v>
                </c:pt>
                <c:pt idx="140" formatCode="0.0">
                  <c:v>33.559305260032652</c:v>
                </c:pt>
                <c:pt idx="141" formatCode="0.0">
                  <c:v>34.019496264040761</c:v>
                </c:pt>
                <c:pt idx="142" formatCode="0.0">
                  <c:v>34.415359493295057</c:v>
                </c:pt>
                <c:pt idx="143" formatCode="0.0">
                  <c:v>33.252511257360574</c:v>
                </c:pt>
                <c:pt idx="144" formatCode="0.0">
                  <c:v>33.628581325152162</c:v>
                </c:pt>
                <c:pt idx="145" formatCode="0.0">
                  <c:v>32.742837349695677</c:v>
                </c:pt>
                <c:pt idx="146" formatCode="0.0">
                  <c:v>32.07976644069474</c:v>
                </c:pt>
                <c:pt idx="147" formatCode="0.0">
                  <c:v>30.674451976841997</c:v>
                </c:pt>
                <c:pt idx="148" formatCode="0.0">
                  <c:v>29.813449453213916</c:v>
                </c:pt>
                <c:pt idx="149" formatCode="0.0">
                  <c:v>28.328962343510319</c:v>
                </c:pt>
                <c:pt idx="150" formatCode="0.0">
                  <c:v>27.784650403285664</c:v>
                </c:pt>
                <c:pt idx="151" formatCode="0.0">
                  <c:v>26.889009847097824</c:v>
                </c:pt>
                <c:pt idx="152" formatCode="0.0">
                  <c:v>26.0824385174922</c:v>
                </c:pt>
                <c:pt idx="153" formatCode="0.0">
                  <c:v>25.750903062991732</c:v>
                </c:pt>
                <c:pt idx="154" formatCode="0.0">
                  <c:v>24.127863823049136</c:v>
                </c:pt>
                <c:pt idx="155" formatCode="0.0">
                  <c:v>21.50526992923945</c:v>
                </c:pt>
                <c:pt idx="156" formatCode="0.0">
                  <c:v>19.426987975654413</c:v>
                </c:pt>
                <c:pt idx="157" formatCode="0.0">
                  <c:v>19.595229848087481</c:v>
                </c:pt>
                <c:pt idx="158" formatCode="0.0">
                  <c:v>18.422485031421633</c:v>
                </c:pt>
                <c:pt idx="159" formatCode="0.0">
                  <c:v>17.319016279875299</c:v>
                </c:pt>
                <c:pt idx="160" formatCode="0.0">
                  <c:v>16.799445791479037</c:v>
                </c:pt>
                <c:pt idx="161" formatCode="0.0">
                  <c:v>16.745014597456578</c:v>
                </c:pt>
                <c:pt idx="162" formatCode="0.0">
                  <c:v>17.739620960957986</c:v>
                </c:pt>
                <c:pt idx="163" formatCode="0.0">
                  <c:v>17.893017962294032</c:v>
                </c:pt>
                <c:pt idx="164" formatCode="0.0">
                  <c:v>16.324409916373888</c:v>
                </c:pt>
                <c:pt idx="165" formatCode="0.0">
                  <c:v>15.616804394081845</c:v>
                </c:pt>
                <c:pt idx="166" formatCode="0.0">
                  <c:v>15.389183037260626</c:v>
                </c:pt>
                <c:pt idx="167" formatCode="0.0">
                  <c:v>15.156613390073728</c:v>
                </c:pt>
                <c:pt idx="168" formatCode="0.0">
                  <c:v>14.894354000692758</c:v>
                </c:pt>
                <c:pt idx="169" formatCode="0.0">
                  <c:v>13.939333960116778</c:v>
                </c:pt>
                <c:pt idx="170" formatCode="0.0">
                  <c:v>13.62759166707902</c:v>
                </c:pt>
                <c:pt idx="171" formatCode="0.0">
                  <c:v>12.895244692958585</c:v>
                </c:pt>
                <c:pt idx="172" formatCode="0.0">
                  <c:v>12.548864367361075</c:v>
                </c:pt>
                <c:pt idx="173" formatCode="0.0">
                  <c:v>12.751744272353903</c:v>
                </c:pt>
                <c:pt idx="174" formatCode="0.0">
                  <c:v>12.474640011875898</c:v>
                </c:pt>
                <c:pt idx="175" formatCode="0.0">
                  <c:v>12.479588302241577</c:v>
                </c:pt>
                <c:pt idx="176" formatCode="0.0">
                  <c:v>12.336087881636896</c:v>
                </c:pt>
                <c:pt idx="177" formatCode="0.0">
                  <c:v>12.123311395912708</c:v>
                </c:pt>
                <c:pt idx="178" formatCode="0.0">
                  <c:v>12.12331139591271</c:v>
                </c:pt>
                <c:pt idx="179" formatCode="0.0">
                  <c:v>11.524568261665593</c:v>
                </c:pt>
                <c:pt idx="180" formatCode="0.0">
                  <c:v>11.00499777326934</c:v>
                </c:pt>
                <c:pt idx="181" formatCode="0.0">
                  <c:v>10.381513187193825</c:v>
                </c:pt>
                <c:pt idx="182" formatCode="0.0">
                  <c:v>10.040081151961997</c:v>
                </c:pt>
                <c:pt idx="183" formatCode="0.0">
                  <c:v>9.8124597951407821</c:v>
                </c:pt>
                <c:pt idx="184" formatCode="0.0">
                  <c:v>9.7134939878272064</c:v>
                </c:pt>
                <c:pt idx="185" formatCode="0.0">
                  <c:v>10.183581572566681</c:v>
                </c:pt>
                <c:pt idx="186" formatCode="0.0">
                  <c:v>10.480478994507399</c:v>
                </c:pt>
                <c:pt idx="187" formatCode="0.0">
                  <c:v>10.361720025731112</c:v>
                </c:pt>
                <c:pt idx="188" formatCode="0.0">
                  <c:v>10.559651640358254</c:v>
                </c:pt>
                <c:pt idx="189" formatCode="0.0">
                  <c:v>10.396358058290861</c:v>
                </c:pt>
                <c:pt idx="190" formatCode="0.0">
                  <c:v>10.6190311247464</c:v>
                </c:pt>
                <c:pt idx="191" formatCode="0.0">
                  <c:v>10.930773417784152</c:v>
                </c:pt>
                <c:pt idx="192" formatCode="0.0">
                  <c:v>10.51511702706715</c:v>
                </c:pt>
                <c:pt idx="193" formatCode="0.0">
                  <c:v>10.747686674254044</c:v>
                </c:pt>
                <c:pt idx="194" formatCode="0.0">
                  <c:v>10.698203770597257</c:v>
                </c:pt>
                <c:pt idx="195" formatCode="0.0">
                  <c:v>10.742738383888366</c:v>
                </c:pt>
                <c:pt idx="196" formatCode="0.0">
                  <c:v>11.682913553367312</c:v>
                </c:pt>
                <c:pt idx="197" formatCode="0.0">
                  <c:v>11.58394774605374</c:v>
                </c:pt>
                <c:pt idx="198" formatCode="0.0">
                  <c:v>11.44044732544906</c:v>
                </c:pt>
                <c:pt idx="199" formatCode="0.0">
                  <c:v>11.395912712157951</c:v>
                </c:pt>
                <c:pt idx="200" formatCode="0.0">
                  <c:v>10.396358058290861</c:v>
                </c:pt>
                <c:pt idx="201" formatCode="0.0">
                  <c:v>10.346875154634072</c:v>
                </c:pt>
                <c:pt idx="202" formatCode="0.0">
                  <c:v>10.183581572566681</c:v>
                </c:pt>
                <c:pt idx="203" formatCode="0.0">
                  <c:v>9.6095798901479554</c:v>
                </c:pt>
                <c:pt idx="204" formatCode="0.0">
                  <c:v>9.9163738928200278</c:v>
                </c:pt>
                <c:pt idx="205" formatCode="0.0">
                  <c:v>9.7134939878272046</c:v>
                </c:pt>
                <c:pt idx="206" formatCode="0.0">
                  <c:v>9.8866841506259586</c:v>
                </c:pt>
                <c:pt idx="207" formatCode="0.0">
                  <c:v>10.940669998515514</c:v>
                </c:pt>
                <c:pt idx="208" formatCode="0.0">
                  <c:v>11.257360581918945</c:v>
                </c:pt>
                <c:pt idx="209" formatCode="0.0">
                  <c:v>11.445395615814736</c:v>
                </c:pt>
                <c:pt idx="210" formatCode="0.0">
                  <c:v>11.415705873620668</c:v>
                </c:pt>
                <c:pt idx="211" formatCode="0.0">
                  <c:v>11.494878519471522</c:v>
                </c:pt>
                <c:pt idx="212" formatCode="0.0">
                  <c:v>11.712603295561387</c:v>
                </c:pt>
                <c:pt idx="213" formatCode="0.0">
                  <c:v>11.331584937404129</c:v>
                </c:pt>
                <c:pt idx="214" formatCode="0.0">
                  <c:v>12.192587461032215</c:v>
                </c:pt>
                <c:pt idx="215" formatCode="0.0">
                  <c:v>12.113414815181356</c:v>
                </c:pt>
                <c:pt idx="216" formatCode="0.0">
                  <c:v>11.955069523479638</c:v>
                </c:pt>
                <c:pt idx="217" formatCode="0.0">
                  <c:v>12.736899401256863</c:v>
                </c:pt>
                <c:pt idx="218" formatCode="0.0">
                  <c:v>12.46969172151022</c:v>
                </c:pt>
                <c:pt idx="219" formatCode="0.0">
                  <c:v>12.291553268345789</c:v>
                </c:pt>
                <c:pt idx="220" formatCode="0.0">
                  <c:v>13.004107081003513</c:v>
                </c:pt>
                <c:pt idx="221" formatCode="0.0">
                  <c:v>12.573605819189472</c:v>
                </c:pt>
                <c:pt idx="222" formatCode="0.0">
                  <c:v>12.534019496264039</c:v>
                </c:pt>
                <c:pt idx="223" formatCode="0.0">
                  <c:v>12.870503241130193</c:v>
                </c:pt>
                <c:pt idx="224" formatCode="0.0">
                  <c:v>12.167846009203821</c:v>
                </c:pt>
                <c:pt idx="225" formatCode="0.0">
                  <c:v>12.113414815181354</c:v>
                </c:pt>
                <c:pt idx="226" formatCode="0.0">
                  <c:v>12.489484882972935</c:v>
                </c:pt>
                <c:pt idx="227" formatCode="0.0">
                  <c:v>11.979810975308032</c:v>
                </c:pt>
                <c:pt idx="228" formatCode="0.0">
                  <c:v>10.945618288881192</c:v>
                </c:pt>
                <c:pt idx="229" formatCode="0.0">
                  <c:v>11.039635805829091</c:v>
                </c:pt>
                <c:pt idx="230" formatCode="0.0">
                  <c:v>10.708100351328616</c:v>
                </c:pt>
                <c:pt idx="231" formatCode="0.0">
                  <c:v>10.490375575238755</c:v>
                </c:pt>
                <c:pt idx="232" formatCode="0.0">
                  <c:v>9.6887525359988125</c:v>
                </c:pt>
                <c:pt idx="233" formatCode="0.0">
                  <c:v>9.1741303379682346</c:v>
                </c:pt>
                <c:pt idx="234" formatCode="0.0">
                  <c:v>8.5654906229897581</c:v>
                </c:pt>
                <c:pt idx="235" formatCode="0.0">
                  <c:v>7.9964372309367109</c:v>
                </c:pt>
                <c:pt idx="236" formatCode="0.0">
                  <c:v>7.140382997674303</c:v>
                </c:pt>
                <c:pt idx="237" formatCode="0.0">
                  <c:v>6.6059676381810073</c:v>
                </c:pt>
                <c:pt idx="238" formatCode="0.0">
                  <c:v>6.1606215052699298</c:v>
                </c:pt>
                <c:pt idx="239" formatCode="0.0">
                  <c:v>6.106190311247464</c:v>
                </c:pt>
                <c:pt idx="240" formatCode="0.0">
                  <c:v>5.3095155623731989</c:v>
                </c:pt>
                <c:pt idx="241" formatCode="0.0">
                  <c:v>4.8394279776337275</c:v>
                </c:pt>
                <c:pt idx="242" formatCode="0.0">
                  <c:v>4.5524271364243658</c:v>
                </c:pt>
                <c:pt idx="243" formatCode="0.0">
                  <c:v>4.3396506507001833</c:v>
                </c:pt>
                <c:pt idx="244" formatCode="0.0">
                  <c:v>4.0427532287594623</c:v>
                </c:pt>
                <c:pt idx="245" formatCode="0.0">
                  <c:v>3.8101835815725669</c:v>
                </c:pt>
                <c:pt idx="246" formatCode="0.0">
                  <c:v>3.4143203523182741</c:v>
                </c:pt>
                <c:pt idx="247" formatCode="0.0">
                  <c:v>2.9640259290415152</c:v>
                </c:pt>
                <c:pt idx="248" formatCode="0.0">
                  <c:v>2.7908357662427639</c:v>
                </c:pt>
                <c:pt idx="249" formatCode="0.0">
                  <c:v>2.6225938938096887</c:v>
                </c:pt>
                <c:pt idx="250" formatCode="0.0">
                  <c:v>2.3900242466227932</c:v>
                </c:pt>
                <c:pt idx="251" formatCode="0.0">
                  <c:v>2.2663169874808253</c:v>
                </c:pt>
                <c:pt idx="252" formatCode="0.0">
                  <c:v>2.3059033104062543</c:v>
                </c:pt>
                <c:pt idx="253" formatCode="0.0">
                  <c:v>2.21188579345836</c:v>
                </c:pt>
                <c:pt idx="254" formatCode="0.0">
                  <c:v>1.9694195655401061</c:v>
                </c:pt>
                <c:pt idx="255" formatCode="0.0">
                  <c:v>1.8754020485922118</c:v>
                </c:pt>
                <c:pt idx="256" formatCode="0.0">
                  <c:v>1.7764362412786381</c:v>
                </c:pt>
                <c:pt idx="257" formatCode="0.0">
                  <c:v>1.7220050472561732</c:v>
                </c:pt>
                <c:pt idx="258" formatCode="0.0">
                  <c:v>1.6972635954277797</c:v>
                </c:pt>
                <c:pt idx="259" formatCode="0.0">
                  <c:v>1.5488148844574199</c:v>
                </c:pt>
                <c:pt idx="260" formatCode="0.0">
                  <c:v>1.3805730120243458</c:v>
                </c:pt>
                <c:pt idx="261" formatCode="0.0">
                  <c:v>1.4696422386065617</c:v>
                </c:pt>
                <c:pt idx="262" formatCode="0.0">
                  <c:v>1.3805730120243458</c:v>
                </c:pt>
                <c:pt idx="263" formatCode="0.0">
                  <c:v>1.2519174625167007</c:v>
                </c:pt>
                <c:pt idx="264" formatCode="0.0">
                  <c:v>1.2271760106883072</c:v>
                </c:pt>
                <c:pt idx="265" formatCode="0.0">
                  <c:v>1.1578999455688059</c:v>
                </c:pt>
                <c:pt idx="266" formatCode="0.0">
                  <c:v>1.21727942995695</c:v>
                </c:pt>
                <c:pt idx="267" formatCode="0.0">
                  <c:v>1.3310901083675593</c:v>
                </c:pt>
                <c:pt idx="268" formatCode="0.0">
                  <c:v>1.2915037854421296</c:v>
                </c:pt>
                <c:pt idx="269" formatCode="0.0">
                  <c:v>1.4894354000692758</c:v>
                </c:pt>
                <c:pt idx="270" formatCode="0.0">
                  <c:v>1.5884012073828491</c:v>
                </c:pt>
                <c:pt idx="271" formatCode="0.0">
                  <c:v>1.6675738532337077</c:v>
                </c:pt>
                <c:pt idx="272" formatCode="0.0">
                  <c:v>1.7615913701816017</c:v>
                </c:pt>
                <c:pt idx="273" formatCode="0.0">
                  <c:v>1.7764362412786379</c:v>
                </c:pt>
                <c:pt idx="274" formatCode="0.0">
                  <c:v>1.9100400811519622</c:v>
                </c:pt>
                <c:pt idx="275" formatCode="0.0">
                  <c:v>1.9842644366371418</c:v>
                </c:pt>
                <c:pt idx="276" formatCode="0.0">
                  <c:v>1.9397298233460338</c:v>
                </c:pt>
                <c:pt idx="277" formatCode="0.0">
                  <c:v>2.1624028898015735</c:v>
                </c:pt>
                <c:pt idx="278" formatCode="0.0">
                  <c:v>2.3108516007719331</c:v>
                </c:pt>
                <c:pt idx="279" formatCode="0.0">
                  <c:v>2.2762135682121833</c:v>
                </c:pt>
                <c:pt idx="280" formatCode="0.0">
                  <c:v>2.4543520213766143</c:v>
                </c:pt>
                <c:pt idx="281" formatCode="0.0">
                  <c:v>2.4741451828393286</c:v>
                </c:pt>
                <c:pt idx="282" formatCode="0.0">
                  <c:v>2.5731109901529026</c:v>
                </c:pt>
                <c:pt idx="283" formatCode="0.0">
                  <c:v>2.6077490227126536</c:v>
                </c:pt>
                <c:pt idx="284" formatCode="0.0">
                  <c:v>2.9244396061160871</c:v>
                </c:pt>
                <c:pt idx="285" formatCode="0.0">
                  <c:v>3.1619575436686631</c:v>
                </c:pt>
                <c:pt idx="286" formatCode="0.0">
                  <c:v>3.4143203523182741</c:v>
                </c:pt>
                <c:pt idx="287" formatCode="0.0">
                  <c:v>4.4138750061853624</c:v>
                </c:pt>
                <c:pt idx="288" formatCode="0.0">
                  <c:v>5.4233262407838092</c:v>
                </c:pt>
                <c:pt idx="289" formatCode="0.0">
                  <c:v>6.432777475382256</c:v>
                </c:pt>
                <c:pt idx="290" formatCode="0.0">
                  <c:v>7.0018308674352996</c:v>
                </c:pt>
                <c:pt idx="291" formatCode="0.0">
                  <c:v>6.6950368647632246</c:v>
                </c:pt>
                <c:pt idx="292" formatCode="0.0">
                  <c:v>6.5020535405017563</c:v>
                </c:pt>
                <c:pt idx="293" formatCode="0.0">
                  <c:v>6.6208125092780437</c:v>
                </c:pt>
                <c:pt idx="294" formatCode="0.0">
                  <c:v>5.78455143747835</c:v>
                </c:pt>
                <c:pt idx="295" formatCode="0.0">
                  <c:v>5.8884655351576027</c:v>
                </c:pt>
                <c:pt idx="296" formatCode="0.0">
                  <c:v>6.314018506605966</c:v>
                </c:pt>
                <c:pt idx="297" formatCode="0.0">
                  <c:v>7.1354347073086251</c:v>
                </c:pt>
                <c:pt idx="298" formatCode="0.0">
                  <c:v>8.2240585877579289</c:v>
                </c:pt>
                <c:pt idx="299" formatCode="0.0">
                  <c:v>8.7238359146914739</c:v>
                </c:pt>
                <c:pt idx="300" formatCode="0.0">
                  <c:v>9.2335098223563747</c:v>
                </c:pt>
                <c:pt idx="301" formatCode="0.0">
                  <c:v>9.9312187639170642</c:v>
                </c:pt>
                <c:pt idx="302" formatCode="0.0">
                  <c:v>10.50027215597011</c:v>
                </c:pt>
                <c:pt idx="303" formatCode="0.0">
                  <c:v>11.158394774605373</c:v>
                </c:pt>
                <c:pt idx="304" formatCode="0.0">
                  <c:v>12.336087881636894</c:v>
                </c:pt>
                <c:pt idx="305" formatCode="0.0">
                  <c:v>13.785936958780743</c:v>
                </c:pt>
                <c:pt idx="306" formatCode="0.0">
                  <c:v>15.963184719679353</c:v>
                </c:pt>
                <c:pt idx="307" formatCode="0.0">
                  <c:v>17.799000445346127</c:v>
                </c:pt>
                <c:pt idx="308" formatCode="0.0">
                  <c:v>17.813845316443174</c:v>
                </c:pt>
                <c:pt idx="309" formatCode="0.0">
                  <c:v>18.471967935078432</c:v>
                </c:pt>
                <c:pt idx="310" formatCode="0.0">
                  <c:v>18.966796971646289</c:v>
                </c:pt>
                <c:pt idx="311" formatCode="0.0">
                  <c:v>19.11524568261666</c:v>
                </c:pt>
                <c:pt idx="312" formatCode="0.0">
                  <c:v>19.332970458706523</c:v>
                </c:pt>
                <c:pt idx="313" formatCode="0.0">
                  <c:v>18.561037161660643</c:v>
                </c:pt>
                <c:pt idx="314" formatCode="0.0">
                  <c:v>17.586223959621943</c:v>
                </c:pt>
                <c:pt idx="315" formatCode="0.0">
                  <c:v>18.090949576921165</c:v>
                </c:pt>
                <c:pt idx="316" formatCode="0.0">
                  <c:v>17.774258993517737</c:v>
                </c:pt>
                <c:pt idx="317" formatCode="0.0">
                  <c:v>17.1804641496363</c:v>
                </c:pt>
                <c:pt idx="318" formatCode="0.0">
                  <c:v>16.487703498441284</c:v>
                </c:pt>
                <c:pt idx="319" formatCode="0.0">
                  <c:v>16.250185560888717</c:v>
                </c:pt>
                <c:pt idx="320" formatCode="0.0">
                  <c:v>16.235340689791673</c:v>
                </c:pt>
                <c:pt idx="321" formatCode="0.0">
                  <c:v>15.96813301004503</c:v>
                </c:pt>
                <c:pt idx="322" formatCode="0.0">
                  <c:v>15.715770201395417</c:v>
                </c:pt>
                <c:pt idx="323" formatCode="0.0">
                  <c:v>15.493097134939879</c:v>
                </c:pt>
                <c:pt idx="324" formatCode="0.0">
                  <c:v>15.220941164827549</c:v>
                </c:pt>
                <c:pt idx="325" formatCode="0.0">
                  <c:v>14.57766341728933</c:v>
                </c:pt>
                <c:pt idx="326" formatCode="0.0">
                  <c:v>13.23172843782473</c:v>
                </c:pt>
                <c:pt idx="327" formatCode="0.0">
                  <c:v>12.306398139442821</c:v>
                </c:pt>
                <c:pt idx="328" formatCode="0.0">
                  <c:v>11.628482359344849</c:v>
                </c:pt>
                <c:pt idx="329" formatCode="0.0">
                  <c:v>10.88623880449305</c:v>
                </c:pt>
                <c:pt idx="330" formatCode="0.0">
                  <c:v>9.7085456974615258</c:v>
                </c:pt>
                <c:pt idx="331" formatCode="0.0">
                  <c:v>8.3675590083626137</c:v>
                </c:pt>
                <c:pt idx="332" formatCode="0.0">
                  <c:v>7.8479885199663499</c:v>
                </c:pt>
                <c:pt idx="333" formatCode="0.0">
                  <c:v>7.1997624820624484</c:v>
                </c:pt>
                <c:pt idx="334" formatCode="0.0">
                  <c:v>6.5911227670839718</c:v>
                </c:pt>
                <c:pt idx="335" formatCode="0.0">
                  <c:v>6.0913454401504286</c:v>
                </c:pt>
                <c:pt idx="336" formatCode="0.0">
                  <c:v>5.8587757929635327</c:v>
                </c:pt>
                <c:pt idx="337" formatCode="0.0">
                  <c:v>5.9577416002771049</c:v>
                </c:pt>
                <c:pt idx="338" formatCode="0.0">
                  <c:v>6.185362957098322</c:v>
                </c:pt>
                <c:pt idx="339" formatCode="0.0">
                  <c:v>5.7697065663813145</c:v>
                </c:pt>
                <c:pt idx="340" formatCode="0.0">
                  <c:v>5.502498886634668</c:v>
                </c:pt>
                <c:pt idx="341" formatCode="0.0">
                  <c:v>5.1808600128655558</c:v>
                </c:pt>
                <c:pt idx="342" formatCode="0.0">
                  <c:v>5.0670493344549454</c:v>
                </c:pt>
                <c:pt idx="343" formatCode="0.0">
                  <c:v>4.7454104606858314</c:v>
                </c:pt>
                <c:pt idx="344" formatCode="0.0">
                  <c:v>4.1813053589984657</c:v>
                </c:pt>
                <c:pt idx="345" formatCode="0.0">
                  <c:v>3.9685288732742836</c:v>
                </c:pt>
                <c:pt idx="346" formatCode="0.0">
                  <c:v>3.7211143549903514</c:v>
                </c:pt>
                <c:pt idx="347" formatCode="0.0">
                  <c:v>3.7013211935276362</c:v>
                </c:pt>
                <c:pt idx="348" formatCode="0.0">
                  <c:v>3.6716314513335639</c:v>
                </c:pt>
                <c:pt idx="349" formatCode="0.0">
                  <c:v>3.5924588054827056</c:v>
                </c:pt>
                <c:pt idx="350" formatCode="0.0">
                  <c:v>3.7062694838933146</c:v>
                </c:pt>
                <c:pt idx="351" formatCode="0.0">
                  <c:v>3.7854421297441734</c:v>
                </c:pt>
                <c:pt idx="352" formatCode="0.0">
                  <c:v>3.6518382898708492</c:v>
                </c:pt>
                <c:pt idx="353" formatCode="0.0">
                  <c:v>3.6864763224306003</c:v>
                </c:pt>
                <c:pt idx="354" formatCode="0.0">
                  <c:v>3.3796823197585226</c:v>
                </c:pt>
                <c:pt idx="355" formatCode="0.0">
                  <c:v>3.2906130931763076</c:v>
                </c:pt>
                <c:pt idx="356" formatCode="0.0">
                  <c:v>3.2856648028106292</c:v>
                </c:pt>
                <c:pt idx="357" formatCode="0.0">
                  <c:v>3.3104062546390227</c:v>
                </c:pt>
                <c:pt idx="358" formatCode="0.0">
                  <c:v>3.0877331881834831</c:v>
                </c:pt>
                <c:pt idx="359" formatCode="0.0">
                  <c:v>2.9788708001385524</c:v>
                </c:pt>
                <c:pt idx="360" formatCode="0.0">
                  <c:v>2.9145430253847286</c:v>
                </c:pt>
                <c:pt idx="361" formatCode="0.0">
                  <c:v>2.8502152506309066</c:v>
                </c:pt>
                <c:pt idx="362" formatCode="0.0">
                  <c:v>2.9541293483101589</c:v>
                </c:pt>
                <c:pt idx="363" formatCode="0.0">
                  <c:v>2.8056806373397984</c:v>
                </c:pt>
                <c:pt idx="364" formatCode="0.0">
                  <c:v>3.0333019941610178</c:v>
                </c:pt>
                <c:pt idx="365" formatCode="0.0">
                  <c:v>3.2609233509822362</c:v>
                </c:pt>
                <c:pt idx="366" formatCode="0.0">
                  <c:v>3.3697857390271655</c:v>
                </c:pt>
                <c:pt idx="367" formatCode="0.0">
                  <c:v>3.3945271908555594</c:v>
                </c:pt>
                <c:pt idx="368" formatCode="0.0">
                  <c:v>3.7359592260873877</c:v>
                </c:pt>
                <c:pt idx="369" formatCode="0.0">
                  <c:v>3.7211143549903518</c:v>
                </c:pt>
                <c:pt idx="370" formatCode="0.0">
                  <c:v>3.9140976792518183</c:v>
                </c:pt>
                <c:pt idx="371" formatCode="0.0">
                  <c:v>3.7260626453560297</c:v>
                </c:pt>
                <c:pt idx="372" formatCode="0.0">
                  <c:v>3.7260626453560297</c:v>
                </c:pt>
                <c:pt idx="373" formatCode="0.0">
                  <c:v>3.7161660646246721</c:v>
                </c:pt>
                <c:pt idx="374" formatCode="0.0">
                  <c:v>3.9289425503488542</c:v>
                </c:pt>
                <c:pt idx="375" formatCode="0.0">
                  <c:v>3.7804938393784946</c:v>
                </c:pt>
                <c:pt idx="376" formatCode="0.0">
                  <c:v>3.7161660646246717</c:v>
                </c:pt>
                <c:pt idx="377" formatCode="0.0">
                  <c:v>3.8101835815725669</c:v>
                </c:pt>
                <c:pt idx="378" formatCode="0.0">
                  <c:v>3.8002870008412097</c:v>
                </c:pt>
                <c:pt idx="379" formatCode="0.0">
                  <c:v>3.5974070958483848</c:v>
                </c:pt>
                <c:pt idx="380" formatCode="0.0">
                  <c:v>3.7607006779157799</c:v>
                </c:pt>
                <c:pt idx="381" formatCode="0.0">
                  <c:v>3.8398733237666383</c:v>
                </c:pt>
                <c:pt idx="382" formatCode="0.0">
                  <c:v>3.9289425503488542</c:v>
                </c:pt>
                <c:pt idx="383" formatCode="0.0">
                  <c:v>4.1615121975357496</c:v>
                </c:pt>
                <c:pt idx="384" formatCode="0.0">
                  <c:v>4.1417190360730363</c:v>
                </c:pt>
                <c:pt idx="385" formatCode="0.0">
                  <c:v>4.1912019397298232</c:v>
                </c:pt>
                <c:pt idx="386" formatCode="0.0">
                  <c:v>4.5672720075214004</c:v>
                </c:pt>
                <c:pt idx="387" formatCode="0.0">
                  <c:v>3.9685288732742832</c:v>
                </c:pt>
                <c:pt idx="388" formatCode="0.0">
                  <c:v>3.7607006779157812</c:v>
                </c:pt>
                <c:pt idx="389" formatCode="0.0">
                  <c:v>3.6320451284081341</c:v>
                </c:pt>
                <c:pt idx="390" formatCode="0.0">
                  <c:v>3.3005096739076643</c:v>
                </c:pt>
                <c:pt idx="391" formatCode="0.0">
                  <c:v>3.2708199317135924</c:v>
                </c:pt>
                <c:pt idx="392" formatCode="0.0">
                  <c:v>3.1372160918402687</c:v>
                </c:pt>
                <c:pt idx="393" formatCode="0.0">
                  <c:v>2.8007323469741201</c:v>
                </c:pt>
                <c:pt idx="394" formatCode="0.0">
                  <c:v>3.3450442871987724</c:v>
                </c:pt>
                <c:pt idx="395" formatCode="0.0">
                  <c:v>3.5281310307288831</c:v>
                </c:pt>
                <c:pt idx="396" formatCode="0.0">
                  <c:v>3.9685288732742832</c:v>
                </c:pt>
                <c:pt idx="397" formatCode="0.0">
                  <c:v>4.42377158691672</c:v>
                </c:pt>
                <c:pt idx="398" formatCode="0.0">
                  <c:v>4.527685684595971</c:v>
                </c:pt>
                <c:pt idx="399" formatCode="0.0">
                  <c:v>5.0274630115295169</c:v>
                </c:pt>
                <c:pt idx="400" formatCode="0.0">
                  <c:v>5.7796031471126748</c:v>
                </c:pt>
                <c:pt idx="401" formatCode="0.0">
                  <c:v>6.0319659557622849</c:v>
                </c:pt>
                <c:pt idx="402" formatCode="0.0">
                  <c:v>6.2942253451432526</c:v>
                </c:pt>
                <c:pt idx="403" formatCode="0.0">
                  <c:v>6.4624672175763269</c:v>
                </c:pt>
                <c:pt idx="404" formatCode="0.0">
                  <c:v>6.5366915730615069</c:v>
                </c:pt>
                <c:pt idx="405" formatCode="0.0">
                  <c:v>7.0067791578009793</c:v>
                </c:pt>
                <c:pt idx="406" formatCode="0.0">
                  <c:v>6.9127616408530859</c:v>
                </c:pt>
                <c:pt idx="407" formatCode="0.0">
                  <c:v>6.8137958335395101</c:v>
                </c:pt>
                <c:pt idx="408" formatCode="0.0">
                  <c:v>6.8385372853679058</c:v>
                </c:pt>
                <c:pt idx="409" formatCode="0.0">
                  <c:v>7.5461428076599528</c:v>
                </c:pt>
                <c:pt idx="410" formatCode="0.0">
                  <c:v>7.9321094561828884</c:v>
                </c:pt>
                <c:pt idx="411" formatCode="0.0">
                  <c:v>8.313127814340147</c:v>
                </c:pt>
                <c:pt idx="412" formatCode="0.0">
                  <c:v>8.6793013014003648</c:v>
                </c:pt>
                <c:pt idx="413" formatCode="0.0">
                  <c:v>8.9267158196843024</c:v>
                </c:pt>
                <c:pt idx="414" formatCode="0.0">
                  <c:v>9.0454747884605844</c:v>
                </c:pt>
                <c:pt idx="415" formatCode="0.0">
                  <c:v>9.1394923054084831</c:v>
                </c:pt>
                <c:pt idx="416" formatCode="0.0">
                  <c:v>9.0009401751694806</c:v>
                </c:pt>
                <c:pt idx="417" formatCode="0.0">
                  <c:v>9.203820080162302</c:v>
                </c:pt>
                <c:pt idx="418" formatCode="0.0">
                  <c:v>9.3374239200356257</c:v>
                </c:pt>
                <c:pt idx="419" formatCode="0.0">
                  <c:v>8.92176752931862</c:v>
                </c:pt>
                <c:pt idx="420" formatCode="0.0">
                  <c:v>9.3374239200356275</c:v>
                </c:pt>
                <c:pt idx="421" formatCode="0.0">
                  <c:v>10.163788411103965</c:v>
                </c:pt>
                <c:pt idx="422" formatCode="0.0">
                  <c:v>11.17818793606809</c:v>
                </c:pt>
                <c:pt idx="423" formatCode="0.0">
                  <c:v>11.583947746053738</c:v>
                </c:pt>
                <c:pt idx="424" formatCode="0.0">
                  <c:v>11.712603295561383</c:v>
                </c:pt>
                <c:pt idx="425" formatCode="0.0">
                  <c:v>11.856103716166066</c:v>
                </c:pt>
                <c:pt idx="426" formatCode="0.0">
                  <c:v>12.039190459696172</c:v>
                </c:pt>
                <c:pt idx="427" formatCode="0.0">
                  <c:v>12.232173783957638</c:v>
                </c:pt>
                <c:pt idx="428" formatCode="0.0">
                  <c:v>12.697313078331435</c:v>
                </c:pt>
                <c:pt idx="429" formatCode="0.0">
                  <c:v>12.984313919540799</c:v>
                </c:pt>
                <c:pt idx="430" formatCode="0.0">
                  <c:v>13.137710920876836</c:v>
                </c:pt>
                <c:pt idx="431" formatCode="0.0">
                  <c:v>13.444504923548916</c:v>
                </c:pt>
                <c:pt idx="432" formatCode="0.0">
                  <c:v>13.706764312929884</c:v>
                </c:pt>
                <c:pt idx="433" formatCode="0.0">
                  <c:v>14.350042060468111</c:v>
                </c:pt>
                <c:pt idx="434" formatCode="0.0">
                  <c:v>14.731060418625365</c:v>
                </c:pt>
                <c:pt idx="435" formatCode="0.0">
                  <c:v>14.186748478400714</c:v>
                </c:pt>
                <c:pt idx="436" formatCode="0.0">
                  <c:v>14.12242070364689</c:v>
                </c:pt>
                <c:pt idx="437" formatCode="0.0">
                  <c:v>14.330248899005396</c:v>
                </c:pt>
                <c:pt idx="438" formatCode="0.0">
                  <c:v>14.750853580088078</c:v>
                </c:pt>
                <c:pt idx="439" formatCode="0.0">
                  <c:v>14.706318966796969</c:v>
                </c:pt>
                <c:pt idx="440" formatCode="0.0">
                  <c:v>14.587559998020685</c:v>
                </c:pt>
                <c:pt idx="441" formatCode="0.0">
                  <c:v>14.849819387401652</c:v>
                </c:pt>
                <c:pt idx="442" formatCode="0.0">
                  <c:v>15.740511653223811</c:v>
                </c:pt>
                <c:pt idx="443" formatCode="0.0">
                  <c:v>16.19575436686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FA96-4795-8581-791AAA8989B0}"/>
            </c:ext>
          </c:extLst>
        </c:ser>
        <c:ser>
          <c:idx val="7"/>
          <c:order val="8"/>
          <c:tx>
            <c:v>Northern Cape</c:v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M$5:$CM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0</c:v>
                </c:pt>
                <c:pt idx="11" formatCode="0.0">
                  <c:v>0</c:v>
                </c:pt>
                <c:pt idx="12" formatCode="0.0">
                  <c:v>0</c:v>
                </c:pt>
                <c:pt idx="13" formatCode="0.0">
                  <c:v>2.2603978300180835E-2</c:v>
                </c:pt>
                <c:pt idx="14" formatCode="0.0">
                  <c:v>2.2603978300180835E-2</c:v>
                </c:pt>
                <c:pt idx="15" formatCode="0.0">
                  <c:v>2.2603978300180835E-2</c:v>
                </c:pt>
                <c:pt idx="16" formatCode="0.0">
                  <c:v>2.2603978300180835E-2</c:v>
                </c:pt>
                <c:pt idx="17" formatCode="0.0">
                  <c:v>2.2603978300180835E-2</c:v>
                </c:pt>
                <c:pt idx="18" formatCode="0.0">
                  <c:v>5.6509945750452067E-2</c:v>
                </c:pt>
                <c:pt idx="19" formatCode="0.0">
                  <c:v>6.781193490054252E-2</c:v>
                </c:pt>
                <c:pt idx="20" formatCode="0.0">
                  <c:v>1.1301989150090414E-2</c:v>
                </c:pt>
                <c:pt idx="21" formatCode="0.0">
                  <c:v>4.5207956600361664E-2</c:v>
                </c:pt>
                <c:pt idx="22" formatCode="0.0">
                  <c:v>5.6509945750452061E-2</c:v>
                </c:pt>
                <c:pt idx="23" formatCode="0.0">
                  <c:v>5.6509945750452061E-2</c:v>
                </c:pt>
                <c:pt idx="24" formatCode="0.0">
                  <c:v>5.6509945750452061E-2</c:v>
                </c:pt>
                <c:pt idx="25" formatCode="0.0">
                  <c:v>2.2603978300180832E-2</c:v>
                </c:pt>
                <c:pt idx="26" formatCode="0.0">
                  <c:v>2.2603978300180835E-2</c:v>
                </c:pt>
                <c:pt idx="27" formatCode="0.0">
                  <c:v>5.6509945750452061E-2</c:v>
                </c:pt>
                <c:pt idx="28" formatCode="0.0">
                  <c:v>-6.781193490054252E-2</c:v>
                </c:pt>
                <c:pt idx="29" formatCode="0.0">
                  <c:v>6.781193490054252E-2</c:v>
                </c:pt>
                <c:pt idx="30" formatCode="0.0">
                  <c:v>9.0415913200723314E-2</c:v>
                </c:pt>
                <c:pt idx="31" formatCode="0.0">
                  <c:v>9.0415913200723314E-2</c:v>
                </c:pt>
                <c:pt idx="32" formatCode="0.0">
                  <c:v>0.10171790235081371</c:v>
                </c:pt>
                <c:pt idx="33" formatCode="0.0">
                  <c:v>9.0415913200723314E-2</c:v>
                </c:pt>
                <c:pt idx="34" formatCode="0.0">
                  <c:v>9.0415913200723314E-2</c:v>
                </c:pt>
                <c:pt idx="35" formatCode="0.0">
                  <c:v>0.18083182640144665</c:v>
                </c:pt>
                <c:pt idx="36" formatCode="0.0">
                  <c:v>3.3905967450271253E-2</c:v>
                </c:pt>
                <c:pt idx="37" formatCode="0.0">
                  <c:v>1.1301989150090416E-2</c:v>
                </c:pt>
                <c:pt idx="38" formatCode="0.0">
                  <c:v>1.1301989150090416E-2</c:v>
                </c:pt>
                <c:pt idx="39" formatCode="0.0">
                  <c:v>0</c:v>
                </c:pt>
                <c:pt idx="40" formatCode="0.0">
                  <c:v>0</c:v>
                </c:pt>
                <c:pt idx="41" formatCode="0.0">
                  <c:v>2.2603978300180835E-2</c:v>
                </c:pt>
                <c:pt idx="42" formatCode="0.0">
                  <c:v>0</c:v>
                </c:pt>
                <c:pt idx="43" formatCode="0.0">
                  <c:v>0</c:v>
                </c:pt>
                <c:pt idx="44" formatCode="0.0">
                  <c:v>0</c:v>
                </c:pt>
                <c:pt idx="45" formatCode="0.0">
                  <c:v>0</c:v>
                </c:pt>
                <c:pt idx="46" formatCode="0.0">
                  <c:v>0</c:v>
                </c:pt>
                <c:pt idx="47" formatCode="0.0">
                  <c:v>1.1301989150090416E-2</c:v>
                </c:pt>
                <c:pt idx="48" formatCode="0.0">
                  <c:v>-1.1301989150090416E-2</c:v>
                </c:pt>
                <c:pt idx="49" formatCode="0.0">
                  <c:v>1.1301989150090416E-2</c:v>
                </c:pt>
                <c:pt idx="50" formatCode="0.0">
                  <c:v>1.1301989150090416E-2</c:v>
                </c:pt>
                <c:pt idx="51" formatCode="0.0">
                  <c:v>1.1301989150090416E-2</c:v>
                </c:pt>
                <c:pt idx="52" formatCode="0.0">
                  <c:v>2.2603978300180835E-2</c:v>
                </c:pt>
                <c:pt idx="53" formatCode="0.0">
                  <c:v>7.9113924050632931E-2</c:v>
                </c:pt>
                <c:pt idx="54" formatCode="0.0">
                  <c:v>7.9113924050632931E-2</c:v>
                </c:pt>
                <c:pt idx="55" formatCode="0.0">
                  <c:v>9.0415913200723314E-2</c:v>
                </c:pt>
                <c:pt idx="56" formatCode="0.0">
                  <c:v>0.10171790235081371</c:v>
                </c:pt>
                <c:pt idx="57" formatCode="0.0">
                  <c:v>0.10171790235081371</c:v>
                </c:pt>
                <c:pt idx="58" formatCode="0.0">
                  <c:v>0.11301989150090413</c:v>
                </c:pt>
                <c:pt idx="59" formatCode="0.0">
                  <c:v>0.10171790235081371</c:v>
                </c:pt>
                <c:pt idx="60" formatCode="0.0">
                  <c:v>5.6509945750452061E-2</c:v>
                </c:pt>
                <c:pt idx="61" formatCode="0.0">
                  <c:v>5.6509945750452061E-2</c:v>
                </c:pt>
                <c:pt idx="62" formatCode="0.0">
                  <c:v>5.6509945750452061E-2</c:v>
                </c:pt>
                <c:pt idx="63" formatCode="0.0">
                  <c:v>4.5207956600361664E-2</c:v>
                </c:pt>
                <c:pt idx="64" formatCode="0.0">
                  <c:v>4.5207956600361664E-2</c:v>
                </c:pt>
                <c:pt idx="65" formatCode="0.0">
                  <c:v>4.5207956600361664E-2</c:v>
                </c:pt>
                <c:pt idx="66" formatCode="0.0">
                  <c:v>7.9113924050632931E-2</c:v>
                </c:pt>
                <c:pt idx="67" formatCode="0.0">
                  <c:v>7.9113924050632931E-2</c:v>
                </c:pt>
                <c:pt idx="68" formatCode="0.0">
                  <c:v>9.0415913200723314E-2</c:v>
                </c:pt>
                <c:pt idx="69" formatCode="0.0">
                  <c:v>7.9113924050632931E-2</c:v>
                </c:pt>
                <c:pt idx="70" formatCode="0.0">
                  <c:v>7.9113924050632931E-2</c:v>
                </c:pt>
                <c:pt idx="71" formatCode="0.0">
                  <c:v>9.0415913200723314E-2</c:v>
                </c:pt>
                <c:pt idx="72" formatCode="0.0">
                  <c:v>6.781193490054252E-2</c:v>
                </c:pt>
                <c:pt idx="73" formatCode="0.0">
                  <c:v>5.6509945750452067E-2</c:v>
                </c:pt>
                <c:pt idx="74" formatCode="0.0">
                  <c:v>5.6509945750452067E-2</c:v>
                </c:pt>
                <c:pt idx="75" formatCode="0.0">
                  <c:v>3.3905967450271253E-2</c:v>
                </c:pt>
                <c:pt idx="76" formatCode="0.0">
                  <c:v>9.0415913200723314E-2</c:v>
                </c:pt>
                <c:pt idx="77" formatCode="0.0">
                  <c:v>9.0415913200723314E-2</c:v>
                </c:pt>
                <c:pt idx="78" formatCode="0.0">
                  <c:v>0.11301989150090413</c:v>
                </c:pt>
                <c:pt idx="79" formatCode="0.0">
                  <c:v>0.15822784810126586</c:v>
                </c:pt>
                <c:pt idx="80" formatCode="0.0">
                  <c:v>0.14692585895117541</c:v>
                </c:pt>
                <c:pt idx="81" formatCode="0.0">
                  <c:v>0.19213381555153708</c:v>
                </c:pt>
                <c:pt idx="82" formatCode="0.0">
                  <c:v>0.32775768535262223</c:v>
                </c:pt>
                <c:pt idx="83" formatCode="0.0">
                  <c:v>0.4181735985533454</c:v>
                </c:pt>
                <c:pt idx="84" formatCode="0.0">
                  <c:v>0.51989150090415914</c:v>
                </c:pt>
                <c:pt idx="85" formatCode="0.0">
                  <c:v>0.50858951175406852</c:v>
                </c:pt>
                <c:pt idx="86" formatCode="0.0">
                  <c:v>0.49728752260397835</c:v>
                </c:pt>
                <c:pt idx="87" formatCode="0.0">
                  <c:v>0.56509945750452095</c:v>
                </c:pt>
                <c:pt idx="88" formatCode="0.0">
                  <c:v>0.54249547920433994</c:v>
                </c:pt>
                <c:pt idx="89" formatCode="0.0">
                  <c:v>0.50858951175406852</c:v>
                </c:pt>
                <c:pt idx="90" formatCode="0.0">
                  <c:v>0.40687160940325506</c:v>
                </c:pt>
                <c:pt idx="91" formatCode="0.0">
                  <c:v>0.35036166365280297</c:v>
                </c:pt>
                <c:pt idx="92" formatCode="0.0">
                  <c:v>0.36166365280289331</c:v>
                </c:pt>
                <c:pt idx="93" formatCode="0.0">
                  <c:v>0.41817359855334535</c:v>
                </c:pt>
                <c:pt idx="94" formatCode="0.0">
                  <c:v>0.40687160940325495</c:v>
                </c:pt>
                <c:pt idx="95" formatCode="0.0">
                  <c:v>0.44077757685352614</c:v>
                </c:pt>
                <c:pt idx="96" formatCode="0.0">
                  <c:v>0.47468354430379744</c:v>
                </c:pt>
                <c:pt idx="97" formatCode="0.0">
                  <c:v>0.98327305605786619</c:v>
                </c:pt>
                <c:pt idx="98" formatCode="0.0">
                  <c:v>1.0058770343580472</c:v>
                </c:pt>
                <c:pt idx="99" formatCode="0.0">
                  <c:v>0.9719710669077759</c:v>
                </c:pt>
                <c:pt idx="100" formatCode="0.0">
                  <c:v>0.9267631103074141</c:v>
                </c:pt>
                <c:pt idx="101" formatCode="0.0">
                  <c:v>0.9041591320072333</c:v>
                </c:pt>
                <c:pt idx="102" formatCode="0.0">
                  <c:v>0.99457504520795637</c:v>
                </c:pt>
                <c:pt idx="103" formatCode="0.0">
                  <c:v>0.91546112115732348</c:v>
                </c:pt>
                <c:pt idx="104" formatCode="0.0">
                  <c:v>0.55379746835443044</c:v>
                </c:pt>
                <c:pt idx="105" formatCode="0.0">
                  <c:v>0.66681735985533452</c:v>
                </c:pt>
                <c:pt idx="106" formatCode="0.0">
                  <c:v>0.99457504520795648</c:v>
                </c:pt>
                <c:pt idx="107" formatCode="0.0">
                  <c:v>1.1754068716094033</c:v>
                </c:pt>
                <c:pt idx="108" formatCode="0.0">
                  <c:v>1.3449367088607593</c:v>
                </c:pt>
                <c:pt idx="109" formatCode="0.0">
                  <c:v>1.3901446654611209</c:v>
                </c:pt>
                <c:pt idx="110" formatCode="0.0">
                  <c:v>1.446654611211573</c:v>
                </c:pt>
                <c:pt idx="111" formatCode="0.0">
                  <c:v>1.6952983725135624</c:v>
                </c:pt>
                <c:pt idx="112" formatCode="0.0">
                  <c:v>2.2038878842676315</c:v>
                </c:pt>
                <c:pt idx="113" formatCode="0.0">
                  <c:v>2.2038878842676315</c:v>
                </c:pt>
                <c:pt idx="114" formatCode="0.0">
                  <c:v>2.8820072332730549</c:v>
                </c:pt>
                <c:pt idx="115" formatCode="0.0">
                  <c:v>3.2662748643761308</c:v>
                </c:pt>
                <c:pt idx="116" formatCode="0.0">
                  <c:v>3.7409584086799272</c:v>
                </c:pt>
                <c:pt idx="117" formatCode="0.0">
                  <c:v>4.1704339963833634</c:v>
                </c:pt>
                <c:pt idx="118" formatCode="0.0">
                  <c:v>4.701627486437614</c:v>
                </c:pt>
                <c:pt idx="119" formatCode="0.0">
                  <c:v>4.780741410488246</c:v>
                </c:pt>
                <c:pt idx="120" formatCode="0.0">
                  <c:v>5.4249547920433985</c:v>
                </c:pt>
                <c:pt idx="121" formatCode="0.0">
                  <c:v>5.2667269439421336</c:v>
                </c:pt>
                <c:pt idx="122" formatCode="0.0">
                  <c:v>6.1256781193490042</c:v>
                </c:pt>
                <c:pt idx="123" formatCode="0.0">
                  <c:v>6.5551537070524404</c:v>
                </c:pt>
                <c:pt idx="124" formatCode="0.0">
                  <c:v>7.5384267631103086</c:v>
                </c:pt>
                <c:pt idx="125" formatCode="0.0">
                  <c:v>7.933996383363473</c:v>
                </c:pt>
                <c:pt idx="126" formatCode="0.0">
                  <c:v>7.8096745027124763</c:v>
                </c:pt>
                <c:pt idx="127" formatCode="0.0">
                  <c:v>7.8322784810126587</c:v>
                </c:pt>
                <c:pt idx="128" formatCode="0.0">
                  <c:v>8.9511754068716076</c:v>
                </c:pt>
                <c:pt idx="129" formatCode="0.0">
                  <c:v>9.9005424954792058</c:v>
                </c:pt>
                <c:pt idx="130" formatCode="0.0">
                  <c:v>10.522151898734174</c:v>
                </c:pt>
                <c:pt idx="131" formatCode="0.0">
                  <c:v>9.77622061482821</c:v>
                </c:pt>
                <c:pt idx="132" formatCode="0.0">
                  <c:v>9.3693490054249562</c:v>
                </c:pt>
                <c:pt idx="133" formatCode="0.0">
                  <c:v>10.849909584086802</c:v>
                </c:pt>
                <c:pt idx="134" formatCode="0.0">
                  <c:v>11.98010849909584</c:v>
                </c:pt>
                <c:pt idx="135" formatCode="0.0">
                  <c:v>12.872965641952986</c:v>
                </c:pt>
                <c:pt idx="136" formatCode="0.0">
                  <c:v>12.782549728752262</c:v>
                </c:pt>
                <c:pt idx="137" formatCode="0.0">
                  <c:v>13.471971066907773</c:v>
                </c:pt>
                <c:pt idx="138" formatCode="0.0">
                  <c:v>15.076853526220617</c:v>
                </c:pt>
                <c:pt idx="139" formatCode="0.0">
                  <c:v>17.224231464737791</c:v>
                </c:pt>
                <c:pt idx="140" formatCode="0.0">
                  <c:v>16.478300180831823</c:v>
                </c:pt>
                <c:pt idx="141" formatCode="0.0">
                  <c:v>15.913200723327305</c:v>
                </c:pt>
                <c:pt idx="142" formatCode="0.0">
                  <c:v>16.184448462929474</c:v>
                </c:pt>
                <c:pt idx="143" formatCode="0.0">
                  <c:v>17.698915009041595</c:v>
                </c:pt>
                <c:pt idx="144" formatCode="0.0">
                  <c:v>17.766726943942125</c:v>
                </c:pt>
                <c:pt idx="145" formatCode="0.0">
                  <c:v>17.303345388788429</c:v>
                </c:pt>
                <c:pt idx="146" formatCode="0.0">
                  <c:v>16.127938517179025</c:v>
                </c:pt>
                <c:pt idx="147" formatCode="0.0">
                  <c:v>15.619349005424956</c:v>
                </c:pt>
                <c:pt idx="148" formatCode="0.0">
                  <c:v>16.986889692585891</c:v>
                </c:pt>
                <c:pt idx="149" formatCode="0.0">
                  <c:v>17.292043399638331</c:v>
                </c:pt>
                <c:pt idx="150" formatCode="0.0">
                  <c:v>16.320072332730557</c:v>
                </c:pt>
                <c:pt idx="151" formatCode="0.0">
                  <c:v>15.879294755877037</c:v>
                </c:pt>
                <c:pt idx="152" formatCode="0.0">
                  <c:v>16.839963833634723</c:v>
                </c:pt>
                <c:pt idx="153" formatCode="0.0">
                  <c:v>16.952983725135624</c:v>
                </c:pt>
                <c:pt idx="154" formatCode="0.0">
                  <c:v>16.749547920433987</c:v>
                </c:pt>
                <c:pt idx="155" formatCode="0.0">
                  <c:v>14.907323688969257</c:v>
                </c:pt>
                <c:pt idx="156" formatCode="0.0">
                  <c:v>13.449367088607593</c:v>
                </c:pt>
                <c:pt idx="157" formatCode="0.0">
                  <c:v>14.217902350813741</c:v>
                </c:pt>
                <c:pt idx="158" formatCode="0.0">
                  <c:v>15.472423146473778</c:v>
                </c:pt>
                <c:pt idx="159" formatCode="0.0">
                  <c:v>13.777124773960216</c:v>
                </c:pt>
                <c:pt idx="160" formatCode="0.0">
                  <c:v>13.777124773960216</c:v>
                </c:pt>
                <c:pt idx="161" formatCode="0.0">
                  <c:v>14.330922242314646</c:v>
                </c:pt>
                <c:pt idx="162" formatCode="0.0">
                  <c:v>15.641952983725135</c:v>
                </c:pt>
                <c:pt idx="163" formatCode="0.0">
                  <c:v>16.421790235081367</c:v>
                </c:pt>
                <c:pt idx="164" formatCode="0.0">
                  <c:v>15.540235081374318</c:v>
                </c:pt>
                <c:pt idx="165" formatCode="0.0">
                  <c:v>14.251808318264017</c:v>
                </c:pt>
                <c:pt idx="166" formatCode="0.0">
                  <c:v>14.568264014466546</c:v>
                </c:pt>
                <c:pt idx="167" formatCode="0.0">
                  <c:v>14.703887884267633</c:v>
                </c:pt>
                <c:pt idx="168" formatCode="0.0">
                  <c:v>14.082278481012658</c:v>
                </c:pt>
                <c:pt idx="169" formatCode="0.0">
                  <c:v>13.099005424954791</c:v>
                </c:pt>
                <c:pt idx="170" formatCode="0.0">
                  <c:v>14.172694394213382</c:v>
                </c:pt>
                <c:pt idx="171" formatCode="0.0">
                  <c:v>13.844936708860759</c:v>
                </c:pt>
                <c:pt idx="172" formatCode="0.0">
                  <c:v>14.556962025316453</c:v>
                </c:pt>
                <c:pt idx="173" formatCode="0.0">
                  <c:v>16.263562386980105</c:v>
                </c:pt>
                <c:pt idx="174" formatCode="0.0">
                  <c:v>15.867992766726946</c:v>
                </c:pt>
                <c:pt idx="175" formatCode="0.0">
                  <c:v>16.523508137432184</c:v>
                </c:pt>
                <c:pt idx="176" formatCode="0.0">
                  <c:v>17.179023508137426</c:v>
                </c:pt>
                <c:pt idx="177" formatCode="0.0">
                  <c:v>16.772151898734176</c:v>
                </c:pt>
                <c:pt idx="178" formatCode="0.0">
                  <c:v>16.704339963833633</c:v>
                </c:pt>
                <c:pt idx="179" formatCode="0.0">
                  <c:v>16.207052441229656</c:v>
                </c:pt>
                <c:pt idx="180" formatCode="0.0">
                  <c:v>15.314195298372512</c:v>
                </c:pt>
                <c:pt idx="181" formatCode="0.0">
                  <c:v>15.359403254972877</c:v>
                </c:pt>
                <c:pt idx="182" formatCode="0.0">
                  <c:v>15.653254972875226</c:v>
                </c:pt>
                <c:pt idx="183" formatCode="0.0">
                  <c:v>15.675858951175403</c:v>
                </c:pt>
                <c:pt idx="184" formatCode="0.0">
                  <c:v>14.884719710669076</c:v>
                </c:pt>
                <c:pt idx="185" formatCode="0.0">
                  <c:v>15.800180831826403</c:v>
                </c:pt>
                <c:pt idx="186" formatCode="0.0">
                  <c:v>15.879294755877037</c:v>
                </c:pt>
                <c:pt idx="187" formatCode="0.0">
                  <c:v>16.591320072332724</c:v>
                </c:pt>
                <c:pt idx="188" formatCode="0.0">
                  <c:v>16.715641952983724</c:v>
                </c:pt>
                <c:pt idx="189" formatCode="0.0">
                  <c:v>15.754972875226043</c:v>
                </c:pt>
                <c:pt idx="190" formatCode="0.0">
                  <c:v>14.918625678119351</c:v>
                </c:pt>
                <c:pt idx="191" formatCode="0.0">
                  <c:v>15.517631103074141</c:v>
                </c:pt>
                <c:pt idx="192" formatCode="0.0">
                  <c:v>16.466998191681736</c:v>
                </c:pt>
                <c:pt idx="193" formatCode="0.0">
                  <c:v>18.173598553345389</c:v>
                </c:pt>
                <c:pt idx="194" formatCode="0.0">
                  <c:v>18.603074141048829</c:v>
                </c:pt>
                <c:pt idx="195" formatCode="0.0">
                  <c:v>18.071880650994583</c:v>
                </c:pt>
                <c:pt idx="196" formatCode="0.0">
                  <c:v>18.806509945750452</c:v>
                </c:pt>
                <c:pt idx="197" formatCode="0.0">
                  <c:v>20.716546112115729</c:v>
                </c:pt>
                <c:pt idx="198" formatCode="0.0">
                  <c:v>19.688065099457507</c:v>
                </c:pt>
                <c:pt idx="199" formatCode="0.0">
                  <c:v>17.744122965641946</c:v>
                </c:pt>
                <c:pt idx="200" formatCode="0.0">
                  <c:v>15.076853526220614</c:v>
                </c:pt>
                <c:pt idx="201" formatCode="0.0">
                  <c:v>13.630198915009043</c:v>
                </c:pt>
                <c:pt idx="202" formatCode="0.0">
                  <c:v>13.946654611211573</c:v>
                </c:pt>
                <c:pt idx="203" formatCode="0.0">
                  <c:v>13.438065099457503</c:v>
                </c:pt>
                <c:pt idx="204" formatCode="0.0">
                  <c:v>12.443490054249551</c:v>
                </c:pt>
                <c:pt idx="205" formatCode="0.0">
                  <c:v>12.974683544303799</c:v>
                </c:pt>
                <c:pt idx="206" formatCode="0.0">
                  <c:v>13.279837251356241</c:v>
                </c:pt>
                <c:pt idx="207" formatCode="0.0">
                  <c:v>15.223779385171788</c:v>
                </c:pt>
                <c:pt idx="208" formatCode="0.0">
                  <c:v>16.986889692585887</c:v>
                </c:pt>
                <c:pt idx="209" formatCode="0.0">
                  <c:v>16.71564195298372</c:v>
                </c:pt>
                <c:pt idx="210" formatCode="0.0">
                  <c:v>17.303345388788429</c:v>
                </c:pt>
                <c:pt idx="211" formatCode="0.0">
                  <c:v>17.472875226039786</c:v>
                </c:pt>
                <c:pt idx="212" formatCode="0.0">
                  <c:v>16.896473779385172</c:v>
                </c:pt>
                <c:pt idx="213" formatCode="0.0">
                  <c:v>17.032097649186252</c:v>
                </c:pt>
                <c:pt idx="214" formatCode="0.0">
                  <c:v>16.68173598553345</c:v>
                </c:pt>
                <c:pt idx="215" formatCode="0.0">
                  <c:v>15.054249547920435</c:v>
                </c:pt>
                <c:pt idx="216" formatCode="0.0">
                  <c:v>14.647377938517176</c:v>
                </c:pt>
                <c:pt idx="217" formatCode="0.0">
                  <c:v>14.297016274864376</c:v>
                </c:pt>
                <c:pt idx="218" formatCode="0.0">
                  <c:v>13.279837251356241</c:v>
                </c:pt>
                <c:pt idx="219" formatCode="0.0">
                  <c:v>14.037070524412297</c:v>
                </c:pt>
                <c:pt idx="220" formatCode="0.0">
                  <c:v>13.404159132007235</c:v>
                </c:pt>
                <c:pt idx="221" formatCode="0.0">
                  <c:v>12.00271247739602</c:v>
                </c:pt>
                <c:pt idx="222" formatCode="0.0">
                  <c:v>12.21745027124774</c:v>
                </c:pt>
                <c:pt idx="223" formatCode="0.0">
                  <c:v>13.664104882459313</c:v>
                </c:pt>
                <c:pt idx="224" formatCode="0.0">
                  <c:v>13.370253164556958</c:v>
                </c:pt>
                <c:pt idx="225" formatCode="0.0">
                  <c:v>14.783001808318263</c:v>
                </c:pt>
                <c:pt idx="226" formatCode="0.0">
                  <c:v>14.206600361663652</c:v>
                </c:pt>
                <c:pt idx="227" formatCode="0.0">
                  <c:v>15.110759493670882</c:v>
                </c:pt>
                <c:pt idx="228" formatCode="0.0">
                  <c:v>14.771699819168173</c:v>
                </c:pt>
                <c:pt idx="229" formatCode="0.0">
                  <c:v>13.743218806509944</c:v>
                </c:pt>
                <c:pt idx="230" formatCode="0.0">
                  <c:v>11.889692585895117</c:v>
                </c:pt>
                <c:pt idx="231" formatCode="0.0">
                  <c:v>11.41500904159132</c:v>
                </c:pt>
                <c:pt idx="232" formatCode="0.0">
                  <c:v>9.8327305605786641</c:v>
                </c:pt>
                <c:pt idx="233" formatCode="0.0">
                  <c:v>9.0867992766726964</c:v>
                </c:pt>
                <c:pt idx="234" formatCode="0.0">
                  <c:v>7.7418625678119355</c:v>
                </c:pt>
                <c:pt idx="235" formatCode="0.0">
                  <c:v>7.4028028933092234</c:v>
                </c:pt>
                <c:pt idx="236" formatCode="0.0">
                  <c:v>7.1428571428571423</c:v>
                </c:pt>
                <c:pt idx="237" formatCode="0.0">
                  <c:v>6.8490054249547914</c:v>
                </c:pt>
                <c:pt idx="238" formatCode="0.0">
                  <c:v>6.8264014466546117</c:v>
                </c:pt>
                <c:pt idx="239" formatCode="0.0">
                  <c:v>6.4873417721518996</c:v>
                </c:pt>
                <c:pt idx="240" formatCode="0.0">
                  <c:v>5.865732368896925</c:v>
                </c:pt>
                <c:pt idx="241" formatCode="0.0">
                  <c:v>5.0632911392405076</c:v>
                </c:pt>
                <c:pt idx="242" formatCode="0.0">
                  <c:v>4.8824593128390585</c:v>
                </c:pt>
                <c:pt idx="243" formatCode="0.0">
                  <c:v>4.3964737793851709</c:v>
                </c:pt>
                <c:pt idx="244" formatCode="0.0">
                  <c:v>4.3738698010849903</c:v>
                </c:pt>
                <c:pt idx="245" formatCode="0.0">
                  <c:v>4.5320976491862552</c:v>
                </c:pt>
                <c:pt idx="246" formatCode="0.0">
                  <c:v>4.1591320072332723</c:v>
                </c:pt>
                <c:pt idx="247" formatCode="0.0">
                  <c:v>4.1252260397830014</c:v>
                </c:pt>
                <c:pt idx="248" formatCode="0.0">
                  <c:v>3.8765822784810129</c:v>
                </c:pt>
                <c:pt idx="249" formatCode="0.0">
                  <c:v>3.6731464737793846</c:v>
                </c:pt>
                <c:pt idx="250" formatCode="0.0">
                  <c:v>3.7183544303797467</c:v>
                </c:pt>
                <c:pt idx="251" formatCode="0.0">
                  <c:v>3.6731464737793846</c:v>
                </c:pt>
                <c:pt idx="252" formatCode="0.0">
                  <c:v>3.4810126582278476</c:v>
                </c:pt>
                <c:pt idx="253" formatCode="0.0">
                  <c:v>3.3227848101265818</c:v>
                </c:pt>
                <c:pt idx="254" formatCode="0.0">
                  <c:v>2.9385171790235081</c:v>
                </c:pt>
                <c:pt idx="255" formatCode="0.0">
                  <c:v>3.141952983725135</c:v>
                </c:pt>
                <c:pt idx="256" formatCode="0.0">
                  <c:v>2.9385171790235072</c:v>
                </c:pt>
                <c:pt idx="257" formatCode="0.0">
                  <c:v>2.5655515370705246</c:v>
                </c:pt>
                <c:pt idx="258" formatCode="0.0">
                  <c:v>2.4525316455696204</c:v>
                </c:pt>
                <c:pt idx="259" formatCode="0.0">
                  <c:v>2.6220614828209765</c:v>
                </c:pt>
                <c:pt idx="260" formatCode="0.0">
                  <c:v>2.8028933092224229</c:v>
                </c:pt>
                <c:pt idx="261" formatCode="0.0">
                  <c:v>2.9385171790235072</c:v>
                </c:pt>
                <c:pt idx="262" formatCode="0.0">
                  <c:v>2.4073236889692593</c:v>
                </c:pt>
                <c:pt idx="263" formatCode="0.0">
                  <c:v>2.5655515370705246</c:v>
                </c:pt>
                <c:pt idx="264" formatCode="0.0">
                  <c:v>2.6333634719710672</c:v>
                </c:pt>
                <c:pt idx="265" formatCode="0.0">
                  <c:v>2.5994575045207955</c:v>
                </c:pt>
                <c:pt idx="266" formatCode="0.0">
                  <c:v>2.3734177215189871</c:v>
                </c:pt>
                <c:pt idx="267" formatCode="0.0">
                  <c:v>2.3621157323688968</c:v>
                </c:pt>
                <c:pt idx="268" formatCode="0.0">
                  <c:v>2.4073236889692593</c:v>
                </c:pt>
                <c:pt idx="269" formatCode="0.0">
                  <c:v>2.9272151898734178</c:v>
                </c:pt>
                <c:pt idx="270" formatCode="0.0">
                  <c:v>2.9159132007233275</c:v>
                </c:pt>
                <c:pt idx="271" formatCode="0.0">
                  <c:v>2.9950271247739595</c:v>
                </c:pt>
                <c:pt idx="272" formatCode="0.0">
                  <c:v>2.9837251356238692</c:v>
                </c:pt>
                <c:pt idx="273" formatCode="0.0">
                  <c:v>3.1080470162748637</c:v>
                </c:pt>
                <c:pt idx="274" formatCode="0.0">
                  <c:v>2.9837251356238692</c:v>
                </c:pt>
                <c:pt idx="275" formatCode="0.0">
                  <c:v>3.0289330922242321</c:v>
                </c:pt>
                <c:pt idx="276" formatCode="0.0">
                  <c:v>2.9272151898734173</c:v>
                </c:pt>
                <c:pt idx="277" formatCode="0.0">
                  <c:v>3.1532549728752257</c:v>
                </c:pt>
                <c:pt idx="278" formatCode="0.0">
                  <c:v>3.1871609403254983</c:v>
                </c:pt>
                <c:pt idx="279" formatCode="0.0">
                  <c:v>3.356690777576854</c:v>
                </c:pt>
                <c:pt idx="280" formatCode="0.0">
                  <c:v>3.4697106690777582</c:v>
                </c:pt>
                <c:pt idx="281" formatCode="0.0">
                  <c:v>3.7635623869801091</c:v>
                </c:pt>
                <c:pt idx="282" formatCode="0.0">
                  <c:v>4.0461121157323703</c:v>
                </c:pt>
                <c:pt idx="283" formatCode="0.0">
                  <c:v>4.1139240506329093</c:v>
                </c:pt>
                <c:pt idx="284" formatCode="0.0">
                  <c:v>4.6564195298372493</c:v>
                </c:pt>
                <c:pt idx="285" formatCode="0.0">
                  <c:v>4.8824593128390585</c:v>
                </c:pt>
                <c:pt idx="286" formatCode="0.0">
                  <c:v>5.5492766726943952</c:v>
                </c:pt>
                <c:pt idx="287" formatCode="0.0">
                  <c:v>5.7075045207956592</c:v>
                </c:pt>
                <c:pt idx="288" formatCode="0.0">
                  <c:v>6.1708860759493671</c:v>
                </c:pt>
                <c:pt idx="289" formatCode="0.0">
                  <c:v>7.0072332730560571</c:v>
                </c:pt>
                <c:pt idx="290" formatCode="0.0">
                  <c:v>7.6966546112115726</c:v>
                </c:pt>
                <c:pt idx="291" formatCode="0.0">
                  <c:v>7.7531645569620249</c:v>
                </c:pt>
                <c:pt idx="292" formatCode="0.0">
                  <c:v>7.9792043399638359</c:v>
                </c:pt>
                <c:pt idx="293" formatCode="0.0">
                  <c:v>7.5723327305605794</c:v>
                </c:pt>
                <c:pt idx="294" formatCode="0.0">
                  <c:v>7.6175406871609397</c:v>
                </c:pt>
                <c:pt idx="295" formatCode="0.0">
                  <c:v>8.6799276672694408</c:v>
                </c:pt>
                <c:pt idx="296" formatCode="0.0">
                  <c:v>8.5895117540687167</c:v>
                </c:pt>
                <c:pt idx="297" formatCode="0.0">
                  <c:v>10.115280289330922</c:v>
                </c:pt>
                <c:pt idx="298" formatCode="0.0">
                  <c:v>10.838607594936709</c:v>
                </c:pt>
                <c:pt idx="299" formatCode="0.0">
                  <c:v>11.787974683544302</c:v>
                </c:pt>
                <c:pt idx="300" formatCode="0.0">
                  <c:v>12.420886075949371</c:v>
                </c:pt>
                <c:pt idx="301" formatCode="0.0">
                  <c:v>12.669529837251359</c:v>
                </c:pt>
                <c:pt idx="302" formatCode="0.0">
                  <c:v>13.438065099457502</c:v>
                </c:pt>
                <c:pt idx="303" formatCode="0.0">
                  <c:v>15.675858951175405</c:v>
                </c:pt>
                <c:pt idx="304" formatCode="0.0">
                  <c:v>16.760849909584081</c:v>
                </c:pt>
                <c:pt idx="305" formatCode="0.0">
                  <c:v>18.456148282097644</c:v>
                </c:pt>
                <c:pt idx="306" formatCode="0.0">
                  <c:v>19.608951175406879</c:v>
                </c:pt>
                <c:pt idx="307" formatCode="0.0">
                  <c:v>22.084086799276676</c:v>
                </c:pt>
                <c:pt idx="308" formatCode="0.0">
                  <c:v>22.547468354430375</c:v>
                </c:pt>
                <c:pt idx="309" formatCode="0.0">
                  <c:v>22.931735985533443</c:v>
                </c:pt>
                <c:pt idx="310" formatCode="0.0">
                  <c:v>22.400542495479201</c:v>
                </c:pt>
                <c:pt idx="311" formatCode="0.0">
                  <c:v>21.541591320072332</c:v>
                </c:pt>
                <c:pt idx="312" formatCode="0.0">
                  <c:v>22.18580470162749</c:v>
                </c:pt>
                <c:pt idx="313" formatCode="0.0">
                  <c:v>21.586799276672689</c:v>
                </c:pt>
                <c:pt idx="314" formatCode="0.0">
                  <c:v>20.16274864376129</c:v>
                </c:pt>
                <c:pt idx="315" formatCode="0.0">
                  <c:v>20.38878842676311</c:v>
                </c:pt>
                <c:pt idx="316" formatCode="0.0">
                  <c:v>19.631555153707055</c:v>
                </c:pt>
                <c:pt idx="317" formatCode="0.0">
                  <c:v>19.235985533453892</c:v>
                </c:pt>
                <c:pt idx="318" formatCode="0.0">
                  <c:v>18.11708860759494</c:v>
                </c:pt>
                <c:pt idx="319" formatCode="0.0">
                  <c:v>16.297468354430382</c:v>
                </c:pt>
                <c:pt idx="320" formatCode="0.0">
                  <c:v>15.845388788426762</c:v>
                </c:pt>
                <c:pt idx="321" formatCode="0.0">
                  <c:v>14.997739602169984</c:v>
                </c:pt>
                <c:pt idx="322" formatCode="0.0">
                  <c:v>14.240506329113925</c:v>
                </c:pt>
                <c:pt idx="323" formatCode="0.0">
                  <c:v>14.330922242314646</c:v>
                </c:pt>
                <c:pt idx="324" formatCode="0.0">
                  <c:v>13.720614828209767</c:v>
                </c:pt>
                <c:pt idx="325" formatCode="0.0">
                  <c:v>13.370253164556962</c:v>
                </c:pt>
                <c:pt idx="326" formatCode="0.0">
                  <c:v>12.014014466546113</c:v>
                </c:pt>
                <c:pt idx="327" formatCode="0.0">
                  <c:v>11.867088607594939</c:v>
                </c:pt>
                <c:pt idx="328" formatCode="0.0">
                  <c:v>10.996835443037975</c:v>
                </c:pt>
                <c:pt idx="329" formatCode="0.0">
                  <c:v>10.375226039783005</c:v>
                </c:pt>
                <c:pt idx="330" formatCode="0.0">
                  <c:v>9.0076853526220617</c:v>
                </c:pt>
                <c:pt idx="331" formatCode="0.0">
                  <c:v>7.9452983725135633</c:v>
                </c:pt>
                <c:pt idx="332" formatCode="0.0">
                  <c:v>7.6175406871609397</c:v>
                </c:pt>
                <c:pt idx="333" formatCode="0.0">
                  <c:v>7.6627486437613017</c:v>
                </c:pt>
                <c:pt idx="334" formatCode="0.0">
                  <c:v>6.9846292947558783</c:v>
                </c:pt>
                <c:pt idx="335" formatCode="0.0">
                  <c:v>6.7924954792043399</c:v>
                </c:pt>
                <c:pt idx="336" formatCode="0.0">
                  <c:v>6.9168173598553349</c:v>
                </c:pt>
                <c:pt idx="337" formatCode="0.0">
                  <c:v>6.6568716094032556</c:v>
                </c:pt>
                <c:pt idx="338" formatCode="0.0">
                  <c:v>6.3291139240506311</c:v>
                </c:pt>
                <c:pt idx="339" formatCode="0.0">
                  <c:v>5.9561482820976499</c:v>
                </c:pt>
                <c:pt idx="340" formatCode="0.0">
                  <c:v>5.8770343580470152</c:v>
                </c:pt>
                <c:pt idx="341" formatCode="0.0">
                  <c:v>5.3910488245931294</c:v>
                </c:pt>
                <c:pt idx="342" formatCode="0.0">
                  <c:v>5.4475587703435808</c:v>
                </c:pt>
                <c:pt idx="343" formatCode="0.0">
                  <c:v>5.4023508137432197</c:v>
                </c:pt>
                <c:pt idx="344" formatCode="0.0">
                  <c:v>4.950271247739602</c:v>
                </c:pt>
                <c:pt idx="345" formatCode="0.0">
                  <c:v>5.3684448462929453</c:v>
                </c:pt>
                <c:pt idx="346" formatCode="0.0">
                  <c:v>5.4475587703435808</c:v>
                </c:pt>
                <c:pt idx="347" formatCode="0.0">
                  <c:v>5.1424050632911387</c:v>
                </c:pt>
                <c:pt idx="348" formatCode="0.0">
                  <c:v>5.4249547920433985</c:v>
                </c:pt>
                <c:pt idx="349" formatCode="0.0">
                  <c:v>5.3684448462929453</c:v>
                </c:pt>
                <c:pt idx="350" formatCode="0.0">
                  <c:v>5.3458408679927656</c:v>
                </c:pt>
                <c:pt idx="351" formatCode="0.0">
                  <c:v>5.583182640144666</c:v>
                </c:pt>
                <c:pt idx="352" formatCode="0.0">
                  <c:v>5.1424050632911378</c:v>
                </c:pt>
                <c:pt idx="353" formatCode="0.0">
                  <c:v>5.1763110307414095</c:v>
                </c:pt>
                <c:pt idx="354" formatCode="0.0">
                  <c:v>4.9841772151898729</c:v>
                </c:pt>
                <c:pt idx="355" formatCode="0.0">
                  <c:v>4.7129294755877025</c:v>
                </c:pt>
                <c:pt idx="356" formatCode="0.0">
                  <c:v>4.7920433996383371</c:v>
                </c:pt>
                <c:pt idx="357" formatCode="0.0">
                  <c:v>4.7694394213381566</c:v>
                </c:pt>
                <c:pt idx="358" formatCode="0.0">
                  <c:v>4.6677215189873396</c:v>
                </c:pt>
                <c:pt idx="359" formatCode="0.0">
                  <c:v>4.6451175406871599</c:v>
                </c:pt>
                <c:pt idx="360" formatCode="0.0">
                  <c:v>4.1591320072332723</c:v>
                </c:pt>
                <c:pt idx="361" formatCode="0.0">
                  <c:v>4.1478300180831811</c:v>
                </c:pt>
                <c:pt idx="362" formatCode="0.0">
                  <c:v>4.0800180831826411</c:v>
                </c:pt>
                <c:pt idx="363" formatCode="0.0">
                  <c:v>3.8426763110307403</c:v>
                </c:pt>
                <c:pt idx="364" formatCode="0.0">
                  <c:v>3.9556962025316453</c:v>
                </c:pt>
                <c:pt idx="365" formatCode="0.0">
                  <c:v>4.1252260397830005</c:v>
                </c:pt>
                <c:pt idx="366" formatCode="0.0">
                  <c:v>4.0913200723327314</c:v>
                </c:pt>
                <c:pt idx="367" formatCode="0.0">
                  <c:v>4.2269439421338166</c:v>
                </c:pt>
                <c:pt idx="368" formatCode="0.0">
                  <c:v>4.5886075949367093</c:v>
                </c:pt>
                <c:pt idx="369" formatCode="0.0">
                  <c:v>6.0013562386980093</c:v>
                </c:pt>
                <c:pt idx="370" formatCode="0.0">
                  <c:v>6.2386980108499097</c:v>
                </c:pt>
                <c:pt idx="371" formatCode="0.0">
                  <c:v>6.3065099457504523</c:v>
                </c:pt>
                <c:pt idx="372" formatCode="0.0">
                  <c:v>6.9507233273056066</c:v>
                </c:pt>
                <c:pt idx="373" formatCode="0.0">
                  <c:v>7.3236889692585878</c:v>
                </c:pt>
                <c:pt idx="374" formatCode="0.0">
                  <c:v>7.8096745027124772</c:v>
                </c:pt>
                <c:pt idx="375" formatCode="0.0">
                  <c:v>8.3182640144665463</c:v>
                </c:pt>
                <c:pt idx="376" formatCode="0.0">
                  <c:v>8.2278481012658187</c:v>
                </c:pt>
                <c:pt idx="377" formatCode="0.0">
                  <c:v>8.1261301989150088</c:v>
                </c:pt>
                <c:pt idx="378" formatCode="0.0">
                  <c:v>7.9679023508137421</c:v>
                </c:pt>
                <c:pt idx="379" formatCode="0.0">
                  <c:v>6.6229656419529812</c:v>
                </c:pt>
                <c:pt idx="380" formatCode="0.0">
                  <c:v>6.4421338155515384</c:v>
                </c:pt>
                <c:pt idx="381" formatCode="0.0">
                  <c:v>6.9846292947558783</c:v>
                </c:pt>
                <c:pt idx="382" formatCode="0.0">
                  <c:v>6.5664556962025316</c:v>
                </c:pt>
                <c:pt idx="383" formatCode="0.0">
                  <c:v>4.6677215189873396</c:v>
                </c:pt>
                <c:pt idx="384" formatCode="0.0">
                  <c:v>5.4701627486437623</c:v>
                </c:pt>
                <c:pt idx="385" formatCode="0.0">
                  <c:v>5.6735985533453874</c:v>
                </c:pt>
                <c:pt idx="386" formatCode="0.0">
                  <c:v>6.4534358047016287</c:v>
                </c:pt>
                <c:pt idx="387" formatCode="0.0">
                  <c:v>6.3856238698010861</c:v>
                </c:pt>
                <c:pt idx="388" formatCode="0.0">
                  <c:v>6.0465641952983731</c:v>
                </c:pt>
                <c:pt idx="389" formatCode="0.0">
                  <c:v>5.9900542495479181</c:v>
                </c:pt>
                <c:pt idx="390" formatCode="0.0">
                  <c:v>6.2386980108499106</c:v>
                </c:pt>
                <c:pt idx="391" formatCode="0.0">
                  <c:v>5.4362567811934923</c:v>
                </c:pt>
                <c:pt idx="392" formatCode="0.0">
                  <c:v>5.3006329113924053</c:v>
                </c:pt>
                <c:pt idx="393" formatCode="0.0">
                  <c:v>4.6112115732368881</c:v>
                </c:pt>
                <c:pt idx="394" formatCode="0.0">
                  <c:v>4.6338155515370696</c:v>
                </c:pt>
                <c:pt idx="395" formatCode="0.0">
                  <c:v>4.4190777576853515</c:v>
                </c:pt>
                <c:pt idx="396" formatCode="0.0">
                  <c:v>4.5207956600361658</c:v>
                </c:pt>
                <c:pt idx="397" formatCode="0.0">
                  <c:v>5.2667269439421336</c:v>
                </c:pt>
                <c:pt idx="398" formatCode="0.0">
                  <c:v>5.8205244122965629</c:v>
                </c:pt>
                <c:pt idx="399" formatCode="0.0">
                  <c:v>6.0352622061482819</c:v>
                </c:pt>
                <c:pt idx="400" formatCode="0.0">
                  <c:v>7.5610307414104874</c:v>
                </c:pt>
                <c:pt idx="401" formatCode="0.0">
                  <c:v>8.3860759493670898</c:v>
                </c:pt>
                <c:pt idx="402" formatCode="0.0">
                  <c:v>8.8607594936708871</c:v>
                </c:pt>
                <c:pt idx="403" formatCode="0.0">
                  <c:v>9.1998191681735975</c:v>
                </c:pt>
                <c:pt idx="404" formatCode="0.0">
                  <c:v>10.01356238698011</c:v>
                </c:pt>
                <c:pt idx="405" formatCode="0.0">
                  <c:v>10.488245931283904</c:v>
                </c:pt>
                <c:pt idx="406" formatCode="0.0">
                  <c:v>11.392405063291141</c:v>
                </c:pt>
                <c:pt idx="407" formatCode="0.0">
                  <c:v>12.545207956600365</c:v>
                </c:pt>
                <c:pt idx="408" formatCode="0.0">
                  <c:v>12.62432188065099</c:v>
                </c:pt>
                <c:pt idx="409" formatCode="0.0">
                  <c:v>13.924050632911392</c:v>
                </c:pt>
                <c:pt idx="410" formatCode="0.0">
                  <c:v>14.726491862567812</c:v>
                </c:pt>
                <c:pt idx="411" formatCode="0.0">
                  <c:v>14.873417721518988</c:v>
                </c:pt>
                <c:pt idx="412" formatCode="0.0">
                  <c:v>15.088155515370703</c:v>
                </c:pt>
                <c:pt idx="413" formatCode="0.0">
                  <c:v>14.330922242314646</c:v>
                </c:pt>
                <c:pt idx="414" formatCode="0.0">
                  <c:v>13.166817359855335</c:v>
                </c:pt>
                <c:pt idx="415" formatCode="0.0">
                  <c:v>12.726039783001806</c:v>
                </c:pt>
                <c:pt idx="416" formatCode="0.0">
                  <c:v>11.889692585895117</c:v>
                </c:pt>
                <c:pt idx="417" formatCode="0.0">
                  <c:v>12.432188065099457</c:v>
                </c:pt>
                <c:pt idx="418" formatCode="0.0">
                  <c:v>12.319168173598552</c:v>
                </c:pt>
                <c:pt idx="419" formatCode="0.0">
                  <c:v>12.375678119349006</c:v>
                </c:pt>
                <c:pt idx="420" formatCode="0.0">
                  <c:v>12.918173598553343</c:v>
                </c:pt>
                <c:pt idx="421" formatCode="0.0">
                  <c:v>14.466546112115735</c:v>
                </c:pt>
                <c:pt idx="422" formatCode="0.0">
                  <c:v>16.071428571428569</c:v>
                </c:pt>
                <c:pt idx="423" formatCode="0.0">
                  <c:v>17.992766726943934</c:v>
                </c:pt>
                <c:pt idx="424" formatCode="0.0">
                  <c:v>18.625678119349004</c:v>
                </c:pt>
                <c:pt idx="425" formatCode="0.0">
                  <c:v>20.727848101265824</c:v>
                </c:pt>
                <c:pt idx="426" formatCode="0.0">
                  <c:v>20.784358047016276</c:v>
                </c:pt>
                <c:pt idx="427" formatCode="0.0">
                  <c:v>20.806962025316459</c:v>
                </c:pt>
                <c:pt idx="428" formatCode="0.0">
                  <c:v>20.863471971066904</c:v>
                </c:pt>
                <c:pt idx="429" formatCode="0.0">
                  <c:v>22.852622061482823</c:v>
                </c:pt>
                <c:pt idx="430" formatCode="0.0">
                  <c:v>23.327305605786623</c:v>
                </c:pt>
                <c:pt idx="431" formatCode="0.0">
                  <c:v>24.875678119349008</c:v>
                </c:pt>
                <c:pt idx="432" formatCode="0.0">
                  <c:v>27.938517179023506</c:v>
                </c:pt>
                <c:pt idx="433" formatCode="0.0">
                  <c:v>29.566003616636532</c:v>
                </c:pt>
                <c:pt idx="434" formatCode="0.0">
                  <c:v>30.877034358047016</c:v>
                </c:pt>
                <c:pt idx="435" formatCode="0.0">
                  <c:v>32.787070524412286</c:v>
                </c:pt>
                <c:pt idx="436" formatCode="0.0">
                  <c:v>32.561030741410491</c:v>
                </c:pt>
                <c:pt idx="437" formatCode="0.0">
                  <c:v>31.905515370705235</c:v>
                </c:pt>
                <c:pt idx="438" formatCode="0.0">
                  <c:v>33.89466546112115</c:v>
                </c:pt>
                <c:pt idx="439" formatCode="0.0">
                  <c:v>31.622965641952984</c:v>
                </c:pt>
                <c:pt idx="440" formatCode="0.0">
                  <c:v>33.781645569620238</c:v>
                </c:pt>
                <c:pt idx="441" formatCode="0.0">
                  <c:v>34.109403254972882</c:v>
                </c:pt>
                <c:pt idx="442" formatCode="0.0">
                  <c:v>33.691229656419523</c:v>
                </c:pt>
                <c:pt idx="443" formatCode="0.0">
                  <c:v>33.646021699819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A96-4795-8581-791AAA8989B0}"/>
            </c:ext>
          </c:extLst>
        </c:ser>
        <c:ser>
          <c:idx val="9"/>
          <c:order val="9"/>
          <c:tx>
            <c:v>National</c:v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layout>
                <c:manualLayout>
                  <c:x val="0.28900369998904346"/>
                  <c:y val="-1.959762962983300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DA$5:$DA$451</c:f>
              <c:numCache>
                <c:formatCode>General</c:formatCode>
                <c:ptCount val="447"/>
                <c:pt idx="3" formatCode="0.0">
                  <c:v>5.781739339918093E-3</c:v>
                </c:pt>
                <c:pt idx="4" formatCode="0.0">
                  <c:v>8.9135148157070635E-3</c:v>
                </c:pt>
                <c:pt idx="5" formatCode="0.0">
                  <c:v>1.1804384485666109E-2</c:v>
                </c:pt>
                <c:pt idx="6" formatCode="0.0">
                  <c:v>1.421344254396531E-2</c:v>
                </c:pt>
                <c:pt idx="7" formatCode="0.0">
                  <c:v>1.8790652854733803E-2</c:v>
                </c:pt>
                <c:pt idx="8" formatCode="0.0">
                  <c:v>2.4813298000481813E-2</c:v>
                </c:pt>
                <c:pt idx="9" formatCode="0.0">
                  <c:v>3.2281377981209364E-2</c:v>
                </c:pt>
                <c:pt idx="10" formatCode="0.0">
                  <c:v>4.2881233437725867E-2</c:v>
                </c:pt>
                <c:pt idx="11" formatCode="0.0">
                  <c:v>4.8662972777643927E-2</c:v>
                </c:pt>
                <c:pt idx="12" formatCode="0.0">
                  <c:v>5.372199470007228E-2</c:v>
                </c:pt>
                <c:pt idx="13" formatCode="0.0">
                  <c:v>8.1907973982172977E-2</c:v>
                </c:pt>
                <c:pt idx="14" formatCode="0.0">
                  <c:v>0.1129848229342327</c:v>
                </c:pt>
                <c:pt idx="15" formatCode="0.0">
                  <c:v>0.1428571428571429</c:v>
                </c:pt>
                <c:pt idx="16" formatCode="0.0">
                  <c:v>0.18718381112984825</c:v>
                </c:pt>
                <c:pt idx="17" formatCode="0.0">
                  <c:v>0.23319682004336303</c:v>
                </c:pt>
                <c:pt idx="18" formatCode="0.0">
                  <c:v>0.22813779812093471</c:v>
                </c:pt>
                <c:pt idx="19" formatCode="0.0">
                  <c:v>0.24235124066489999</c:v>
                </c:pt>
                <c:pt idx="20" formatCode="0.0">
                  <c:v>0.22259696458684652</c:v>
                </c:pt>
                <c:pt idx="21" formatCode="0.0">
                  <c:v>0.19248373885810646</c:v>
                </c:pt>
                <c:pt idx="22" formatCode="0.0">
                  <c:v>0.16164779571187671</c:v>
                </c:pt>
                <c:pt idx="23" formatCode="0.0">
                  <c:v>0.12888460611900743</c:v>
                </c:pt>
                <c:pt idx="24" formatCode="0.0">
                  <c:v>8.0703444953023368E-2</c:v>
                </c:pt>
                <c:pt idx="25" formatCode="0.0">
                  <c:v>9.5880510720308329E-2</c:v>
                </c:pt>
                <c:pt idx="26" formatCode="0.0">
                  <c:v>9.0339677186220199E-2</c:v>
                </c:pt>
                <c:pt idx="27" formatCode="0.0">
                  <c:v>8.6726090098771413E-2</c:v>
                </c:pt>
                <c:pt idx="28" formatCode="0.0">
                  <c:v>9.5398699108648524E-2</c:v>
                </c:pt>
                <c:pt idx="29" formatCode="0.0">
                  <c:v>0.11202119971091305</c:v>
                </c:pt>
                <c:pt idx="30" formatCode="0.0">
                  <c:v>0.11370754035172249</c:v>
                </c:pt>
                <c:pt idx="31" formatCode="0.0">
                  <c:v>0.1199710913033004</c:v>
                </c:pt>
                <c:pt idx="32" formatCode="0.0">
                  <c:v>0.10672127198265483</c:v>
                </c:pt>
                <c:pt idx="33" formatCode="0.0">
                  <c:v>0.12478920741989882</c:v>
                </c:pt>
                <c:pt idx="34" formatCode="0.0">
                  <c:v>0.14117080221633338</c:v>
                </c:pt>
                <c:pt idx="35" formatCode="0.0">
                  <c:v>0.16044326668272713</c:v>
                </c:pt>
                <c:pt idx="36" formatCode="0.0">
                  <c:v>0.15923873765357746</c:v>
                </c:pt>
                <c:pt idx="37" formatCode="0.0">
                  <c:v>0.16164779571187668</c:v>
                </c:pt>
                <c:pt idx="38" formatCode="0.0">
                  <c:v>0.18790652854733805</c:v>
                </c:pt>
                <c:pt idx="39" formatCode="0.0">
                  <c:v>0.24235124066490005</c:v>
                </c:pt>
                <c:pt idx="40" formatCode="0.0">
                  <c:v>0.23729221874247175</c:v>
                </c:pt>
                <c:pt idx="41" formatCode="0.0">
                  <c:v>0.24765116839315826</c:v>
                </c:pt>
                <c:pt idx="42" formatCode="0.0">
                  <c:v>0.25295109612141653</c:v>
                </c:pt>
                <c:pt idx="43" formatCode="0.0">
                  <c:v>0.2719826547819803</c:v>
                </c:pt>
                <c:pt idx="44" formatCode="0.0">
                  <c:v>0.3247410262587328</c:v>
                </c:pt>
                <c:pt idx="45" formatCode="0.0">
                  <c:v>0.34618164297759579</c:v>
                </c:pt>
                <c:pt idx="46" formatCode="0.0">
                  <c:v>0.31968200433630456</c:v>
                </c:pt>
                <c:pt idx="47" formatCode="0.0">
                  <c:v>0.33437725849192967</c:v>
                </c:pt>
                <c:pt idx="48" formatCode="0.0">
                  <c:v>0.35967236810407144</c:v>
                </c:pt>
                <c:pt idx="49" formatCode="0.0">
                  <c:v>0.36882678872560842</c:v>
                </c:pt>
                <c:pt idx="50" formatCode="0.0">
                  <c:v>0.41315345699831363</c:v>
                </c:pt>
                <c:pt idx="51" formatCode="0.0">
                  <c:v>0.40809443507588539</c:v>
                </c:pt>
                <c:pt idx="52" formatCode="0.0">
                  <c:v>0.4170079498915924</c:v>
                </c:pt>
                <c:pt idx="53" formatCode="0.0">
                  <c:v>0.47578896651409303</c:v>
                </c:pt>
                <c:pt idx="54" formatCode="0.0">
                  <c:v>0.53890628764153214</c:v>
                </c:pt>
                <c:pt idx="55" formatCode="0.0">
                  <c:v>0.5846783907492169</c:v>
                </c:pt>
                <c:pt idx="56" formatCode="0.0">
                  <c:v>0.62057335581787521</c:v>
                </c:pt>
                <c:pt idx="57" formatCode="0.0">
                  <c:v>0.59214647072994442</c:v>
                </c:pt>
                <c:pt idx="58" formatCode="0.0">
                  <c:v>0.62274150807034478</c:v>
                </c:pt>
                <c:pt idx="59" formatCode="0.0">
                  <c:v>0.70922669236328606</c:v>
                </c:pt>
                <c:pt idx="60" formatCode="0.0">
                  <c:v>0.742953505179475</c:v>
                </c:pt>
                <c:pt idx="61" formatCode="0.0">
                  <c:v>0.77860756444230317</c:v>
                </c:pt>
                <c:pt idx="62" formatCode="0.0">
                  <c:v>0.8267887256082872</c:v>
                </c:pt>
                <c:pt idx="63" formatCode="0.0">
                  <c:v>0.91014213442543968</c:v>
                </c:pt>
                <c:pt idx="64" formatCode="0.0">
                  <c:v>1.0277041676704406</c:v>
                </c:pt>
                <c:pt idx="65" formatCode="0.0">
                  <c:v>1.0857624668754517</c:v>
                </c:pt>
                <c:pt idx="66" formatCode="0.0">
                  <c:v>1.1151529751867024</c:v>
                </c:pt>
                <c:pt idx="67" formatCode="0.0">
                  <c:v>1.1888701517706579</c:v>
                </c:pt>
                <c:pt idx="68" formatCode="0.0">
                  <c:v>1.3249819320645628</c:v>
                </c:pt>
                <c:pt idx="69" formatCode="0.0">
                  <c:v>1.3926764635027706</c:v>
                </c:pt>
                <c:pt idx="70" formatCode="0.0">
                  <c:v>1.4092989641050351</c:v>
                </c:pt>
                <c:pt idx="71" formatCode="0.0">
                  <c:v>1.4283305227655987</c:v>
                </c:pt>
                <c:pt idx="72" formatCode="0.0">
                  <c:v>1.5413153456998316</c:v>
                </c:pt>
                <c:pt idx="73" formatCode="0.0">
                  <c:v>1.5902192242833055</c:v>
                </c:pt>
                <c:pt idx="74" formatCode="0.0">
                  <c:v>1.6834497711394842</c:v>
                </c:pt>
                <c:pt idx="75" formatCode="0.0">
                  <c:v>1.7027222356058778</c:v>
                </c:pt>
                <c:pt idx="76" formatCode="0.0">
                  <c:v>1.7301854974704889</c:v>
                </c:pt>
                <c:pt idx="77" formatCode="0.0">
                  <c:v>1.7017586123825581</c:v>
                </c:pt>
                <c:pt idx="78" formatCode="0.0">
                  <c:v>1.9113466634545893</c:v>
                </c:pt>
                <c:pt idx="79" formatCode="0.0">
                  <c:v>1.9913273909901228</c:v>
                </c:pt>
                <c:pt idx="80" formatCode="0.0">
                  <c:v>2.1958564201397244</c:v>
                </c:pt>
                <c:pt idx="81" formatCode="0.0">
                  <c:v>2.3184774753071546</c:v>
                </c:pt>
                <c:pt idx="82" formatCode="0.0">
                  <c:v>2.4331486388821975</c:v>
                </c:pt>
                <c:pt idx="83" formatCode="0.0">
                  <c:v>2.5878101662250059</c:v>
                </c:pt>
                <c:pt idx="84" formatCode="0.0">
                  <c:v>2.7819802457239229</c:v>
                </c:pt>
                <c:pt idx="85" formatCode="0.0">
                  <c:v>2.7916164779571191</c:v>
                </c:pt>
                <c:pt idx="86" formatCode="0.0">
                  <c:v>3.2254878342568052</c:v>
                </c:pt>
                <c:pt idx="87" formatCode="0.0">
                  <c:v>3.4194170079498911</c:v>
                </c:pt>
                <c:pt idx="88" formatCode="0.0">
                  <c:v>3.6150325222837867</c:v>
                </c:pt>
                <c:pt idx="89" formatCode="0.0">
                  <c:v>3.7586123825584203</c:v>
                </c:pt>
                <c:pt idx="90" formatCode="0.0">
                  <c:v>3.9802457239219469</c:v>
                </c:pt>
                <c:pt idx="91" formatCode="0.0">
                  <c:v>4.1385208383522043</c:v>
                </c:pt>
                <c:pt idx="92" formatCode="0.0">
                  <c:v>4.3112503011322572</c:v>
                </c:pt>
                <c:pt idx="93" formatCode="0.0">
                  <c:v>4.282341604432669</c:v>
                </c:pt>
                <c:pt idx="94" formatCode="0.0">
                  <c:v>4.4550710672127201</c:v>
                </c:pt>
                <c:pt idx="95" formatCode="0.0">
                  <c:v>4.7610214406167186</c:v>
                </c:pt>
                <c:pt idx="96" formatCode="0.0">
                  <c:v>5.2404239942182613</c:v>
                </c:pt>
                <c:pt idx="97" formatCode="0.0">
                  <c:v>5.4574801252710188</c:v>
                </c:pt>
                <c:pt idx="98" formatCode="0.0">
                  <c:v>5.6234642254878349</c:v>
                </c:pt>
                <c:pt idx="99" formatCode="0.0">
                  <c:v>6.0204769934955422</c:v>
                </c:pt>
                <c:pt idx="100" formatCode="0.0">
                  <c:v>6.1002168152252452</c:v>
                </c:pt>
                <c:pt idx="101" formatCode="0.0">
                  <c:v>6.2124789207419902</c:v>
                </c:pt>
                <c:pt idx="102" formatCode="0.0">
                  <c:v>6.4912069380872079</c:v>
                </c:pt>
                <c:pt idx="103" formatCode="0.0">
                  <c:v>6.568055890146951</c:v>
                </c:pt>
                <c:pt idx="104" formatCode="0.0">
                  <c:v>6.7590941941700811</c:v>
                </c:pt>
                <c:pt idx="105" formatCode="0.0">
                  <c:v>7.1727294627800537</c:v>
                </c:pt>
                <c:pt idx="106" formatCode="0.0">
                  <c:v>7.5605878101662221</c:v>
                </c:pt>
                <c:pt idx="107" formatCode="0.0">
                  <c:v>8.3076367140448095</c:v>
                </c:pt>
                <c:pt idx="108" formatCode="0.0">
                  <c:v>8.8834015899783214</c:v>
                </c:pt>
                <c:pt idx="109" formatCode="0.0">
                  <c:v>9.4239942182606615</c:v>
                </c:pt>
                <c:pt idx="110" formatCode="0.0">
                  <c:v>9.8366658636473154</c:v>
                </c:pt>
                <c:pt idx="111" formatCode="0.0">
                  <c:v>10.280414357986029</c:v>
                </c:pt>
                <c:pt idx="112" formatCode="0.0">
                  <c:v>10.865092748735249</c:v>
                </c:pt>
                <c:pt idx="113" formatCode="0.0">
                  <c:v>11.451939291736934</c:v>
                </c:pt>
                <c:pt idx="114" formatCode="0.0">
                  <c:v>11.969645868465431</c:v>
                </c:pt>
                <c:pt idx="115" formatCode="0.0">
                  <c:v>12.655745603469047</c:v>
                </c:pt>
                <c:pt idx="116" formatCode="0.0">
                  <c:v>13.533365454107443</c:v>
                </c:pt>
                <c:pt idx="117" formatCode="0.0">
                  <c:v>14.120934714526625</c:v>
                </c:pt>
                <c:pt idx="118" formatCode="0.0">
                  <c:v>14.805348108889424</c:v>
                </c:pt>
                <c:pt idx="119" formatCode="0.0">
                  <c:v>15.573596723681044</c:v>
                </c:pt>
                <c:pt idx="120" formatCode="0.0">
                  <c:v>15.738858106480363</c:v>
                </c:pt>
                <c:pt idx="121" formatCode="0.0">
                  <c:v>16.930378222115156</c:v>
                </c:pt>
                <c:pt idx="122" formatCode="0.0">
                  <c:v>17.721753794266441</c:v>
                </c:pt>
                <c:pt idx="123" formatCode="0.0">
                  <c:v>18.358708744880751</c:v>
                </c:pt>
                <c:pt idx="124" formatCode="0.0">
                  <c:v>19.150084317032046</c:v>
                </c:pt>
                <c:pt idx="125" formatCode="0.0">
                  <c:v>19.772344013490727</c:v>
                </c:pt>
                <c:pt idx="126" formatCode="0.0">
                  <c:v>19.859551915201163</c:v>
                </c:pt>
                <c:pt idx="127" formatCode="0.0">
                  <c:v>20.810407130811853</c:v>
                </c:pt>
                <c:pt idx="128" formatCode="0.0">
                  <c:v>20.689472416285231</c:v>
                </c:pt>
                <c:pt idx="129" formatCode="0.0">
                  <c:v>20.9364008672609</c:v>
                </c:pt>
                <c:pt idx="130" formatCode="0.0">
                  <c:v>20.88532883642495</c:v>
                </c:pt>
                <c:pt idx="131" formatCode="0.0">
                  <c:v>21.220428812334372</c:v>
                </c:pt>
                <c:pt idx="132" formatCode="0.0">
                  <c:v>20.677427125993734</c:v>
                </c:pt>
                <c:pt idx="133" formatCode="0.0">
                  <c:v>20.117080221633341</c:v>
                </c:pt>
                <c:pt idx="134" formatCode="0.0">
                  <c:v>20.211756203324502</c:v>
                </c:pt>
                <c:pt idx="135" formatCode="0.0">
                  <c:v>20.195374608528066</c:v>
                </c:pt>
                <c:pt idx="136" formatCode="0.0">
                  <c:v>20.332931823656956</c:v>
                </c:pt>
                <c:pt idx="137" formatCode="0.0">
                  <c:v>20.072512647554802</c:v>
                </c:pt>
                <c:pt idx="138" formatCode="0.0">
                  <c:v>19.538665381835703</c:v>
                </c:pt>
                <c:pt idx="139" formatCode="0.0">
                  <c:v>19.007708985786557</c:v>
                </c:pt>
                <c:pt idx="140" formatCode="0.0">
                  <c:v>18.781739339918087</c:v>
                </c:pt>
                <c:pt idx="141" formatCode="0.0">
                  <c:v>18.350999759094201</c:v>
                </c:pt>
                <c:pt idx="142" formatCode="0.0">
                  <c:v>17.85521561069622</c:v>
                </c:pt>
                <c:pt idx="143" formatCode="0.0">
                  <c:v>17.149361599614551</c:v>
                </c:pt>
                <c:pt idx="144" formatCode="0.0">
                  <c:v>16.644182124789207</c:v>
                </c:pt>
                <c:pt idx="145" formatCode="0.0">
                  <c:v>15.912310286677911</c:v>
                </c:pt>
                <c:pt idx="146" formatCode="0.0">
                  <c:v>15.498193206456277</c:v>
                </c:pt>
                <c:pt idx="147" formatCode="0.0">
                  <c:v>14.829438689472418</c:v>
                </c:pt>
                <c:pt idx="148" formatCode="0.0">
                  <c:v>14.154179715731148</c:v>
                </c:pt>
                <c:pt idx="149" formatCode="0.0">
                  <c:v>13.494338713563</c:v>
                </c:pt>
                <c:pt idx="150" formatCode="0.0">
                  <c:v>12.597687304264035</c:v>
                </c:pt>
                <c:pt idx="151" formatCode="0.0">
                  <c:v>12.020717899301372</c:v>
                </c:pt>
                <c:pt idx="152" formatCode="0.0">
                  <c:v>11.653336545410744</c:v>
                </c:pt>
                <c:pt idx="153" formatCode="0.0">
                  <c:v>11.258973741267161</c:v>
                </c:pt>
                <c:pt idx="154" formatCode="0.0">
                  <c:v>10.79041194892797</c:v>
                </c:pt>
                <c:pt idx="155" formatCode="0.0">
                  <c:v>9.4054444712117569</c:v>
                </c:pt>
                <c:pt idx="156" formatCode="0.0">
                  <c:v>8.3548542519874758</c:v>
                </c:pt>
                <c:pt idx="157" formatCode="0.0">
                  <c:v>8.1098530474584418</c:v>
                </c:pt>
                <c:pt idx="158" formatCode="0.0">
                  <c:v>7.3391953746085283</c:v>
                </c:pt>
                <c:pt idx="159" formatCode="0.0">
                  <c:v>6.6217778848470266</c:v>
                </c:pt>
                <c:pt idx="160" formatCode="0.0">
                  <c:v>6.3329318236569483</c:v>
                </c:pt>
                <c:pt idx="161" formatCode="0.0">
                  <c:v>6.2719826547819801</c:v>
                </c:pt>
                <c:pt idx="162" formatCode="0.0">
                  <c:v>6.5384244760298724</c:v>
                </c:pt>
                <c:pt idx="163" formatCode="0.0">
                  <c:v>6.5225246928450966</c:v>
                </c:pt>
                <c:pt idx="164" formatCode="0.0">
                  <c:v>5.8294386894724157</c:v>
                </c:pt>
                <c:pt idx="165" formatCode="0.0">
                  <c:v>5.635268609973501</c:v>
                </c:pt>
                <c:pt idx="166" formatCode="0.0">
                  <c:v>5.4030354131534581</c:v>
                </c:pt>
                <c:pt idx="167" formatCode="0.0">
                  <c:v>5.1948927969164052</c:v>
                </c:pt>
                <c:pt idx="168" formatCode="0.0">
                  <c:v>5.0284268850879306</c:v>
                </c:pt>
                <c:pt idx="169" formatCode="0.0">
                  <c:v>4.7316309323054684</c:v>
                </c:pt>
                <c:pt idx="170" formatCode="0.0">
                  <c:v>4.4196579137557226</c:v>
                </c:pt>
                <c:pt idx="171" formatCode="0.0">
                  <c:v>4.043603950855216</c:v>
                </c:pt>
                <c:pt idx="172" formatCode="0.0">
                  <c:v>3.7354854251987462</c:v>
                </c:pt>
                <c:pt idx="173" formatCode="0.0">
                  <c:v>3.6817634304986742</c:v>
                </c:pt>
                <c:pt idx="174" formatCode="0.0">
                  <c:v>3.7559624186942906</c:v>
                </c:pt>
                <c:pt idx="175" formatCode="0.0">
                  <c:v>3.6718862924596478</c:v>
                </c:pt>
                <c:pt idx="176" formatCode="0.0">
                  <c:v>3.5880510720308356</c:v>
                </c:pt>
                <c:pt idx="177" formatCode="0.0">
                  <c:v>3.5483016140688997</c:v>
                </c:pt>
                <c:pt idx="178" formatCode="0.0">
                  <c:v>3.6027463261864612</c:v>
                </c:pt>
                <c:pt idx="179" formatCode="0.0">
                  <c:v>3.4529029149602497</c:v>
                </c:pt>
                <c:pt idx="180" formatCode="0.0">
                  <c:v>3.2428330522765605</c:v>
                </c:pt>
                <c:pt idx="181" formatCode="0.0">
                  <c:v>2.9682004336304502</c:v>
                </c:pt>
                <c:pt idx="182" formatCode="0.0">
                  <c:v>2.9347145266200916</c:v>
                </c:pt>
                <c:pt idx="183" formatCode="0.0">
                  <c:v>2.8513611178029392</c:v>
                </c:pt>
                <c:pt idx="184" formatCode="0.0">
                  <c:v>2.7518670199951814</c:v>
                </c:pt>
                <c:pt idx="185" formatCode="0.0">
                  <c:v>2.7270537219947002</c:v>
                </c:pt>
                <c:pt idx="186" formatCode="0.0">
                  <c:v>2.7294627800529998</c:v>
                </c:pt>
                <c:pt idx="187" formatCode="0.0">
                  <c:v>2.7164538665381834</c:v>
                </c:pt>
                <c:pt idx="188" formatCode="0.0">
                  <c:v>2.7431944109853057</c:v>
                </c:pt>
                <c:pt idx="189" formatCode="0.0">
                  <c:v>2.6692363285955198</c:v>
                </c:pt>
                <c:pt idx="190" formatCode="0.0">
                  <c:v>2.6530956396049143</c:v>
                </c:pt>
                <c:pt idx="191" formatCode="0.0">
                  <c:v>2.6822452421103353</c:v>
                </c:pt>
                <c:pt idx="192" formatCode="0.0">
                  <c:v>2.705131293664178</c:v>
                </c:pt>
                <c:pt idx="193" formatCode="0.0">
                  <c:v>2.75644423030595</c:v>
                </c:pt>
                <c:pt idx="194" formatCode="0.0">
                  <c:v>2.750662490966032</c:v>
                </c:pt>
                <c:pt idx="195" formatCode="0.0">
                  <c:v>2.6950132498193211</c:v>
                </c:pt>
                <c:pt idx="196" formatCode="0.0">
                  <c:v>2.8332931823656944</c:v>
                </c:pt>
                <c:pt idx="197" formatCode="0.0">
                  <c:v>2.8291977836665869</c:v>
                </c:pt>
                <c:pt idx="198" formatCode="0.0">
                  <c:v>2.7648759335099977</c:v>
                </c:pt>
                <c:pt idx="199" formatCode="0.0">
                  <c:v>2.6263550951577939</c:v>
                </c:pt>
                <c:pt idx="200" formatCode="0.0">
                  <c:v>2.3709949409780782</c:v>
                </c:pt>
                <c:pt idx="201" formatCode="0.0">
                  <c:v>2.3018549747048898</c:v>
                </c:pt>
                <c:pt idx="202" formatCode="0.0">
                  <c:v>2.3447362081426171</c:v>
                </c:pt>
                <c:pt idx="203" formatCode="0.0">
                  <c:v>2.2380149361599613</c:v>
                </c:pt>
                <c:pt idx="204" formatCode="0.0">
                  <c:v>2.2045290291496022</c:v>
                </c:pt>
                <c:pt idx="205" formatCode="0.0">
                  <c:v>2.1765839556733315</c:v>
                </c:pt>
                <c:pt idx="206" formatCode="0.0">
                  <c:v>2.241387617441581</c:v>
                </c:pt>
                <c:pt idx="207" formatCode="0.0">
                  <c:v>2.4615755239701276</c:v>
                </c:pt>
                <c:pt idx="208" formatCode="0.0">
                  <c:v>2.5350517947482527</c:v>
                </c:pt>
                <c:pt idx="209" formatCode="0.0">
                  <c:v>2.5405926282823419</c:v>
                </c:pt>
                <c:pt idx="210" formatCode="0.0">
                  <c:v>2.5704649482052524</c:v>
                </c:pt>
                <c:pt idx="211" formatCode="0.0">
                  <c:v>2.6056371958564202</c:v>
                </c:pt>
                <c:pt idx="212" formatCode="0.0">
                  <c:v>2.6034690436039511</c:v>
                </c:pt>
                <c:pt idx="213" formatCode="0.0">
                  <c:v>2.5774512165743202</c:v>
                </c:pt>
                <c:pt idx="214" formatCode="0.0">
                  <c:v>2.6933269091785106</c:v>
                </c:pt>
                <c:pt idx="215" formatCode="0.0">
                  <c:v>2.6938087207901709</c:v>
                </c:pt>
                <c:pt idx="216" formatCode="0.0">
                  <c:v>2.684654300168634</c:v>
                </c:pt>
                <c:pt idx="217" formatCode="0.0">
                  <c:v>2.721031076848953</c:v>
                </c:pt>
                <c:pt idx="218" formatCode="0.0">
                  <c:v>2.7123584678390746</c:v>
                </c:pt>
                <c:pt idx="219" formatCode="0.0">
                  <c:v>2.7205492652372922</c:v>
                </c:pt>
                <c:pt idx="220" formatCode="0.0">
                  <c:v>2.8116116598410024</c:v>
                </c:pt>
                <c:pt idx="221" formatCode="0.0">
                  <c:v>2.7065767284991575</c:v>
                </c:pt>
                <c:pt idx="222" formatCode="0.0">
                  <c:v>2.7275355336063605</c:v>
                </c:pt>
                <c:pt idx="223" formatCode="0.0">
                  <c:v>2.8655745603469045</c:v>
                </c:pt>
                <c:pt idx="224" formatCode="0.0">
                  <c:v>2.8347386172006748</c:v>
                </c:pt>
                <c:pt idx="225" formatCode="0.0">
                  <c:v>2.8776198506384003</c:v>
                </c:pt>
                <c:pt idx="226" formatCode="0.0">
                  <c:v>2.9706094916887484</c:v>
                </c:pt>
                <c:pt idx="227" formatCode="0.0">
                  <c:v>2.9412189833774991</c:v>
                </c:pt>
                <c:pt idx="228" formatCode="0.0">
                  <c:v>2.918573837629487</c:v>
                </c:pt>
                <c:pt idx="229" formatCode="0.0">
                  <c:v>2.9089376053962899</c:v>
                </c:pt>
                <c:pt idx="230" formatCode="0.0">
                  <c:v>2.7716212960732354</c:v>
                </c:pt>
                <c:pt idx="231" formatCode="0.0">
                  <c:v>2.7817393399180914</c:v>
                </c:pt>
                <c:pt idx="232" formatCode="0.0">
                  <c:v>2.7354854251987462</c:v>
                </c:pt>
                <c:pt idx="233" formatCode="0.0">
                  <c:v>2.7113948446157554</c:v>
                </c:pt>
                <c:pt idx="234" formatCode="0.0">
                  <c:v>2.7150084317032031</c:v>
                </c:pt>
                <c:pt idx="235" formatCode="0.0">
                  <c:v>2.6995904601300889</c:v>
                </c:pt>
                <c:pt idx="236" formatCode="0.0">
                  <c:v>2.6391231028667792</c:v>
                </c:pt>
                <c:pt idx="237" formatCode="0.0">
                  <c:v>2.6104553119730185</c:v>
                </c:pt>
                <c:pt idx="238" formatCode="0.0">
                  <c:v>2.6463502770416776</c:v>
                </c:pt>
                <c:pt idx="239" formatCode="0.0">
                  <c:v>2.6099735003613596</c:v>
                </c:pt>
                <c:pt idx="240" formatCode="0.0">
                  <c:v>2.5642013972536741</c:v>
                </c:pt>
                <c:pt idx="241" formatCode="0.0">
                  <c:v>2.5278246205733561</c:v>
                </c:pt>
                <c:pt idx="242" formatCode="0.0">
                  <c:v>2.5184292941459887</c:v>
                </c:pt>
                <c:pt idx="243" formatCode="0.0">
                  <c:v>2.5186701999518188</c:v>
                </c:pt>
                <c:pt idx="244" formatCode="0.0">
                  <c:v>2.6331004577210315</c:v>
                </c:pt>
                <c:pt idx="245" formatCode="0.0">
                  <c:v>2.750662490966032</c:v>
                </c:pt>
                <c:pt idx="246" formatCode="0.0">
                  <c:v>2.8537701758612388</c:v>
                </c:pt>
                <c:pt idx="247" formatCode="0.0">
                  <c:v>2.9674777162129615</c:v>
                </c:pt>
                <c:pt idx="248" formatCode="0.0">
                  <c:v>3.0763671404480846</c:v>
                </c:pt>
                <c:pt idx="249" formatCode="0.0">
                  <c:v>3.198265478198024</c:v>
                </c:pt>
                <c:pt idx="250" formatCode="0.0">
                  <c:v>3.3114912069380873</c:v>
                </c:pt>
                <c:pt idx="251" formatCode="0.0">
                  <c:v>3.3110093953264261</c:v>
                </c:pt>
                <c:pt idx="252" formatCode="0.0">
                  <c:v>3.3731630932305467</c:v>
                </c:pt>
                <c:pt idx="253" formatCode="0.0">
                  <c:v>3.5533606359913281</c:v>
                </c:pt>
                <c:pt idx="254" formatCode="0.0">
                  <c:v>3.5957600578173947</c:v>
                </c:pt>
                <c:pt idx="255" formatCode="0.0">
                  <c:v>3.8106480366176818</c:v>
                </c:pt>
                <c:pt idx="256" formatCode="0.0">
                  <c:v>3.9091785112021205</c:v>
                </c:pt>
                <c:pt idx="257" formatCode="0.0">
                  <c:v>4.0122861960973264</c:v>
                </c:pt>
                <c:pt idx="258" formatCode="0.0">
                  <c:v>4.2134425439653089</c:v>
                </c:pt>
                <c:pt idx="259" formatCode="0.0">
                  <c:v>4.3353408817152488</c:v>
                </c:pt>
                <c:pt idx="260" formatCode="0.0">
                  <c:v>4.4225487834256816</c:v>
                </c:pt>
                <c:pt idx="261" formatCode="0.0">
                  <c:v>4.5562515056612867</c:v>
                </c:pt>
                <c:pt idx="262" formatCode="0.0">
                  <c:v>4.6200915442062147</c:v>
                </c:pt>
                <c:pt idx="263" formatCode="0.0">
                  <c:v>4.753071549024332</c:v>
                </c:pt>
                <c:pt idx="264" formatCode="0.0">
                  <c:v>4.8236569501324968</c:v>
                </c:pt>
                <c:pt idx="265" formatCode="0.0">
                  <c:v>4.8771380390267396</c:v>
                </c:pt>
                <c:pt idx="266" formatCode="0.0">
                  <c:v>4.8294386894724166</c:v>
                </c:pt>
                <c:pt idx="267" formatCode="0.0">
                  <c:v>5.0517947482534336</c:v>
                </c:pt>
                <c:pt idx="268" formatCode="0.0">
                  <c:v>5.3724403758130572</c:v>
                </c:pt>
                <c:pt idx="269" formatCode="0.0">
                  <c:v>5.748735244519394</c:v>
                </c:pt>
                <c:pt idx="270" formatCode="0.0">
                  <c:v>6.0973259455552871</c:v>
                </c:pt>
                <c:pt idx="271" formatCode="0.0">
                  <c:v>6.4714526620091553</c:v>
                </c:pt>
                <c:pt idx="272" formatCode="0.0">
                  <c:v>6.7150084317032057</c:v>
                </c:pt>
                <c:pt idx="273" formatCode="0.0">
                  <c:v>7.1284027945073474</c:v>
                </c:pt>
                <c:pt idx="274" formatCode="0.0">
                  <c:v>7.7393399180920284</c:v>
                </c:pt>
                <c:pt idx="275" formatCode="0.0">
                  <c:v>8.6465911828475033</c:v>
                </c:pt>
                <c:pt idx="276" formatCode="0.0">
                  <c:v>9.4625391471934517</c:v>
                </c:pt>
                <c:pt idx="277" formatCode="0.0">
                  <c:v>10.242351240664901</c:v>
                </c:pt>
                <c:pt idx="278" formatCode="0.0">
                  <c:v>11.177788484702479</c:v>
                </c:pt>
                <c:pt idx="279" formatCode="0.0">
                  <c:v>11.623464225487837</c:v>
                </c:pt>
                <c:pt idx="280" formatCode="0.0">
                  <c:v>12.476511683931584</c:v>
                </c:pt>
                <c:pt idx="281" formatCode="0.0">
                  <c:v>13.271259937364492</c:v>
                </c:pt>
                <c:pt idx="282" formatCode="0.0">
                  <c:v>13.502529510961217</c:v>
                </c:pt>
                <c:pt idx="283" formatCode="0.0">
                  <c:v>13.600337268128163</c:v>
                </c:pt>
                <c:pt idx="284" formatCode="0.0">
                  <c:v>14.336786316550233</c:v>
                </c:pt>
                <c:pt idx="285" formatCode="0.0">
                  <c:v>14.685136111780299</c:v>
                </c:pt>
                <c:pt idx="286" formatCode="0.0">
                  <c:v>15.558660563719585</c:v>
                </c:pt>
                <c:pt idx="287" formatCode="0.0">
                  <c:v>16.028185979282103</c:v>
                </c:pt>
                <c:pt idx="288" formatCode="0.0">
                  <c:v>17.000963623223321</c:v>
                </c:pt>
                <c:pt idx="289" formatCode="0.0">
                  <c:v>18.248614791616482</c:v>
                </c:pt>
                <c:pt idx="290" formatCode="0.0">
                  <c:v>19.711153938809925</c:v>
                </c:pt>
                <c:pt idx="291" formatCode="0.0">
                  <c:v>19.85882919778367</c:v>
                </c:pt>
                <c:pt idx="292" formatCode="0.0">
                  <c:v>19.872560828715972</c:v>
                </c:pt>
                <c:pt idx="293" formatCode="0.0">
                  <c:v>19.551915201156344</c:v>
                </c:pt>
                <c:pt idx="294" formatCode="0.0">
                  <c:v>19.570946759816913</c:v>
                </c:pt>
                <c:pt idx="295" formatCode="0.0">
                  <c:v>20.453625632377733</c:v>
                </c:pt>
                <c:pt idx="296" formatCode="0.0">
                  <c:v>21.343772584919289</c:v>
                </c:pt>
                <c:pt idx="297" formatCode="0.0">
                  <c:v>21.808720790171037</c:v>
                </c:pt>
                <c:pt idx="298" formatCode="0.0">
                  <c:v>22.639845820284272</c:v>
                </c:pt>
                <c:pt idx="299" formatCode="0.0">
                  <c:v>23.207660804625384</c:v>
                </c:pt>
                <c:pt idx="300" formatCode="0.0">
                  <c:v>24.446639364008664</c:v>
                </c:pt>
                <c:pt idx="301" formatCode="0.0">
                  <c:v>25.610214406167188</c:v>
                </c:pt>
                <c:pt idx="302" formatCode="0.0">
                  <c:v>26.603228137798123</c:v>
                </c:pt>
                <c:pt idx="303" formatCode="0.0">
                  <c:v>27.325704649482049</c:v>
                </c:pt>
                <c:pt idx="304" formatCode="0.0">
                  <c:v>28.591423753312451</c:v>
                </c:pt>
                <c:pt idx="305" formatCode="0.0">
                  <c:v>30.18236569501325</c:v>
                </c:pt>
                <c:pt idx="306" formatCode="0.0">
                  <c:v>31.522283787039267</c:v>
                </c:pt>
                <c:pt idx="307" formatCode="0.0">
                  <c:v>32.111298482293414</c:v>
                </c:pt>
                <c:pt idx="308" formatCode="0.0">
                  <c:v>31.79691640568538</c:v>
                </c:pt>
                <c:pt idx="309" formatCode="0.0">
                  <c:v>31.007468079980733</c:v>
                </c:pt>
                <c:pt idx="310" formatCode="0.0">
                  <c:v>30.40616718862924</c:v>
                </c:pt>
                <c:pt idx="311" formatCode="0.0">
                  <c:v>28.695735967236818</c:v>
                </c:pt>
                <c:pt idx="312" formatCode="0.0">
                  <c:v>26.856901951337033</c:v>
                </c:pt>
                <c:pt idx="313" formatCode="0.0">
                  <c:v>25.615273428089626</c:v>
                </c:pt>
                <c:pt idx="314" formatCode="0.0">
                  <c:v>24.161165984100222</c:v>
                </c:pt>
                <c:pt idx="315" formatCode="0.0">
                  <c:v>23.360154179715728</c:v>
                </c:pt>
                <c:pt idx="316" formatCode="0.0">
                  <c:v>21.952059744639843</c:v>
                </c:pt>
                <c:pt idx="317" formatCode="0.0">
                  <c:v>20.236328595519147</c:v>
                </c:pt>
                <c:pt idx="318" formatCode="0.0">
                  <c:v>19.484943387135626</c:v>
                </c:pt>
                <c:pt idx="319" formatCode="0.0">
                  <c:v>19.074921705613107</c:v>
                </c:pt>
                <c:pt idx="320" formatCode="0.0">
                  <c:v>18.082389785593829</c:v>
                </c:pt>
                <c:pt idx="321" formatCode="0.0">
                  <c:v>17.008190797398218</c:v>
                </c:pt>
                <c:pt idx="322" formatCode="0.0">
                  <c:v>16.107443989400146</c:v>
                </c:pt>
                <c:pt idx="323" formatCode="0.0">
                  <c:v>14.748735244519395</c:v>
                </c:pt>
                <c:pt idx="324" formatCode="0.0">
                  <c:v>13.729462780052998</c:v>
                </c:pt>
                <c:pt idx="325" formatCode="0.0">
                  <c:v>12.375572151288848</c:v>
                </c:pt>
                <c:pt idx="326" formatCode="0.0">
                  <c:v>10.695495061430979</c:v>
                </c:pt>
                <c:pt idx="327" formatCode="0.0">
                  <c:v>9.8229342327150118</c:v>
                </c:pt>
                <c:pt idx="328" formatCode="0.0">
                  <c:v>9.3403999036376746</c:v>
                </c:pt>
                <c:pt idx="329" formatCode="0.0">
                  <c:v>8.5232474102625844</c:v>
                </c:pt>
                <c:pt idx="330" formatCode="0.0">
                  <c:v>7.7976391231028694</c:v>
                </c:pt>
                <c:pt idx="331" formatCode="0.0">
                  <c:v>6.9788002890869674</c:v>
                </c:pt>
                <c:pt idx="332" formatCode="0.0">
                  <c:v>6.4025536015417979</c:v>
                </c:pt>
                <c:pt idx="333" formatCode="0.0">
                  <c:v>5.8935196338231766</c:v>
                </c:pt>
                <c:pt idx="334" formatCode="0.0">
                  <c:v>5.3900264996386413</c:v>
                </c:pt>
                <c:pt idx="335" formatCode="0.0">
                  <c:v>5.1076848952059741</c:v>
                </c:pt>
                <c:pt idx="336" formatCode="0.0">
                  <c:v>4.8891833293182367</c:v>
                </c:pt>
                <c:pt idx="337" formatCode="0.0">
                  <c:v>4.6726090098771378</c:v>
                </c:pt>
                <c:pt idx="338" formatCode="0.0">
                  <c:v>4.3683449771139466</c:v>
                </c:pt>
                <c:pt idx="339" formatCode="0.0">
                  <c:v>4.1351481570705859</c:v>
                </c:pt>
                <c:pt idx="340" formatCode="0.0">
                  <c:v>3.9419417007949891</c:v>
                </c:pt>
                <c:pt idx="341" formatCode="0.0">
                  <c:v>3.7754757889665145</c:v>
                </c:pt>
                <c:pt idx="342" formatCode="0.0">
                  <c:v>3.7094675981691156</c:v>
                </c:pt>
                <c:pt idx="343" formatCode="0.0">
                  <c:v>3.5813057094675993</c:v>
                </c:pt>
                <c:pt idx="344" formatCode="0.0">
                  <c:v>3.3791857383762953</c:v>
                </c:pt>
                <c:pt idx="345" formatCode="0.0">
                  <c:v>3.3403999036376781</c:v>
                </c:pt>
                <c:pt idx="346" formatCode="0.0">
                  <c:v>3.130811852565647</c:v>
                </c:pt>
                <c:pt idx="347" formatCode="0.0">
                  <c:v>2.9641050349313427</c:v>
                </c:pt>
                <c:pt idx="348" formatCode="0.0">
                  <c:v>2.8882197060949171</c:v>
                </c:pt>
                <c:pt idx="349" formatCode="0.0">
                  <c:v>2.8135389062876413</c:v>
                </c:pt>
                <c:pt idx="350" formatCode="0.0">
                  <c:v>2.7624668754516981</c:v>
                </c:pt>
                <c:pt idx="351" formatCode="0.0">
                  <c:v>2.6521320163815942</c:v>
                </c:pt>
                <c:pt idx="352" formatCode="0.0">
                  <c:v>2.4953023367863167</c:v>
                </c:pt>
                <c:pt idx="353" formatCode="0.0">
                  <c:v>2.4333895446880272</c:v>
                </c:pt>
                <c:pt idx="354" formatCode="0.0">
                  <c:v>2.3748494338713559</c:v>
                </c:pt>
                <c:pt idx="355" formatCode="0.0">
                  <c:v>2.3119730185497467</c:v>
                </c:pt>
                <c:pt idx="356" formatCode="0.0">
                  <c:v>2.2575283064321852</c:v>
                </c:pt>
                <c:pt idx="357" formatCode="0.0">
                  <c:v>2.2233196820043371</c:v>
                </c:pt>
                <c:pt idx="358" formatCode="0.0">
                  <c:v>2.1233437725849202</c:v>
                </c:pt>
                <c:pt idx="359" formatCode="0.0">
                  <c:v>2.0578173933991804</c:v>
                </c:pt>
                <c:pt idx="360" formatCode="0.0">
                  <c:v>1.975668513611178</c:v>
                </c:pt>
                <c:pt idx="361" formatCode="0.0">
                  <c:v>1.9226692363285955</c:v>
                </c:pt>
                <c:pt idx="362" formatCode="0.0">
                  <c:v>1.8489520597446401</c:v>
                </c:pt>
                <c:pt idx="363" formatCode="0.0">
                  <c:v>1.8662972777643938</c:v>
                </c:pt>
                <c:pt idx="364" formatCode="0.0">
                  <c:v>1.8988195615514336</c:v>
                </c:pt>
                <c:pt idx="365" formatCode="0.0">
                  <c:v>1.9060467357263311</c:v>
                </c:pt>
                <c:pt idx="366" formatCode="0.0">
                  <c:v>1.9229101421344255</c:v>
                </c:pt>
                <c:pt idx="367" formatCode="0.0">
                  <c:v>1.9017104312213926</c:v>
                </c:pt>
                <c:pt idx="368" formatCode="0.0">
                  <c:v>1.9773548542519874</c:v>
                </c:pt>
                <c:pt idx="369" formatCode="0.0">
                  <c:v>2.0120452902914954</c:v>
                </c:pt>
                <c:pt idx="370" formatCode="0.0">
                  <c:v>2.0060226451457477</c:v>
                </c:pt>
                <c:pt idx="371" formatCode="0.0">
                  <c:v>1.9920501084076128</c:v>
                </c:pt>
                <c:pt idx="372" formatCode="0.0">
                  <c:v>2.005059021922428</c:v>
                </c:pt>
                <c:pt idx="373" formatCode="0.0">
                  <c:v>2.0026499638641284</c:v>
                </c:pt>
                <c:pt idx="374" formatCode="0.0">
                  <c:v>2.0597446398458192</c:v>
                </c:pt>
                <c:pt idx="375" formatCode="0.0">
                  <c:v>2.0204769934955427</c:v>
                </c:pt>
                <c:pt idx="376" formatCode="0.0">
                  <c:v>2.0313177547578896</c:v>
                </c:pt>
                <c:pt idx="377" formatCode="0.0">
                  <c:v>2.0279450734762707</c:v>
                </c:pt>
                <c:pt idx="378" formatCode="0.0">
                  <c:v>1.9260419176102146</c:v>
                </c:pt>
                <c:pt idx="379" formatCode="0.0">
                  <c:v>1.8096844133943626</c:v>
                </c:pt>
                <c:pt idx="380" formatCode="0.0">
                  <c:v>1.8313659359190555</c:v>
                </c:pt>
                <c:pt idx="381" formatCode="0.0">
                  <c:v>1.8443748494338716</c:v>
                </c:pt>
                <c:pt idx="382" formatCode="0.0">
                  <c:v>1.8465430016863409</c:v>
                </c:pt>
                <c:pt idx="383" formatCode="0.0">
                  <c:v>1.8258251023849676</c:v>
                </c:pt>
                <c:pt idx="384" formatCode="0.0">
                  <c:v>1.8135389062876417</c:v>
                </c:pt>
                <c:pt idx="385" formatCode="0.0">
                  <c:v>1.8728017345218024</c:v>
                </c:pt>
                <c:pt idx="386" formatCode="0.0">
                  <c:v>1.9629005059021922</c:v>
                </c:pt>
                <c:pt idx="387" formatCode="0.0">
                  <c:v>1.9002649963864129</c:v>
                </c:pt>
                <c:pt idx="388" formatCode="0.0">
                  <c:v>1.8417248855697419</c:v>
                </c:pt>
                <c:pt idx="389" formatCode="0.0">
                  <c:v>1.6947723440134905</c:v>
                </c:pt>
                <c:pt idx="390" formatCode="0.0">
                  <c:v>1.5738376294868708</c:v>
                </c:pt>
                <c:pt idx="391" formatCode="0.0">
                  <c:v>1.5507106721271982</c:v>
                </c:pt>
                <c:pt idx="392" formatCode="0.0">
                  <c:v>1.4738617200674535</c:v>
                </c:pt>
                <c:pt idx="393" formatCode="0.0">
                  <c:v>1.3134184533847264</c:v>
                </c:pt>
                <c:pt idx="394" formatCode="0.0">
                  <c:v>1.3307636714044806</c:v>
                </c:pt>
                <c:pt idx="395" formatCode="0.0">
                  <c:v>1.3293182365695013</c:v>
                </c:pt>
                <c:pt idx="396" formatCode="0.0">
                  <c:v>1.4516983859311008</c:v>
                </c:pt>
                <c:pt idx="397" formatCode="0.0">
                  <c:v>1.564442303059504</c:v>
                </c:pt>
                <c:pt idx="398" formatCode="0.0">
                  <c:v>1.6133461816429777</c:v>
                </c:pt>
                <c:pt idx="399" formatCode="0.0">
                  <c:v>1.7121175620332456</c:v>
                </c:pt>
                <c:pt idx="400" formatCode="0.0">
                  <c:v>1.9152011563478679</c:v>
                </c:pt>
                <c:pt idx="401" formatCode="0.0">
                  <c:v>1.9166465911828474</c:v>
                </c:pt>
                <c:pt idx="402" formatCode="0.0">
                  <c:v>1.9544688026981454</c:v>
                </c:pt>
                <c:pt idx="403" formatCode="0.0">
                  <c:v>1.9641050349313425</c:v>
                </c:pt>
                <c:pt idx="404" formatCode="0.0">
                  <c:v>2.002168152252469</c:v>
                </c:pt>
                <c:pt idx="405" formatCode="0.0">
                  <c:v>2.0236087689713331</c:v>
                </c:pt>
                <c:pt idx="406" formatCode="0.0">
                  <c:v>2.0250542038063122</c:v>
                </c:pt>
                <c:pt idx="407" formatCode="0.0">
                  <c:v>2.0178270296314142</c:v>
                </c:pt>
                <c:pt idx="408" formatCode="0.0">
                  <c:v>2.027704167670441</c:v>
                </c:pt>
                <c:pt idx="409" formatCode="0.0">
                  <c:v>2.0790171043122139</c:v>
                </c:pt>
                <c:pt idx="410" formatCode="0.0">
                  <c:v>2.0934714526620097</c:v>
                </c:pt>
                <c:pt idx="411" formatCode="0.0">
                  <c:v>2.0963623223319683</c:v>
                </c:pt>
                <c:pt idx="412" formatCode="0.0">
                  <c:v>2.1216574319441093</c:v>
                </c:pt>
                <c:pt idx="413" formatCode="0.0">
                  <c:v>2.128161888701519</c:v>
                </c:pt>
                <c:pt idx="414" formatCode="0.0">
                  <c:v>2.0513129366417728</c:v>
                </c:pt>
                <c:pt idx="415" formatCode="0.0">
                  <c:v>1.9725367381353891</c:v>
                </c:pt>
                <c:pt idx="416" formatCode="0.0">
                  <c:v>1.981450252951096</c:v>
                </c:pt>
                <c:pt idx="417" formatCode="0.0">
                  <c:v>2.0409539869910871</c:v>
                </c:pt>
                <c:pt idx="418" formatCode="0.0">
                  <c:v>2.0701035894965072</c:v>
                </c:pt>
                <c:pt idx="419" formatCode="0.0">
                  <c:v>2.0816670681763436</c:v>
                </c:pt>
                <c:pt idx="420" formatCode="0.0">
                  <c:v>2.1556251505661281</c:v>
                </c:pt>
                <c:pt idx="421" formatCode="0.0">
                  <c:v>2.353890628764153</c:v>
                </c:pt>
                <c:pt idx="422" formatCode="0.0">
                  <c:v>2.6099735003613596</c:v>
                </c:pt>
                <c:pt idx="423" formatCode="0.0">
                  <c:v>2.750180679354373</c:v>
                </c:pt>
                <c:pt idx="424" formatCode="0.0">
                  <c:v>2.8848470248132974</c:v>
                </c:pt>
                <c:pt idx="425" formatCode="0.0">
                  <c:v>3.0187906528547344</c:v>
                </c:pt>
                <c:pt idx="426" formatCode="0.0">
                  <c:v>3.0746807998072754</c:v>
                </c:pt>
                <c:pt idx="427" formatCode="0.0">
                  <c:v>3.1616477957118772</c:v>
                </c:pt>
                <c:pt idx="428" formatCode="0.0">
                  <c:v>3.3269091785112015</c:v>
                </c:pt>
                <c:pt idx="429" formatCode="0.0">
                  <c:v>3.5851602023608775</c:v>
                </c:pt>
                <c:pt idx="430" formatCode="0.0">
                  <c:v>3.7983618405203576</c:v>
                </c:pt>
                <c:pt idx="431" formatCode="0.0">
                  <c:v>3.9330281859792819</c:v>
                </c:pt>
                <c:pt idx="432" formatCode="0.0">
                  <c:v>4.1274391712840286</c:v>
                </c:pt>
                <c:pt idx="433" formatCode="0.0">
                  <c:v>4.2787280173452178</c:v>
                </c:pt>
                <c:pt idx="434" formatCode="0.0">
                  <c:v>4.4731390026499644</c:v>
                </c:pt>
                <c:pt idx="435" formatCode="0.0">
                  <c:v>4.656950132498193</c:v>
                </c:pt>
                <c:pt idx="436" formatCode="0.0">
                  <c:v>4.7581305709467578</c:v>
                </c:pt>
                <c:pt idx="437" formatCode="0.0">
                  <c:v>4.8041435798602734</c:v>
                </c:pt>
                <c:pt idx="438" formatCode="0.0">
                  <c:v>5.1621296073235365</c:v>
                </c:pt>
                <c:pt idx="439" formatCode="0.0">
                  <c:v>5.2365695013249827</c:v>
                </c:pt>
                <c:pt idx="440" formatCode="0.0">
                  <c:v>5.3873765357745125</c:v>
                </c:pt>
                <c:pt idx="441" formatCode="0.0">
                  <c:v>5.5629968682245234</c:v>
                </c:pt>
                <c:pt idx="442" formatCode="0.0">
                  <c:v>5.8282341604432668</c:v>
                </c:pt>
                <c:pt idx="443" formatCode="0.0">
                  <c:v>6.016381594796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A96-4795-8581-791AAA898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584960"/>
        <c:axId val="70623616"/>
      </c:lineChart>
      <c:dateAx>
        <c:axId val="70584960"/>
        <c:scaling>
          <c:orientation val="minMax"/>
          <c:max val="44362"/>
          <c:min val="43895"/>
        </c:scaling>
        <c:delete val="0"/>
        <c:axPos val="b"/>
        <c:numFmt formatCode="d\-mm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623616"/>
        <c:crosses val="autoZero"/>
        <c:auto val="1"/>
        <c:lblOffset val="100"/>
        <c:baseTimeUnit val="days"/>
      </c:dateAx>
      <c:valAx>
        <c:axId val="7062361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-day moving  average of national daily cases per 100,000 population</a:t>
                </a:r>
              </a:p>
            </c:rich>
          </c:tx>
          <c:layout>
            <c:manualLayout>
              <c:xMode val="edge"/>
              <c:yMode val="edge"/>
              <c:x val="4.9877116537012531E-2"/>
              <c:y val="7.2442415475763133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58496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271964225022445"/>
          <c:y val="9.103252968378453E-2"/>
          <c:w val="0.16218594341292386"/>
          <c:h val="0.40824220152184498"/>
        </c:manualLayout>
      </c:layout>
      <c:overlay val="0"/>
      <c:spPr>
        <a:solidFill>
          <a:sysClr val="window" lastClr="FFFFFF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647861773591085"/>
          <c:y val="8.0221558512082569E-2"/>
          <c:w val="0.75958879776897981"/>
          <c:h val="0.79639689866352925"/>
        </c:manualLayout>
      </c:layout>
      <c:lineChart>
        <c:grouping val="standard"/>
        <c:varyColors val="0"/>
        <c:ser>
          <c:idx val="2"/>
          <c:order val="0"/>
          <c:tx>
            <c:v>KwaZulu-Natal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277"/>
              <c:layout>
                <c:manualLayout>
                  <c:x val="8.3489957774612517E-2"/>
                  <c:y val="-0.2663051011305439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50" b="1" i="0" u="none" strike="noStrike" kern="1200" baseline="0">
                        <a:solidFill>
                          <a:schemeClr val="accent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89908C70-B44B-456E-AE31-44C350FCE482}" type="SERIESNAME">
                      <a:rPr lang="en-US" sz="1200"/>
                      <a:pPr>
                        <a:defRPr sz="1050" b="1" i="0" u="none" strike="noStrike" kern="1200" baseline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SERIES NAME]</a:t>
                    </a:fld>
                    <a:endParaRPr lang="en-ZA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Q$5:$CQ$451</c:f>
              <c:numCache>
                <c:formatCode>General</c:formatCode>
                <c:ptCount val="447"/>
                <c:pt idx="3" formatCode="0.0">
                  <c:v>1.2654543613884565E-2</c:v>
                </c:pt>
                <c:pt idx="4" formatCode="0.0">
                  <c:v>1.2654543613884562E-2</c:v>
                </c:pt>
                <c:pt idx="5" formatCode="0.0">
                  <c:v>1.3919997975273017E-2</c:v>
                </c:pt>
                <c:pt idx="6" formatCode="0.0">
                  <c:v>1.2654543613884565E-2</c:v>
                </c:pt>
                <c:pt idx="7" formatCode="0.0">
                  <c:v>1.2654543613884565E-2</c:v>
                </c:pt>
                <c:pt idx="8" formatCode="0.0">
                  <c:v>1.5185452336661482E-2</c:v>
                </c:pt>
                <c:pt idx="9" formatCode="0.0">
                  <c:v>1.7716361059438395E-2</c:v>
                </c:pt>
                <c:pt idx="10" formatCode="0.0">
                  <c:v>1.6450906698049935E-2</c:v>
                </c:pt>
                <c:pt idx="11" formatCode="0.0">
                  <c:v>1.8981815420826852E-2</c:v>
                </c:pt>
                <c:pt idx="12" formatCode="0.0">
                  <c:v>2.9105450311934504E-2</c:v>
                </c:pt>
                <c:pt idx="13" formatCode="0.0">
                  <c:v>6.0741809346645907E-2</c:v>
                </c:pt>
                <c:pt idx="14" formatCode="0.0">
                  <c:v>8.0989079128861233E-2</c:v>
                </c:pt>
                <c:pt idx="15" formatCode="0.0">
                  <c:v>9.111271401996883E-2</c:v>
                </c:pt>
                <c:pt idx="16" formatCode="0.0">
                  <c:v>0.14173088847550716</c:v>
                </c:pt>
                <c:pt idx="17" formatCode="0.0">
                  <c:v>0.15438543208939176</c:v>
                </c:pt>
                <c:pt idx="18" formatCode="0.0">
                  <c:v>0.16450906698049939</c:v>
                </c:pt>
                <c:pt idx="19" formatCode="0.0">
                  <c:v>0.16703997570327628</c:v>
                </c:pt>
                <c:pt idx="20" formatCode="0.0">
                  <c:v>0.14046543411411874</c:v>
                </c:pt>
                <c:pt idx="21" formatCode="0.0">
                  <c:v>0.12527998177745722</c:v>
                </c:pt>
                <c:pt idx="22" formatCode="0.0">
                  <c:v>0.12021816433190338</c:v>
                </c:pt>
                <c:pt idx="23" formatCode="0.0">
                  <c:v>9.1112714019968857E-2</c:v>
                </c:pt>
                <c:pt idx="24" formatCode="0.0">
                  <c:v>8.8581805297191979E-2</c:v>
                </c:pt>
                <c:pt idx="25" formatCode="0.0">
                  <c:v>9.6174531465522697E-2</c:v>
                </c:pt>
                <c:pt idx="26" formatCode="0.0">
                  <c:v>9.9970894549688091E-2</c:v>
                </c:pt>
                <c:pt idx="27" formatCode="0.0">
                  <c:v>0.10882907507940727</c:v>
                </c:pt>
                <c:pt idx="28" formatCode="0.0">
                  <c:v>0.1594472495349456</c:v>
                </c:pt>
                <c:pt idx="29" formatCode="0.0">
                  <c:v>0.21259633271326075</c:v>
                </c:pt>
                <c:pt idx="30" formatCode="0.0">
                  <c:v>0.22904723941131069</c:v>
                </c:pt>
                <c:pt idx="31" formatCode="0.0">
                  <c:v>0.24929450919352594</c:v>
                </c:pt>
                <c:pt idx="32" formatCode="0.0">
                  <c:v>0.23537451121825284</c:v>
                </c:pt>
                <c:pt idx="33" formatCode="0.0">
                  <c:v>0.249294509193526</c:v>
                </c:pt>
                <c:pt idx="34" formatCode="0.0">
                  <c:v>0.26321450716879896</c:v>
                </c:pt>
                <c:pt idx="35" formatCode="0.0">
                  <c:v>0.23284360249547606</c:v>
                </c:pt>
                <c:pt idx="36" formatCode="0.0">
                  <c:v>0.20879996962909536</c:v>
                </c:pt>
                <c:pt idx="37" formatCode="0.0">
                  <c:v>0.19234906293104539</c:v>
                </c:pt>
                <c:pt idx="38" formatCode="0.0">
                  <c:v>0.22651633068853377</c:v>
                </c:pt>
                <c:pt idx="39" formatCode="0.0">
                  <c:v>0.23537451121825284</c:v>
                </c:pt>
                <c:pt idx="40" formatCode="0.0">
                  <c:v>0.2201890588815914</c:v>
                </c:pt>
                <c:pt idx="41" formatCode="0.0">
                  <c:v>0.2201890588815914</c:v>
                </c:pt>
                <c:pt idx="42" formatCode="0.0">
                  <c:v>0.23031269377269908</c:v>
                </c:pt>
                <c:pt idx="43" formatCode="0.0">
                  <c:v>0.30244359237184121</c:v>
                </c:pt>
                <c:pt idx="44" formatCode="0.0">
                  <c:v>0.33914176885210645</c:v>
                </c:pt>
                <c:pt idx="45" formatCode="0.0">
                  <c:v>0.31636359034711425</c:v>
                </c:pt>
                <c:pt idx="46" formatCode="0.0">
                  <c:v>0.30750540981739505</c:v>
                </c:pt>
                <c:pt idx="47" formatCode="0.0">
                  <c:v>0.31130177290156041</c:v>
                </c:pt>
                <c:pt idx="48" formatCode="0.0">
                  <c:v>0.33281449704516419</c:v>
                </c:pt>
                <c:pt idx="49" formatCode="0.0">
                  <c:v>0.31383268162433736</c:v>
                </c:pt>
                <c:pt idx="50" formatCode="0.0">
                  <c:v>0.25055996355491444</c:v>
                </c:pt>
                <c:pt idx="51" formatCode="0.0">
                  <c:v>0.21892360452020301</c:v>
                </c:pt>
                <c:pt idx="52" formatCode="0.0">
                  <c:v>0.20879996962909536</c:v>
                </c:pt>
                <c:pt idx="53" formatCode="0.0">
                  <c:v>0.25815268972324523</c:v>
                </c:pt>
                <c:pt idx="54" formatCode="0.0">
                  <c:v>0.26954177897574133</c:v>
                </c:pt>
                <c:pt idx="55" formatCode="0.0">
                  <c:v>0.25815268972324518</c:v>
                </c:pt>
                <c:pt idx="56" formatCode="0.0">
                  <c:v>0.28219632258962585</c:v>
                </c:pt>
                <c:pt idx="57" formatCode="0.0">
                  <c:v>0.29485086620351042</c:v>
                </c:pt>
                <c:pt idx="58" formatCode="0.0">
                  <c:v>0.28346177695101432</c:v>
                </c:pt>
                <c:pt idx="59" formatCode="0.0">
                  <c:v>0.31256722726294889</c:v>
                </c:pt>
                <c:pt idx="60" formatCode="0.0">
                  <c:v>0.3252217708768334</c:v>
                </c:pt>
                <c:pt idx="61" formatCode="0.0">
                  <c:v>0.35053085810460255</c:v>
                </c:pt>
                <c:pt idx="62" formatCode="0.0">
                  <c:v>0.33661086012932956</c:v>
                </c:pt>
                <c:pt idx="63" formatCode="0.0">
                  <c:v>0.3188944990698912</c:v>
                </c:pt>
                <c:pt idx="64" formatCode="0.0">
                  <c:v>0.28346177695101432</c:v>
                </c:pt>
                <c:pt idx="65" formatCode="0.0">
                  <c:v>0.30370904673322952</c:v>
                </c:pt>
                <c:pt idx="66" formatCode="0.0">
                  <c:v>0.28978904875795652</c:v>
                </c:pt>
                <c:pt idx="67" formatCode="0.0">
                  <c:v>0.24043632866380674</c:v>
                </c:pt>
                <c:pt idx="68" formatCode="0.0">
                  <c:v>0.24043632866380674</c:v>
                </c:pt>
                <c:pt idx="69" formatCode="0.0">
                  <c:v>0.24676360047074905</c:v>
                </c:pt>
                <c:pt idx="70" formatCode="0.0">
                  <c:v>0.28093086822823737</c:v>
                </c:pt>
                <c:pt idx="71" formatCode="0.0">
                  <c:v>0.29991268364906443</c:v>
                </c:pt>
                <c:pt idx="72" formatCode="0.0">
                  <c:v>0.31509813598572572</c:v>
                </c:pt>
                <c:pt idx="73" formatCode="0.0">
                  <c:v>0.30750540981739499</c:v>
                </c:pt>
                <c:pt idx="74" formatCode="0.0">
                  <c:v>0.35306176682737939</c:v>
                </c:pt>
                <c:pt idx="75" formatCode="0.0">
                  <c:v>0.34420358629766024</c:v>
                </c:pt>
                <c:pt idx="76" formatCode="0.0">
                  <c:v>0.39861812383736389</c:v>
                </c:pt>
                <c:pt idx="77" formatCode="0.0">
                  <c:v>0.39355630639181011</c:v>
                </c:pt>
                <c:pt idx="78" formatCode="0.0">
                  <c:v>0.67828353770421279</c:v>
                </c:pt>
                <c:pt idx="79" formatCode="0.0">
                  <c:v>0.83013806107082744</c:v>
                </c:pt>
                <c:pt idx="80" formatCode="0.0">
                  <c:v>0.88961441605608504</c:v>
                </c:pt>
                <c:pt idx="81" formatCode="0.0">
                  <c:v>0.88455259861053093</c:v>
                </c:pt>
                <c:pt idx="82" formatCode="0.0">
                  <c:v>0.9237816838135734</c:v>
                </c:pt>
                <c:pt idx="83" formatCode="0.0">
                  <c:v>0.86430532882831568</c:v>
                </c:pt>
                <c:pt idx="84" formatCode="0.0">
                  <c:v>0.89847259658580403</c:v>
                </c:pt>
                <c:pt idx="85" formatCode="0.0">
                  <c:v>0.65930172228338602</c:v>
                </c:pt>
                <c:pt idx="86" formatCode="0.0">
                  <c:v>0.65803626792199743</c:v>
                </c:pt>
                <c:pt idx="87" formatCode="0.0">
                  <c:v>0.64285081558533619</c:v>
                </c:pt>
                <c:pt idx="88" formatCode="0.0">
                  <c:v>0.68334535514976658</c:v>
                </c:pt>
                <c:pt idx="89" formatCode="0.0">
                  <c:v>0.70485807929337041</c:v>
                </c:pt>
                <c:pt idx="90" formatCode="0.0">
                  <c:v>0.77192716044695842</c:v>
                </c:pt>
                <c:pt idx="91" formatCode="0.0">
                  <c:v>0.7820507953380661</c:v>
                </c:pt>
                <c:pt idx="92" formatCode="0.0">
                  <c:v>0.80989079128861219</c:v>
                </c:pt>
                <c:pt idx="93" formatCode="0.0">
                  <c:v>0.7630689799172391</c:v>
                </c:pt>
                <c:pt idx="94" formatCode="0.0">
                  <c:v>0.80609442820444699</c:v>
                </c:pt>
                <c:pt idx="95" formatCode="0.0">
                  <c:v>0.94529440795717712</c:v>
                </c:pt>
                <c:pt idx="96" formatCode="0.0">
                  <c:v>0.97693076699188852</c:v>
                </c:pt>
                <c:pt idx="97" formatCode="0.0">
                  <c:v>0.99211621932854999</c:v>
                </c:pt>
                <c:pt idx="98" formatCode="0.0">
                  <c:v>1.0035053085810459</c:v>
                </c:pt>
                <c:pt idx="99" formatCode="0.0">
                  <c:v>1.1275198359971148</c:v>
                </c:pt>
                <c:pt idx="100" formatCode="0.0">
                  <c:v>1.1237234729129493</c:v>
                </c:pt>
                <c:pt idx="101" formatCode="0.0">
                  <c:v>1.2338180023537451</c:v>
                </c:pt>
                <c:pt idx="102" formatCode="0.0">
                  <c:v>1.3198688989281597</c:v>
                </c:pt>
                <c:pt idx="103" formatCode="0.0">
                  <c:v>1.4628652417650556</c:v>
                </c:pt>
                <c:pt idx="104" formatCode="0.0">
                  <c:v>1.6691343026713741</c:v>
                </c:pt>
                <c:pt idx="105" formatCode="0.0">
                  <c:v>1.9956215279095957</c:v>
                </c:pt>
                <c:pt idx="106" formatCode="0.0">
                  <c:v>2.3246396618705951</c:v>
                </c:pt>
                <c:pt idx="107" formatCode="0.0">
                  <c:v>2.8219632258962579</c:v>
                </c:pt>
                <c:pt idx="108" formatCode="0.0">
                  <c:v>3.2167849866494556</c:v>
                </c:pt>
                <c:pt idx="109" formatCode="0.0">
                  <c:v>3.7710539969375998</c:v>
                </c:pt>
                <c:pt idx="110" formatCode="0.0">
                  <c:v>4.3063411918049193</c:v>
                </c:pt>
                <c:pt idx="111" formatCode="0.0">
                  <c:v>4.761904761904761</c:v>
                </c:pt>
                <c:pt idx="112" formatCode="0.0">
                  <c:v>5.1238247092618607</c:v>
                </c:pt>
                <c:pt idx="113" formatCode="0.0">
                  <c:v>5.7666755248471961</c:v>
                </c:pt>
                <c:pt idx="114" formatCode="0.0">
                  <c:v>6.4272427014919709</c:v>
                </c:pt>
                <c:pt idx="115" formatCode="0.0">
                  <c:v>7.1713298659883833</c:v>
                </c:pt>
                <c:pt idx="116" formatCode="0.0">
                  <c:v>7.8432861318856526</c:v>
                </c:pt>
                <c:pt idx="117" formatCode="0.0">
                  <c:v>8.4949951280007081</c:v>
                </c:pt>
                <c:pt idx="118" formatCode="0.0">
                  <c:v>8.5772496614909581</c:v>
                </c:pt>
                <c:pt idx="119" formatCode="0.0">
                  <c:v>8.9454968806550035</c:v>
                </c:pt>
                <c:pt idx="120" formatCode="0.0">
                  <c:v>9.275780468977386</c:v>
                </c:pt>
                <c:pt idx="121" formatCode="0.0">
                  <c:v>10.0742821710135</c:v>
                </c:pt>
                <c:pt idx="122" formatCode="0.0">
                  <c:v>10.919605684420992</c:v>
                </c:pt>
                <c:pt idx="123" formatCode="0.0">
                  <c:v>12.362223656403833</c:v>
                </c:pt>
                <c:pt idx="124" formatCode="0.0">
                  <c:v>13.193627171836047</c:v>
                </c:pt>
                <c:pt idx="125" formatCode="0.0">
                  <c:v>14.638776052541663</c:v>
                </c:pt>
                <c:pt idx="126" formatCode="0.0">
                  <c:v>17.518950179061793</c:v>
                </c:pt>
                <c:pt idx="127" formatCode="0.0">
                  <c:v>18.952709970514906</c:v>
                </c:pt>
                <c:pt idx="128" formatCode="0.0">
                  <c:v>20.214367968819207</c:v>
                </c:pt>
                <c:pt idx="129" formatCode="0.0">
                  <c:v>20.672462447641824</c:v>
                </c:pt>
                <c:pt idx="130" formatCode="0.0">
                  <c:v>20.668666084557657</c:v>
                </c:pt>
                <c:pt idx="131" formatCode="0.0">
                  <c:v>22.326411297976534</c:v>
                </c:pt>
                <c:pt idx="132" formatCode="0.0">
                  <c:v>23.065436645027386</c:v>
                </c:pt>
                <c:pt idx="133" formatCode="0.0">
                  <c:v>21.636738671019828</c:v>
                </c:pt>
                <c:pt idx="134" formatCode="0.0">
                  <c:v>22.249218581931835</c:v>
                </c:pt>
                <c:pt idx="135" formatCode="0.0">
                  <c:v>22.527618541437299</c:v>
                </c:pt>
                <c:pt idx="136" formatCode="0.0">
                  <c:v>24.600432785391593</c:v>
                </c:pt>
                <c:pt idx="137" formatCode="0.0">
                  <c:v>25.87347987294838</c:v>
                </c:pt>
                <c:pt idx="138" formatCode="0.0">
                  <c:v>26.379661617503764</c:v>
                </c:pt>
                <c:pt idx="139" formatCode="0.0">
                  <c:v>25.774774432760086</c:v>
                </c:pt>
                <c:pt idx="140" formatCode="0.0">
                  <c:v>25.835516242106724</c:v>
                </c:pt>
                <c:pt idx="141" formatCode="0.0">
                  <c:v>26.218948913607431</c:v>
                </c:pt>
                <c:pt idx="142" formatCode="0.0">
                  <c:v>25.958265315161409</c:v>
                </c:pt>
                <c:pt idx="143" formatCode="0.0">
                  <c:v>24.732040038975985</c:v>
                </c:pt>
                <c:pt idx="144" formatCode="0.0">
                  <c:v>24.138541943484807</c:v>
                </c:pt>
                <c:pt idx="145" formatCode="0.0">
                  <c:v>23.080622097364049</c:v>
                </c:pt>
                <c:pt idx="146" formatCode="0.0">
                  <c:v>23.257785707958448</c:v>
                </c:pt>
                <c:pt idx="147" formatCode="0.0">
                  <c:v>22.632651253432552</c:v>
                </c:pt>
                <c:pt idx="148" formatCode="0.0">
                  <c:v>20.953393315870066</c:v>
                </c:pt>
                <c:pt idx="149" formatCode="0.0">
                  <c:v>20.495298837047439</c:v>
                </c:pt>
                <c:pt idx="150" formatCode="0.0">
                  <c:v>20.42190248408691</c:v>
                </c:pt>
                <c:pt idx="151" formatCode="0.0">
                  <c:v>20.299153411032233</c:v>
                </c:pt>
                <c:pt idx="152" formatCode="0.0">
                  <c:v>19.953684370373178</c:v>
                </c:pt>
                <c:pt idx="153" formatCode="0.0">
                  <c:v>19.013451779861565</c:v>
                </c:pt>
                <c:pt idx="154" formatCode="0.0">
                  <c:v>18.359211875023725</c:v>
                </c:pt>
                <c:pt idx="155" formatCode="0.0">
                  <c:v>17.337990205383242</c:v>
                </c:pt>
                <c:pt idx="156" formatCode="0.0">
                  <c:v>15.334775951305319</c:v>
                </c:pt>
                <c:pt idx="157" formatCode="0.0">
                  <c:v>13.793452539134179</c:v>
                </c:pt>
                <c:pt idx="158" formatCode="0.0">
                  <c:v>11.352391076015845</c:v>
                </c:pt>
                <c:pt idx="159" formatCode="0.0">
                  <c:v>9.2567986535565581</c:v>
                </c:pt>
                <c:pt idx="160" formatCode="0.0">
                  <c:v>8.4165369575946265</c:v>
                </c:pt>
                <c:pt idx="161" formatCode="0.0">
                  <c:v>7.6825734279893201</c:v>
                </c:pt>
                <c:pt idx="162" formatCode="0.0">
                  <c:v>7.3042025739341714</c:v>
                </c:pt>
                <c:pt idx="163" formatCode="0.0">
                  <c:v>7.3991116510383055</c:v>
                </c:pt>
                <c:pt idx="164" formatCode="0.0">
                  <c:v>6.3829517988433757</c:v>
                </c:pt>
                <c:pt idx="165" formatCode="0.0">
                  <c:v>5.9640864052237959</c:v>
                </c:pt>
                <c:pt idx="166" formatCode="0.0">
                  <c:v>5.6413955430697396</c:v>
                </c:pt>
                <c:pt idx="167" formatCode="0.0">
                  <c:v>5.1440719790440745</c:v>
                </c:pt>
                <c:pt idx="168" formatCode="0.0">
                  <c:v>5.0061374536527339</c:v>
                </c:pt>
                <c:pt idx="169" formatCode="0.0">
                  <c:v>4.840362932310847</c:v>
                </c:pt>
                <c:pt idx="170" formatCode="0.0">
                  <c:v>4.4354175366665389</c:v>
                </c:pt>
                <c:pt idx="171" formatCode="0.0">
                  <c:v>3.8912721612695034</c:v>
                </c:pt>
                <c:pt idx="172" formatCode="0.0">
                  <c:v>3.7444794553484431</c:v>
                </c:pt>
                <c:pt idx="173" formatCode="0.0">
                  <c:v>3.6508358326056971</c:v>
                </c:pt>
                <c:pt idx="174" formatCode="0.0">
                  <c:v>3.6748794654720776</c:v>
                </c:pt>
                <c:pt idx="175" formatCode="0.0">
                  <c:v>3.436974045531048</c:v>
                </c:pt>
                <c:pt idx="176" formatCode="0.0">
                  <c:v>3.2458904369613912</c:v>
                </c:pt>
                <c:pt idx="177" formatCode="0.0">
                  <c:v>3.0990977310403305</c:v>
                </c:pt>
                <c:pt idx="178" formatCode="0.0">
                  <c:v>3.1598395403869763</c:v>
                </c:pt>
                <c:pt idx="179" formatCode="0.0">
                  <c:v>2.980145021069815</c:v>
                </c:pt>
                <c:pt idx="180" formatCode="0.0">
                  <c:v>2.6549232501929834</c:v>
                </c:pt>
                <c:pt idx="181" formatCode="0.0">
                  <c:v>2.4018323779152908</c:v>
                </c:pt>
                <c:pt idx="182" formatCode="0.0">
                  <c:v>2.3334978424003143</c:v>
                </c:pt>
                <c:pt idx="183" formatCode="0.0">
                  <c:v>2.165192412335649</c:v>
                </c:pt>
                <c:pt idx="184" formatCode="0.0">
                  <c:v>2.0550978828948532</c:v>
                </c:pt>
                <c:pt idx="185" formatCode="0.0">
                  <c:v>1.9981524366323731</c:v>
                </c:pt>
                <c:pt idx="186" formatCode="0.0">
                  <c:v>1.9247560836718427</c:v>
                </c:pt>
                <c:pt idx="187" formatCode="0.0">
                  <c:v>1.9804360755729344</c:v>
                </c:pt>
                <c:pt idx="188" formatCode="0.0">
                  <c:v>2.0361160674740266</c:v>
                </c:pt>
                <c:pt idx="189" formatCode="0.0">
                  <c:v>2.015868797691811</c:v>
                </c:pt>
                <c:pt idx="190" formatCode="0.0">
                  <c:v>1.946268807815446</c:v>
                </c:pt>
                <c:pt idx="191" formatCode="0.0">
                  <c:v>1.884261544107412</c:v>
                </c:pt>
                <c:pt idx="192" formatCode="0.0">
                  <c:v>1.7982106475329969</c:v>
                </c:pt>
                <c:pt idx="193" formatCode="0.0">
                  <c:v>1.7741670146666164</c:v>
                </c:pt>
                <c:pt idx="194" formatCode="0.0">
                  <c:v>1.7134252053199694</c:v>
                </c:pt>
                <c:pt idx="195" formatCode="0.0">
                  <c:v>1.6703997570327624</c:v>
                </c:pt>
                <c:pt idx="196" formatCode="0.0">
                  <c:v>1.6425597610822167</c:v>
                </c:pt>
                <c:pt idx="197" formatCode="0.0">
                  <c:v>1.5995343127950088</c:v>
                </c:pt>
                <c:pt idx="198" formatCode="0.0">
                  <c:v>1.5223415967503133</c:v>
                </c:pt>
                <c:pt idx="199" formatCode="0.0">
                  <c:v>1.4286979740075676</c:v>
                </c:pt>
                <c:pt idx="200" formatCode="0.0">
                  <c:v>1.3148070814826061</c:v>
                </c:pt>
                <c:pt idx="201" formatCode="0.0">
                  <c:v>1.2502689090517949</c:v>
                </c:pt>
                <c:pt idx="202" formatCode="0.0">
                  <c:v>1.2198980043784717</c:v>
                </c:pt>
                <c:pt idx="203" formatCode="0.0">
                  <c:v>1.1604216493932145</c:v>
                </c:pt>
                <c:pt idx="204" formatCode="0.0">
                  <c:v>1.1363780165268342</c:v>
                </c:pt>
                <c:pt idx="205" formatCode="0.0">
                  <c:v>1.0908216595168496</c:v>
                </c:pt>
                <c:pt idx="206" formatCode="0.0">
                  <c:v>1.0844943877099071</c:v>
                </c:pt>
                <c:pt idx="207" formatCode="0.0">
                  <c:v>1.1148652923832298</c:v>
                </c:pt>
                <c:pt idx="208" formatCode="0.0">
                  <c:v>1.1098034749376762</c:v>
                </c:pt>
                <c:pt idx="209" formatCode="0.0">
                  <c:v>1.1351125621654456</c:v>
                </c:pt>
                <c:pt idx="210" formatCode="0.0">
                  <c:v>1.1135998380218415</c:v>
                </c:pt>
                <c:pt idx="211" formatCode="0.0">
                  <c:v>1.0857598420712957</c:v>
                </c:pt>
                <c:pt idx="212" formatCode="0.0">
                  <c:v>1.0528580286751961</c:v>
                </c:pt>
                <c:pt idx="213" formatCode="0.0">
                  <c:v>1.0300798501702035</c:v>
                </c:pt>
                <c:pt idx="214" formatCode="0.0">
                  <c:v>1.0199562152790955</c:v>
                </c:pt>
                <c:pt idx="215" formatCode="0.0">
                  <c:v>1.0250180327246496</c:v>
                </c:pt>
                <c:pt idx="216" formatCode="0.0">
                  <c:v>0.99085076496716118</c:v>
                </c:pt>
                <c:pt idx="217" formatCode="0.0">
                  <c:v>1.0085671260266003</c:v>
                </c:pt>
                <c:pt idx="218" formatCode="0.0">
                  <c:v>0.99970894549688061</c:v>
                </c:pt>
                <c:pt idx="219" formatCode="0.0">
                  <c:v>1.0313453045315921</c:v>
                </c:pt>
                <c:pt idx="220" formatCode="0.0">
                  <c:v>1.1249889272743381</c:v>
                </c:pt>
                <c:pt idx="221" formatCode="0.0">
                  <c:v>1.1123343836604531</c:v>
                </c:pt>
                <c:pt idx="222" formatCode="0.0">
                  <c:v>1.1718107386457111</c:v>
                </c:pt>
                <c:pt idx="223" formatCode="0.0">
                  <c:v>1.2135707325715297</c:v>
                </c:pt>
                <c:pt idx="224" formatCode="0.0">
                  <c:v>1.2173670956556948</c:v>
                </c:pt>
                <c:pt idx="225" formatCode="0.0">
                  <c:v>1.173076193007099</c:v>
                </c:pt>
                <c:pt idx="226" formatCode="0.0">
                  <c:v>1.1933234627893141</c:v>
                </c:pt>
                <c:pt idx="227" formatCode="0.0">
                  <c:v>1.1654834668387688</c:v>
                </c:pt>
                <c:pt idx="228" formatCode="0.0">
                  <c:v>1.2198980043784717</c:v>
                </c:pt>
                <c:pt idx="229" formatCode="0.0">
                  <c:v>1.1629525581159916</c:v>
                </c:pt>
                <c:pt idx="230" formatCode="0.0">
                  <c:v>1.1465016514179414</c:v>
                </c:pt>
                <c:pt idx="231" formatCode="0.0">
                  <c:v>1.1629525581159919</c:v>
                </c:pt>
                <c:pt idx="232" formatCode="0.0">
                  <c:v>1.2363489110765222</c:v>
                </c:pt>
                <c:pt idx="233" formatCode="0.0">
                  <c:v>1.2717816331953986</c:v>
                </c:pt>
                <c:pt idx="234" formatCode="0.0">
                  <c:v>1.2452070916062414</c:v>
                </c:pt>
                <c:pt idx="235" formatCode="0.0">
                  <c:v>1.2477380003290179</c:v>
                </c:pt>
                <c:pt idx="236" formatCode="0.0">
                  <c:v>1.2578616352201253</c:v>
                </c:pt>
                <c:pt idx="237" formatCode="0.0">
                  <c:v>1.2249598218240261</c:v>
                </c:pt>
                <c:pt idx="238" formatCode="0.0">
                  <c:v>1.189527099705149</c:v>
                </c:pt>
                <c:pt idx="239" formatCode="0.0">
                  <c:v>1.1047416574921221</c:v>
                </c:pt>
                <c:pt idx="240" formatCode="0.0">
                  <c:v>1.0250180327246496</c:v>
                </c:pt>
                <c:pt idx="241" formatCode="0.0">
                  <c:v>0.99085076496716129</c:v>
                </c:pt>
                <c:pt idx="242" formatCode="0.0">
                  <c:v>0.96427622337800389</c:v>
                </c:pt>
                <c:pt idx="243" formatCode="0.0">
                  <c:v>0.9541525884868961</c:v>
                </c:pt>
                <c:pt idx="244" formatCode="0.0">
                  <c:v>0.99211621932854999</c:v>
                </c:pt>
                <c:pt idx="245" formatCode="0.0">
                  <c:v>1.0237525783632615</c:v>
                </c:pt>
                <c:pt idx="246" formatCode="0.0">
                  <c:v>1.0477962112296415</c:v>
                </c:pt>
                <c:pt idx="247" formatCode="0.0">
                  <c:v>1.0579198461207497</c:v>
                </c:pt>
                <c:pt idx="248" formatCode="0.0">
                  <c:v>1.0819634789871302</c:v>
                </c:pt>
                <c:pt idx="249" formatCode="0.0">
                  <c:v>1.1237234729129491</c:v>
                </c:pt>
                <c:pt idx="250" formatCode="0.0">
                  <c:v>1.1211925641901725</c:v>
                </c:pt>
                <c:pt idx="251" formatCode="0.0">
                  <c:v>1.0933525682396263</c:v>
                </c:pt>
                <c:pt idx="252" formatCode="0.0">
                  <c:v>1.1465016514179418</c:v>
                </c:pt>
                <c:pt idx="253" formatCode="0.0">
                  <c:v>1.211039823848753</c:v>
                </c:pt>
                <c:pt idx="254" formatCode="0.0">
                  <c:v>1.2464725459676298</c:v>
                </c:pt>
                <c:pt idx="255" formatCode="0.0">
                  <c:v>1.4286979740075676</c:v>
                </c:pt>
                <c:pt idx="256" formatCode="0.0">
                  <c:v>1.4261670652847904</c:v>
                </c:pt>
                <c:pt idx="257" formatCode="0.0">
                  <c:v>1.4388216088986745</c:v>
                </c:pt>
                <c:pt idx="258" formatCode="0.0">
                  <c:v>1.483112511547271</c:v>
                </c:pt>
                <c:pt idx="259" formatCode="0.0">
                  <c:v>1.5033597813294857</c:v>
                </c:pt>
                <c:pt idx="260" formatCode="0.0">
                  <c:v>1.7121597509585817</c:v>
                </c:pt>
                <c:pt idx="261" formatCode="0.0">
                  <c:v>1.8070688280627161</c:v>
                </c:pt>
                <c:pt idx="262" formatCode="0.0">
                  <c:v>1.8956506333599079</c:v>
                </c:pt>
                <c:pt idx="263" formatCode="0.0">
                  <c:v>2.0310542500284732</c:v>
                </c:pt>
                <c:pt idx="264" formatCode="0.0">
                  <c:v>2.0702833352315149</c:v>
                </c:pt>
                <c:pt idx="265" formatCode="0.0">
                  <c:v>2.166457866697038</c:v>
                </c:pt>
                <c:pt idx="266" formatCode="0.0">
                  <c:v>2.3562760209053057</c:v>
                </c:pt>
                <c:pt idx="267" formatCode="0.0">
                  <c:v>2.6093668931829979</c:v>
                </c:pt>
                <c:pt idx="268" formatCode="0.0">
                  <c:v>3.0497450109461797</c:v>
                </c:pt>
                <c:pt idx="269" formatCode="0.0">
                  <c:v>3.3787631449071789</c:v>
                </c:pt>
                <c:pt idx="270" formatCode="0.0">
                  <c:v>3.8646976196803462</c:v>
                </c:pt>
                <c:pt idx="271" formatCode="0.0">
                  <c:v>4.6568720499095182</c:v>
                </c:pt>
                <c:pt idx="272" formatCode="0.0">
                  <c:v>4.9137592852713787</c:v>
                </c:pt>
                <c:pt idx="273" formatCode="0.0">
                  <c:v>5.6375991799855729</c:v>
                </c:pt>
                <c:pt idx="274" formatCode="0.0">
                  <c:v>6.9435480809384629</c:v>
                </c:pt>
                <c:pt idx="275" formatCode="0.0">
                  <c:v>8.3228933348518783</c:v>
                </c:pt>
                <c:pt idx="276" formatCode="0.0">
                  <c:v>9.9502676435974315</c:v>
                </c:pt>
                <c:pt idx="277" formatCode="0.0">
                  <c:v>11.143591106386747</c:v>
                </c:pt>
                <c:pt idx="278" formatCode="0.0">
                  <c:v>12.682383609835112</c:v>
                </c:pt>
                <c:pt idx="279" formatCode="0.0">
                  <c:v>14.171823393189324</c:v>
                </c:pt>
                <c:pt idx="280" formatCode="0.0">
                  <c:v>14.513496070764212</c:v>
                </c:pt>
                <c:pt idx="281" formatCode="0.0">
                  <c:v>15.989015856143151</c:v>
                </c:pt>
                <c:pt idx="282" formatCode="0.0">
                  <c:v>16.867241182946731</c:v>
                </c:pt>
                <c:pt idx="283" formatCode="0.0">
                  <c:v>17.551851992457895</c:v>
                </c:pt>
                <c:pt idx="284" formatCode="0.0">
                  <c:v>19.195677207901493</c:v>
                </c:pt>
                <c:pt idx="285" formatCode="0.0">
                  <c:v>20.323197043898613</c:v>
                </c:pt>
                <c:pt idx="286" formatCode="0.0">
                  <c:v>21.939182263391672</c:v>
                </c:pt>
                <c:pt idx="287" formatCode="0.0">
                  <c:v>23.542512939270836</c:v>
                </c:pt>
                <c:pt idx="288" formatCode="0.0">
                  <c:v>25.382483580729655</c:v>
                </c:pt>
                <c:pt idx="289" formatCode="0.0">
                  <c:v>28.185464991205091</c:v>
                </c:pt>
                <c:pt idx="290" formatCode="0.0">
                  <c:v>31.015020943269683</c:v>
                </c:pt>
                <c:pt idx="291" formatCode="0.0">
                  <c:v>32.541158903104161</c:v>
                </c:pt>
                <c:pt idx="292" formatCode="0.0">
                  <c:v>33.18147880996672</c:v>
                </c:pt>
                <c:pt idx="293" formatCode="0.0">
                  <c:v>32.503195272262502</c:v>
                </c:pt>
                <c:pt idx="294" formatCode="0.0">
                  <c:v>33.030889740961491</c:v>
                </c:pt>
                <c:pt idx="295" formatCode="0.0">
                  <c:v>35.118889437252435</c:v>
                </c:pt>
                <c:pt idx="296" formatCode="0.0">
                  <c:v>36.100882021689891</c:v>
                </c:pt>
                <c:pt idx="297" formatCode="0.0">
                  <c:v>36.480518330106435</c:v>
                </c:pt>
                <c:pt idx="298" formatCode="0.0">
                  <c:v>37.25624185363754</c:v>
                </c:pt>
                <c:pt idx="299" formatCode="0.0">
                  <c:v>37.735849056603776</c:v>
                </c:pt>
                <c:pt idx="300" formatCode="0.0">
                  <c:v>39.844096022676936</c:v>
                </c:pt>
                <c:pt idx="301" formatCode="0.0">
                  <c:v>43.917593611986369</c:v>
                </c:pt>
                <c:pt idx="302" formatCode="0.0">
                  <c:v>45.118509800944032</c:v>
                </c:pt>
                <c:pt idx="303" formatCode="0.0">
                  <c:v>45.801855156093794</c:v>
                </c:pt>
                <c:pt idx="304" formatCode="0.0">
                  <c:v>46.544676866228812</c:v>
                </c:pt>
                <c:pt idx="305" formatCode="0.0">
                  <c:v>48.031585740860251</c:v>
                </c:pt>
                <c:pt idx="306" formatCode="0.0">
                  <c:v>48.89968743277273</c:v>
                </c:pt>
                <c:pt idx="307" formatCode="0.0">
                  <c:v>48.576996570618668</c:v>
                </c:pt>
                <c:pt idx="308" formatCode="0.0">
                  <c:v>45.066626172127101</c:v>
                </c:pt>
                <c:pt idx="309" formatCode="0.0">
                  <c:v>43.340546423193238</c:v>
                </c:pt>
                <c:pt idx="310" formatCode="0.0">
                  <c:v>42.33577566025081</c:v>
                </c:pt>
                <c:pt idx="311" formatCode="0.0">
                  <c:v>40.130088708350733</c:v>
                </c:pt>
                <c:pt idx="312" formatCode="0.0">
                  <c:v>36.88419827138933</c:v>
                </c:pt>
                <c:pt idx="313" formatCode="0.0">
                  <c:v>35.254293053921003</c:v>
                </c:pt>
                <c:pt idx="314" formatCode="0.0">
                  <c:v>34.619034964504003</c:v>
                </c:pt>
                <c:pt idx="315" formatCode="0.0">
                  <c:v>35.359325765916239</c:v>
                </c:pt>
                <c:pt idx="316" formatCode="0.0">
                  <c:v>32.679093428495506</c:v>
                </c:pt>
                <c:pt idx="317" formatCode="0.0">
                  <c:v>29.587588423623497</c:v>
                </c:pt>
                <c:pt idx="318" formatCode="0.0">
                  <c:v>28.468926768156106</c:v>
                </c:pt>
                <c:pt idx="319" formatCode="0.0">
                  <c:v>29.03711577641953</c:v>
                </c:pt>
                <c:pt idx="320" formatCode="0.0">
                  <c:v>28.609392202270222</c:v>
                </c:pt>
                <c:pt idx="321" formatCode="0.0">
                  <c:v>26.547967047568431</c:v>
                </c:pt>
                <c:pt idx="322" formatCode="0.0">
                  <c:v>24.286600103767253</c:v>
                </c:pt>
                <c:pt idx="323" formatCode="0.0">
                  <c:v>22.550396719942292</c:v>
                </c:pt>
                <c:pt idx="324" formatCode="0.0">
                  <c:v>21.59244776837123</c:v>
                </c:pt>
                <c:pt idx="325" formatCode="0.0">
                  <c:v>20.156157068195338</c:v>
                </c:pt>
                <c:pt idx="326" formatCode="0.0">
                  <c:v>17.641699252116471</c:v>
                </c:pt>
                <c:pt idx="327" formatCode="0.0">
                  <c:v>15.756172253647675</c:v>
                </c:pt>
                <c:pt idx="328" formatCode="0.0">
                  <c:v>14.688128772635812</c:v>
                </c:pt>
                <c:pt idx="329" formatCode="0.0">
                  <c:v>13.345481695202666</c:v>
                </c:pt>
                <c:pt idx="330" formatCode="0.0">
                  <c:v>12.209103678675827</c:v>
                </c:pt>
                <c:pt idx="331" formatCode="0.0">
                  <c:v>11.266340179441428</c:v>
                </c:pt>
                <c:pt idx="332" formatCode="0.0">
                  <c:v>9.9198967389241126</c:v>
                </c:pt>
                <c:pt idx="333" formatCode="0.0">
                  <c:v>8.7291041848575706</c:v>
                </c:pt>
                <c:pt idx="334" formatCode="0.0">
                  <c:v>7.6053807119446253</c:v>
                </c:pt>
                <c:pt idx="335" formatCode="0.0">
                  <c:v>7.092871695582299</c:v>
                </c:pt>
                <c:pt idx="336" formatCode="0.0">
                  <c:v>6.4614099692494582</c:v>
                </c:pt>
                <c:pt idx="337" formatCode="0.0">
                  <c:v>6.0121736709565559</c:v>
                </c:pt>
                <c:pt idx="338" formatCode="0.0">
                  <c:v>5.2883337762423599</c:v>
                </c:pt>
                <c:pt idx="339" formatCode="0.0">
                  <c:v>5.2174683320046071</c:v>
                </c:pt>
                <c:pt idx="340" formatCode="0.0">
                  <c:v>4.8099920276375228</c:v>
                </c:pt>
                <c:pt idx="341" formatCode="0.0">
                  <c:v>4.6581375042709077</c:v>
                </c:pt>
                <c:pt idx="342" formatCode="0.0">
                  <c:v>4.5265302506865064</c:v>
                </c:pt>
                <c:pt idx="343" formatCode="0.0">
                  <c:v>4.2936866481910325</c:v>
                </c:pt>
                <c:pt idx="344" formatCode="0.0">
                  <c:v>3.8571048935120156</c:v>
                </c:pt>
                <c:pt idx="345" formatCode="0.0">
                  <c:v>3.6356503802690363</c:v>
                </c:pt>
                <c:pt idx="346" formatCode="0.0">
                  <c:v>3.1927413537830764</c:v>
                </c:pt>
                <c:pt idx="347" formatCode="0.0">
                  <c:v>2.9396504815053843</c:v>
                </c:pt>
                <c:pt idx="348" formatCode="0.0">
                  <c:v>2.8814395808815156</c:v>
                </c:pt>
                <c:pt idx="349" formatCode="0.0">
                  <c:v>2.8371486782329192</c:v>
                </c:pt>
                <c:pt idx="350" formatCode="0.0">
                  <c:v>2.7422396011287842</c:v>
                </c:pt>
                <c:pt idx="351" formatCode="0.0">
                  <c:v>2.7042759702871315</c:v>
                </c:pt>
                <c:pt idx="352" formatCode="0.0">
                  <c:v>2.6460650696632619</c:v>
                </c:pt>
                <c:pt idx="353" formatCode="0.0">
                  <c:v>2.7004796072029666</c:v>
                </c:pt>
                <c:pt idx="354" formatCode="0.0">
                  <c:v>2.7422396011287846</c:v>
                </c:pt>
                <c:pt idx="355" formatCode="0.0">
                  <c:v>2.3651342014350258</c:v>
                </c:pt>
                <c:pt idx="356" formatCode="0.0">
                  <c:v>2.6030396213760558</c:v>
                </c:pt>
                <c:pt idx="357" formatCode="0.0">
                  <c:v>2.4992723637422007</c:v>
                </c:pt>
                <c:pt idx="358" formatCode="0.0">
                  <c:v>2.4119560128063982</c:v>
                </c:pt>
                <c:pt idx="359" formatCode="0.0">
                  <c:v>2.2613669438011716</c:v>
                </c:pt>
                <c:pt idx="360" formatCode="0.0">
                  <c:v>2.1892360452020312</c:v>
                </c:pt>
                <c:pt idx="361" formatCode="0.0">
                  <c:v>1.9513306252610001</c:v>
                </c:pt>
                <c:pt idx="362" formatCode="0.0">
                  <c:v>2.1449451425534343</c:v>
                </c:pt>
                <c:pt idx="363" formatCode="0.0">
                  <c:v>1.8159270085924348</c:v>
                </c:pt>
                <c:pt idx="364" formatCode="0.0">
                  <c:v>1.8247851891221543</c:v>
                </c:pt>
                <c:pt idx="365" formatCode="0.0">
                  <c:v>1.7210179314883014</c:v>
                </c:pt>
                <c:pt idx="366" formatCode="0.0">
                  <c:v>1.662807030864432</c:v>
                </c:pt>
                <c:pt idx="367" formatCode="0.0">
                  <c:v>1.4780506941017175</c:v>
                </c:pt>
                <c:pt idx="368" formatCode="0.0">
                  <c:v>1.6134543107702819</c:v>
                </c:pt>
                <c:pt idx="369" formatCode="0.0">
                  <c:v>1.6311706718297203</c:v>
                </c:pt>
                <c:pt idx="370" formatCode="0.0">
                  <c:v>1.6438252154436048</c:v>
                </c:pt>
                <c:pt idx="371" formatCode="0.0">
                  <c:v>1.5577743188691893</c:v>
                </c:pt>
                <c:pt idx="372" formatCode="0.0">
                  <c:v>1.5565088645078016</c:v>
                </c:pt>
                <c:pt idx="373" formatCode="0.0">
                  <c:v>1.5463852296166942</c:v>
                </c:pt>
                <c:pt idx="374" formatCode="0.0">
                  <c:v>1.5666324993989089</c:v>
                </c:pt>
                <c:pt idx="375" formatCode="0.0">
                  <c:v>1.4236361565620133</c:v>
                </c:pt>
                <c:pt idx="376" formatCode="0.0">
                  <c:v>1.380610708274806</c:v>
                </c:pt>
                <c:pt idx="377" formatCode="0.0">
                  <c:v>1.3211343532895485</c:v>
                </c:pt>
                <c:pt idx="378" formatCode="0.0">
                  <c:v>1.3008870835073336</c:v>
                </c:pt>
                <c:pt idx="379" formatCode="0.0">
                  <c:v>1.2034470976804221</c:v>
                </c:pt>
                <c:pt idx="380" formatCode="0.0">
                  <c:v>1.1540943775862724</c:v>
                </c:pt>
                <c:pt idx="381" formatCode="0.0">
                  <c:v>1.0655125722890804</c:v>
                </c:pt>
                <c:pt idx="382" formatCode="0.0">
                  <c:v>1.0351416676157574</c:v>
                </c:pt>
                <c:pt idx="383" formatCode="0.0">
                  <c:v>1.0161598521949302</c:v>
                </c:pt>
                <c:pt idx="384" formatCode="0.0">
                  <c:v>0.97946167571466503</c:v>
                </c:pt>
                <c:pt idx="385" formatCode="0.0">
                  <c:v>0.96807258646216909</c:v>
                </c:pt>
                <c:pt idx="386" formatCode="0.0">
                  <c:v>1.0376725763385346</c:v>
                </c:pt>
                <c:pt idx="387" formatCode="0.0">
                  <c:v>1.1148652923832301</c:v>
                </c:pt>
                <c:pt idx="388" formatCode="0.0">
                  <c:v>1.1351125621654459</c:v>
                </c:pt>
                <c:pt idx="389" formatCode="0.0">
                  <c:v>1.0313453045315921</c:v>
                </c:pt>
                <c:pt idx="390" formatCode="0.0">
                  <c:v>0.96680713210078073</c:v>
                </c:pt>
                <c:pt idx="391" formatCode="0.0">
                  <c:v>0.95162167976411949</c:v>
                </c:pt>
                <c:pt idx="392" formatCode="0.0">
                  <c:v>0.90226895966996934</c:v>
                </c:pt>
                <c:pt idx="393" formatCode="0.0">
                  <c:v>0.83519987851638156</c:v>
                </c:pt>
                <c:pt idx="394" formatCode="0.0">
                  <c:v>0.70359262493198182</c:v>
                </c:pt>
                <c:pt idx="395" formatCode="0.0">
                  <c:v>0.7010617162092051</c:v>
                </c:pt>
                <c:pt idx="396" formatCode="0.0">
                  <c:v>0.72763625779836261</c:v>
                </c:pt>
                <c:pt idx="397" formatCode="0.0">
                  <c:v>0.76813079736279322</c:v>
                </c:pt>
                <c:pt idx="398" formatCode="0.0">
                  <c:v>0.79723624767472767</c:v>
                </c:pt>
                <c:pt idx="399" formatCode="0.0">
                  <c:v>0.81621806309555445</c:v>
                </c:pt>
                <c:pt idx="400" formatCode="0.0">
                  <c:v>0.86936714627386968</c:v>
                </c:pt>
                <c:pt idx="401" formatCode="0.0">
                  <c:v>0.87822532680358922</c:v>
                </c:pt>
                <c:pt idx="402" formatCode="0.0">
                  <c:v>0.82760715234805071</c:v>
                </c:pt>
                <c:pt idx="403" formatCode="0.0">
                  <c:v>0.8427926046847124</c:v>
                </c:pt>
                <c:pt idx="404" formatCode="0.0">
                  <c:v>0.78964352150639694</c:v>
                </c:pt>
                <c:pt idx="405" formatCode="0.0">
                  <c:v>0.76180352555585085</c:v>
                </c:pt>
                <c:pt idx="406" formatCode="0.0">
                  <c:v>0.76559988864001649</c:v>
                </c:pt>
                <c:pt idx="407" formatCode="0.0">
                  <c:v>0.72890171215975119</c:v>
                </c:pt>
                <c:pt idx="408" formatCode="0.0">
                  <c:v>0.6732217202586589</c:v>
                </c:pt>
                <c:pt idx="409" formatCode="0.0">
                  <c:v>0.71245080546170081</c:v>
                </c:pt>
                <c:pt idx="410" formatCode="0.0">
                  <c:v>0.68587626387254341</c:v>
                </c:pt>
                <c:pt idx="411" formatCode="0.0">
                  <c:v>0.70106171620920499</c:v>
                </c:pt>
                <c:pt idx="412" formatCode="0.0">
                  <c:v>0.68714171823393211</c:v>
                </c:pt>
                <c:pt idx="413" formatCode="0.0">
                  <c:v>0.67195626589727031</c:v>
                </c:pt>
                <c:pt idx="414" formatCode="0.0">
                  <c:v>0.62260354580312061</c:v>
                </c:pt>
                <c:pt idx="415" formatCode="0.0">
                  <c:v>0.62386900016450919</c:v>
                </c:pt>
                <c:pt idx="416" formatCode="0.0">
                  <c:v>0.55933082773369769</c:v>
                </c:pt>
                <c:pt idx="417" formatCode="0.0">
                  <c:v>0.55553446464953249</c:v>
                </c:pt>
                <c:pt idx="418" formatCode="0.0">
                  <c:v>0.5504726472039787</c:v>
                </c:pt>
                <c:pt idx="419" formatCode="0.0">
                  <c:v>0.58717082368424378</c:v>
                </c:pt>
                <c:pt idx="420" formatCode="0.0">
                  <c:v>0.59982536729812863</c:v>
                </c:pt>
                <c:pt idx="421" formatCode="0.0">
                  <c:v>0.62639990888728592</c:v>
                </c:pt>
                <c:pt idx="422" formatCode="0.0">
                  <c:v>0.6542399048378319</c:v>
                </c:pt>
                <c:pt idx="423" formatCode="0.0">
                  <c:v>0.69093808131809731</c:v>
                </c:pt>
                <c:pt idx="424" formatCode="0.0">
                  <c:v>0.74282171013502396</c:v>
                </c:pt>
                <c:pt idx="425" formatCode="0.0">
                  <c:v>0.76053807119446248</c:v>
                </c:pt>
                <c:pt idx="426" formatCode="0.0">
                  <c:v>0.773192614808347</c:v>
                </c:pt>
                <c:pt idx="427" formatCode="0.0">
                  <c:v>0.81495260873416597</c:v>
                </c:pt>
                <c:pt idx="428" formatCode="0.0">
                  <c:v>0.85671260265998528</c:v>
                </c:pt>
                <c:pt idx="429" formatCode="0.0">
                  <c:v>0.88328714424914256</c:v>
                </c:pt>
                <c:pt idx="430" formatCode="0.0">
                  <c:v>0.87822532680358922</c:v>
                </c:pt>
                <c:pt idx="431" formatCode="0.0">
                  <c:v>0.8465889677688776</c:v>
                </c:pt>
                <c:pt idx="432" formatCode="0.0">
                  <c:v>0.88075623552636584</c:v>
                </c:pt>
                <c:pt idx="433" formatCode="0.0">
                  <c:v>0.87695987244220064</c:v>
                </c:pt>
                <c:pt idx="434" formatCode="0.0">
                  <c:v>0.84026169596193501</c:v>
                </c:pt>
                <c:pt idx="435" formatCode="0.0">
                  <c:v>0.88328714424914256</c:v>
                </c:pt>
                <c:pt idx="436" formatCode="0.0">
                  <c:v>0.94276349923440017</c:v>
                </c:pt>
                <c:pt idx="437" formatCode="0.0">
                  <c:v>0.82127988054110834</c:v>
                </c:pt>
                <c:pt idx="438" formatCode="0.0">
                  <c:v>1.0515925743138075</c:v>
                </c:pt>
                <c:pt idx="439" formatCode="0.0">
                  <c:v>1.0427343937840878</c:v>
                </c:pt>
                <c:pt idx="440" formatCode="0.0">
                  <c:v>1.0718398440960226</c:v>
                </c:pt>
                <c:pt idx="441" formatCode="0.0">
                  <c:v>1.1743416473684876</c:v>
                </c:pt>
                <c:pt idx="442" formatCode="0.0">
                  <c:v>1.1756071017298761</c:v>
                </c:pt>
                <c:pt idx="443" formatCode="0.0">
                  <c:v>1.1427052883337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96-4795-8581-791AAA8989B0}"/>
            </c:ext>
          </c:extLst>
        </c:ser>
        <c:ser>
          <c:idx val="1"/>
          <c:order val="1"/>
          <c:tx>
            <c:v>Gauteng</c:v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276"/>
              <c:layout>
                <c:manualLayout>
                  <c:x val="-0.26224409813820593"/>
                  <c:y val="-0.4175122348233103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rgbClr val="C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1CDA7F6-88A9-4616-BDF0-E470D238C925}" type="SERIESNAME">
                      <a:rPr lang="en-US" sz="1200"/>
                      <a:pPr>
                        <a:defRPr sz="1100" b="1" i="0" u="none" strike="noStrike" kern="1200" baseline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SERIES NAME]</a:t>
                    </a:fld>
                    <a:endParaRPr lang="en-ZA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S$5:$CS$451</c:f>
              <c:numCache>
                <c:formatCode>General</c:formatCode>
                <c:ptCount val="447"/>
                <c:pt idx="3" formatCode="0.0">
                  <c:v>9.4133594397168494E-3</c:v>
                </c:pt>
                <c:pt idx="4" formatCode="0.0">
                  <c:v>1.6002711047518645E-2</c:v>
                </c:pt>
                <c:pt idx="5" formatCode="0.0">
                  <c:v>2.1650726711348746E-2</c:v>
                </c:pt>
                <c:pt idx="6" formatCode="0.0">
                  <c:v>2.8240078319150545E-2</c:v>
                </c:pt>
                <c:pt idx="7" formatCode="0.0">
                  <c:v>4.1418781534754125E-2</c:v>
                </c:pt>
                <c:pt idx="8" formatCode="0.0">
                  <c:v>5.2714812862414334E-2</c:v>
                </c:pt>
                <c:pt idx="9" formatCode="0.0">
                  <c:v>6.5893516078017939E-2</c:v>
                </c:pt>
                <c:pt idx="10" formatCode="0.0">
                  <c:v>9.31922584531968E-2</c:v>
                </c:pt>
                <c:pt idx="11" formatCode="0.0">
                  <c:v>0.10166428194894199</c:v>
                </c:pt>
                <c:pt idx="12" formatCode="0.0">
                  <c:v>0.10166428194894199</c:v>
                </c:pt>
                <c:pt idx="13" formatCode="0.0">
                  <c:v>0.1656751261390165</c:v>
                </c:pt>
                <c:pt idx="14" formatCode="0.0">
                  <c:v>0.24192333760072299</c:v>
                </c:pt>
                <c:pt idx="15" formatCode="0.0">
                  <c:v>0.24286467354469468</c:v>
                </c:pt>
                <c:pt idx="16" formatCode="0.0">
                  <c:v>0.31346486934257117</c:v>
                </c:pt>
                <c:pt idx="17" formatCode="0.0">
                  <c:v>0.34076361171774988</c:v>
                </c:pt>
                <c:pt idx="18" formatCode="0.0">
                  <c:v>0.38406506514044747</c:v>
                </c:pt>
                <c:pt idx="19" formatCode="0.0">
                  <c:v>0.4254838466752015</c:v>
                </c:pt>
                <c:pt idx="20" formatCode="0.0">
                  <c:v>0.38688907297236252</c:v>
                </c:pt>
                <c:pt idx="21" formatCode="0.0">
                  <c:v>0.31158219745462779</c:v>
                </c:pt>
                <c:pt idx="22" formatCode="0.0">
                  <c:v>0.30687551773476923</c:v>
                </c:pt>
                <c:pt idx="23" formatCode="0.0">
                  <c:v>0.23909932976880791</c:v>
                </c:pt>
                <c:pt idx="24" formatCode="0.0">
                  <c:v>0.18920852473830865</c:v>
                </c:pt>
                <c:pt idx="25" formatCode="0.0">
                  <c:v>0.15061375103546956</c:v>
                </c:pt>
                <c:pt idx="26" formatCode="0.0">
                  <c:v>0.11296031327660216</c:v>
                </c:pt>
                <c:pt idx="27" formatCode="0.0">
                  <c:v>8.9426914677310038E-2</c:v>
                </c:pt>
                <c:pt idx="28" formatCode="0.0">
                  <c:v>0.10731229761277204</c:v>
                </c:pt>
                <c:pt idx="29" formatCode="0.0">
                  <c:v>0.12896302432412082</c:v>
                </c:pt>
                <c:pt idx="30" formatCode="0.0">
                  <c:v>0.12425634460426239</c:v>
                </c:pt>
                <c:pt idx="31" formatCode="0.0">
                  <c:v>0.12143233677234733</c:v>
                </c:pt>
                <c:pt idx="32" formatCode="0.0">
                  <c:v>0.11296031327660216</c:v>
                </c:pt>
                <c:pt idx="33" formatCode="0.0">
                  <c:v>0.15155508697944128</c:v>
                </c:pt>
                <c:pt idx="34" formatCode="0.0">
                  <c:v>0.16661646208298822</c:v>
                </c:pt>
                <c:pt idx="35" formatCode="0.0">
                  <c:v>0.15249642292341292</c:v>
                </c:pt>
                <c:pt idx="36" formatCode="0.0">
                  <c:v>0.13931771970780937</c:v>
                </c:pt>
                <c:pt idx="37" formatCode="0.0">
                  <c:v>0.16379245425107317</c:v>
                </c:pt>
                <c:pt idx="38" formatCode="0.0">
                  <c:v>0.20426989984185559</c:v>
                </c:pt>
                <c:pt idx="39" formatCode="0.0">
                  <c:v>0.27110475186384531</c:v>
                </c:pt>
                <c:pt idx="40" formatCode="0.0">
                  <c:v>0.26639807214398681</c:v>
                </c:pt>
                <c:pt idx="41" formatCode="0.0">
                  <c:v>0.26357406431207181</c:v>
                </c:pt>
                <c:pt idx="42" formatCode="0.0">
                  <c:v>0.27298742375178858</c:v>
                </c:pt>
                <c:pt idx="43" formatCode="0.0">
                  <c:v>0.27675276752767536</c:v>
                </c:pt>
                <c:pt idx="44" formatCode="0.0">
                  <c:v>0.26639807214398681</c:v>
                </c:pt>
                <c:pt idx="45" formatCode="0.0">
                  <c:v>0.24757135326455307</c:v>
                </c:pt>
                <c:pt idx="46" formatCode="0.0">
                  <c:v>0.19109119662625201</c:v>
                </c:pt>
                <c:pt idx="47" formatCode="0.0">
                  <c:v>0.1722644777468183</c:v>
                </c:pt>
                <c:pt idx="48" formatCode="0.0">
                  <c:v>0.1722644777468183</c:v>
                </c:pt>
                <c:pt idx="49" formatCode="0.0">
                  <c:v>0.16755779802695986</c:v>
                </c:pt>
                <c:pt idx="50" formatCode="0.0">
                  <c:v>0.17320581369078997</c:v>
                </c:pt>
                <c:pt idx="51" formatCode="0.0">
                  <c:v>0.18261917313050685</c:v>
                </c:pt>
                <c:pt idx="52" formatCode="0.0">
                  <c:v>0.21274192333760075</c:v>
                </c:pt>
                <c:pt idx="53" formatCode="0.0">
                  <c:v>0.27675276752767536</c:v>
                </c:pt>
                <c:pt idx="54" formatCode="0.0">
                  <c:v>0.27581143158370358</c:v>
                </c:pt>
                <c:pt idx="55" formatCode="0.0">
                  <c:v>0.28993147074327885</c:v>
                </c:pt>
                <c:pt idx="56" formatCode="0.0">
                  <c:v>0.30122750207093907</c:v>
                </c:pt>
                <c:pt idx="57" formatCode="0.0">
                  <c:v>0.29369681451916568</c:v>
                </c:pt>
                <c:pt idx="58" formatCode="0.0">
                  <c:v>0.33699826794186327</c:v>
                </c:pt>
                <c:pt idx="59" formatCode="0.0">
                  <c:v>0.32381956472625961</c:v>
                </c:pt>
                <c:pt idx="60" formatCode="0.0">
                  <c:v>0.29369681451916557</c:v>
                </c:pt>
                <c:pt idx="61" formatCode="0.0">
                  <c:v>0.30875818962271262</c:v>
                </c:pt>
                <c:pt idx="62" formatCode="0.0">
                  <c:v>0.2918141426312223</c:v>
                </c:pt>
                <c:pt idx="63" formatCode="0.0">
                  <c:v>0.29840349423902407</c:v>
                </c:pt>
                <c:pt idx="64" formatCode="0.0">
                  <c:v>0.33323292416597644</c:v>
                </c:pt>
                <c:pt idx="65" formatCode="0.0">
                  <c:v>0.31158219745462773</c:v>
                </c:pt>
                <c:pt idx="66" formatCode="0.0">
                  <c:v>0.33793960388583488</c:v>
                </c:pt>
                <c:pt idx="67" formatCode="0.0">
                  <c:v>0.33135025227803311</c:v>
                </c:pt>
                <c:pt idx="68" formatCode="0.0">
                  <c:v>0.35488365087732521</c:v>
                </c:pt>
                <c:pt idx="69" formatCode="0.0">
                  <c:v>0.35017697115746682</c:v>
                </c:pt>
                <c:pt idx="70" formatCode="0.0">
                  <c:v>0.32664357255817456</c:v>
                </c:pt>
                <c:pt idx="71" formatCode="0.0">
                  <c:v>0.30687551773476929</c:v>
                </c:pt>
                <c:pt idx="72" formatCode="0.0">
                  <c:v>0.29934483018299585</c:v>
                </c:pt>
                <c:pt idx="73" formatCode="0.0">
                  <c:v>0.29275547857519385</c:v>
                </c:pt>
                <c:pt idx="74" formatCode="0.0">
                  <c:v>0.34923563521349493</c:v>
                </c:pt>
                <c:pt idx="75" formatCode="0.0">
                  <c:v>0.41795315912342795</c:v>
                </c:pt>
                <c:pt idx="76" formatCode="0.0">
                  <c:v>0.61186836358159513</c:v>
                </c:pt>
                <c:pt idx="77" formatCode="0.0">
                  <c:v>0.64199111378868912</c:v>
                </c:pt>
                <c:pt idx="78" formatCode="0.0">
                  <c:v>0.72200466902628213</c:v>
                </c:pt>
                <c:pt idx="79" formatCode="0.0">
                  <c:v>0.82461028691919591</c:v>
                </c:pt>
                <c:pt idx="80" formatCode="0.0">
                  <c:v>0.99969877249792927</c:v>
                </c:pt>
                <c:pt idx="81" formatCode="0.0">
                  <c:v>1.0731229761277203</c:v>
                </c:pt>
                <c:pt idx="82" formatCode="0.0">
                  <c:v>1.157843211085172</c:v>
                </c:pt>
                <c:pt idx="83" formatCode="0.0">
                  <c:v>1.1653738986369455</c:v>
                </c:pt>
                <c:pt idx="84" formatCode="0.0">
                  <c:v>1.1606672189170872</c:v>
                </c:pt>
                <c:pt idx="85" formatCode="0.0">
                  <c:v>1.3178703215603584</c:v>
                </c:pt>
                <c:pt idx="86" formatCode="0.0">
                  <c:v>1.4270652910610737</c:v>
                </c:pt>
                <c:pt idx="87" formatCode="0.0">
                  <c:v>1.5362602605617897</c:v>
                </c:pt>
                <c:pt idx="88" formatCode="0.0">
                  <c:v>1.7442955041795316</c:v>
                </c:pt>
                <c:pt idx="89" formatCode="0.0">
                  <c:v>1.8290157391369835</c:v>
                </c:pt>
                <c:pt idx="90" formatCode="0.0">
                  <c:v>1.908087958430605</c:v>
                </c:pt>
                <c:pt idx="91" formatCode="0.0">
                  <c:v>2.1368325928157237</c:v>
                </c:pt>
                <c:pt idx="92" formatCode="0.0">
                  <c:v>2.4738308607575878</c:v>
                </c:pt>
                <c:pt idx="93" formatCode="0.0">
                  <c:v>2.9256721138639956</c:v>
                </c:pt>
                <c:pt idx="94" formatCode="0.0">
                  <c:v>3.3568039762030266</c:v>
                </c:pt>
                <c:pt idx="95" formatCode="0.0">
                  <c:v>4.0204458167030657</c:v>
                </c:pt>
                <c:pt idx="96" formatCode="0.0">
                  <c:v>4.9118909556442514</c:v>
                </c:pt>
                <c:pt idx="97" formatCode="0.0">
                  <c:v>5.5868288274719484</c:v>
                </c:pt>
                <c:pt idx="98" formatCode="0.0">
                  <c:v>6.0970329091046027</c:v>
                </c:pt>
                <c:pt idx="99" formatCode="0.0">
                  <c:v>6.989419383989758</c:v>
                </c:pt>
                <c:pt idx="100" formatCode="0.0">
                  <c:v>7.4789140748550347</c:v>
                </c:pt>
                <c:pt idx="101" formatCode="0.0">
                  <c:v>7.9825288048798866</c:v>
                </c:pt>
                <c:pt idx="102" formatCode="0.0">
                  <c:v>8.5482717072068652</c:v>
                </c:pt>
                <c:pt idx="103" formatCode="0.0">
                  <c:v>9.0914225468785279</c:v>
                </c:pt>
                <c:pt idx="104" formatCode="0.0">
                  <c:v>9.5526771594246576</c:v>
                </c:pt>
                <c:pt idx="105" formatCode="0.0">
                  <c:v>10.371639430680023</c:v>
                </c:pt>
                <c:pt idx="106" formatCode="0.0">
                  <c:v>10.859251449657354</c:v>
                </c:pt>
                <c:pt idx="107" formatCode="0.0">
                  <c:v>12.094284208148206</c:v>
                </c:pt>
                <c:pt idx="108" formatCode="0.0">
                  <c:v>13.256834098953238</c:v>
                </c:pt>
                <c:pt idx="109" formatCode="0.0">
                  <c:v>14.409029294374577</c:v>
                </c:pt>
                <c:pt idx="110" formatCode="0.0">
                  <c:v>15.130092627456884</c:v>
                </c:pt>
                <c:pt idx="111" formatCode="0.0">
                  <c:v>16.473379019504485</c:v>
                </c:pt>
                <c:pt idx="112" formatCode="0.0">
                  <c:v>17.734769184426543</c:v>
                </c:pt>
                <c:pt idx="113" formatCode="0.0">
                  <c:v>18.627155659311697</c:v>
                </c:pt>
                <c:pt idx="114" formatCode="0.0">
                  <c:v>19.947849988703961</c:v>
                </c:pt>
                <c:pt idx="115" formatCode="0.0">
                  <c:v>21.638489344077112</c:v>
                </c:pt>
                <c:pt idx="116" formatCode="0.0">
                  <c:v>23.616236162361623</c:v>
                </c:pt>
                <c:pt idx="117" formatCode="0.0">
                  <c:v>24.953874538745389</c:v>
                </c:pt>
                <c:pt idx="118" formatCode="0.0">
                  <c:v>25.463137284434069</c:v>
                </c:pt>
                <c:pt idx="119" formatCode="0.0">
                  <c:v>26.928797349197978</c:v>
                </c:pt>
                <c:pt idx="120" formatCode="0.0">
                  <c:v>27.365577227200841</c:v>
                </c:pt>
                <c:pt idx="121" formatCode="0.0">
                  <c:v>29.754687853000977</c:v>
                </c:pt>
                <c:pt idx="122" formatCode="0.0">
                  <c:v>30.783568039762024</c:v>
                </c:pt>
                <c:pt idx="123" formatCode="0.0">
                  <c:v>31.695722569470593</c:v>
                </c:pt>
                <c:pt idx="124" formatCode="0.0">
                  <c:v>32.972174109496194</c:v>
                </c:pt>
                <c:pt idx="125" formatCode="0.0">
                  <c:v>34.661872128925388</c:v>
                </c:pt>
                <c:pt idx="126" formatCode="0.0">
                  <c:v>33.49461555840049</c:v>
                </c:pt>
                <c:pt idx="127" formatCode="0.0">
                  <c:v>35.487423751788526</c:v>
                </c:pt>
                <c:pt idx="128" formatCode="0.0">
                  <c:v>34.216620227426766</c:v>
                </c:pt>
                <c:pt idx="129" formatCode="0.0">
                  <c:v>34.241094961970035</c:v>
                </c:pt>
                <c:pt idx="130" formatCode="0.0">
                  <c:v>33.473906167633096</c:v>
                </c:pt>
                <c:pt idx="131" formatCode="0.0">
                  <c:v>33.121846524587696</c:v>
                </c:pt>
                <c:pt idx="132" formatCode="0.0">
                  <c:v>31.220347917764887</c:v>
                </c:pt>
                <c:pt idx="133" formatCode="0.0">
                  <c:v>30.466337826643574</c:v>
                </c:pt>
                <c:pt idx="134" formatCode="0.0">
                  <c:v>29.998493862489646</c:v>
                </c:pt>
                <c:pt idx="135" formatCode="0.0">
                  <c:v>29.142819489419388</c:v>
                </c:pt>
                <c:pt idx="136" formatCode="0.0">
                  <c:v>27.874839972889532</c:v>
                </c:pt>
                <c:pt idx="137" formatCode="0.0">
                  <c:v>26.561676331049025</c:v>
                </c:pt>
                <c:pt idx="138" formatCode="0.0">
                  <c:v>24.980231945176591</c:v>
                </c:pt>
                <c:pt idx="139" formatCode="0.0">
                  <c:v>23.947586414639659</c:v>
                </c:pt>
                <c:pt idx="140" formatCode="0.0">
                  <c:v>23.673657654943892</c:v>
                </c:pt>
                <c:pt idx="141" formatCode="0.0">
                  <c:v>22.391558099254471</c:v>
                </c:pt>
                <c:pt idx="142" formatCode="0.0">
                  <c:v>21.387152647036675</c:v>
                </c:pt>
                <c:pt idx="143" formatCode="0.0">
                  <c:v>20.946607425257927</c:v>
                </c:pt>
                <c:pt idx="144" formatCode="0.0">
                  <c:v>20.048572934708933</c:v>
                </c:pt>
                <c:pt idx="145" formatCode="0.0">
                  <c:v>19.182543866254981</c:v>
                </c:pt>
                <c:pt idx="146" formatCode="0.0">
                  <c:v>18.47560057233224</c:v>
                </c:pt>
                <c:pt idx="147" formatCode="0.0">
                  <c:v>17.420362979139984</c:v>
                </c:pt>
                <c:pt idx="148" formatCode="0.0">
                  <c:v>15.920814820393103</c:v>
                </c:pt>
                <c:pt idx="149" formatCode="0.0">
                  <c:v>15.115031252353344</c:v>
                </c:pt>
                <c:pt idx="150" formatCode="0.0">
                  <c:v>13.072332253934787</c:v>
                </c:pt>
                <c:pt idx="151" formatCode="0.0">
                  <c:v>12.124406958355298</c:v>
                </c:pt>
                <c:pt idx="152" formatCode="0.0">
                  <c:v>11.517245274493558</c:v>
                </c:pt>
                <c:pt idx="153" formatCode="0.0">
                  <c:v>10.933616989231115</c:v>
                </c:pt>
                <c:pt idx="154" formatCode="0.0">
                  <c:v>10.357519391520446</c:v>
                </c:pt>
                <c:pt idx="155" formatCode="0.0">
                  <c:v>8.8513818811657501</c:v>
                </c:pt>
                <c:pt idx="156" formatCode="0.0">
                  <c:v>7.7086000451841281</c:v>
                </c:pt>
                <c:pt idx="157" formatCode="0.0">
                  <c:v>7.8808645229309429</c:v>
                </c:pt>
                <c:pt idx="158" formatCode="0.0">
                  <c:v>7.2219293621507656</c:v>
                </c:pt>
                <c:pt idx="159" formatCode="0.0">
                  <c:v>6.4650952631975303</c:v>
                </c:pt>
                <c:pt idx="160" formatCode="0.0">
                  <c:v>6.2843587619549686</c:v>
                </c:pt>
                <c:pt idx="161" formatCode="0.0">
                  <c:v>6.4537992318698718</c:v>
                </c:pt>
                <c:pt idx="162" formatCode="0.0">
                  <c:v>6.896227125536563</c:v>
                </c:pt>
                <c:pt idx="163" formatCode="0.0">
                  <c:v>6.7164319602379692</c:v>
                </c:pt>
                <c:pt idx="164" formatCode="0.0">
                  <c:v>5.9313577829655868</c:v>
                </c:pt>
                <c:pt idx="165" formatCode="0.0">
                  <c:v>6.1883424956698576</c:v>
                </c:pt>
                <c:pt idx="166" formatCode="0.0">
                  <c:v>6.0085473303712629</c:v>
                </c:pt>
                <c:pt idx="167" formatCode="0.0">
                  <c:v>5.9191204156939534</c:v>
                </c:pt>
                <c:pt idx="168" formatCode="0.0">
                  <c:v>5.5943595150237231</c:v>
                </c:pt>
                <c:pt idx="169" formatCode="0.0">
                  <c:v>5.2705399502974624</c:v>
                </c:pt>
                <c:pt idx="170" formatCode="0.0">
                  <c:v>4.8958882445967307</c:v>
                </c:pt>
                <c:pt idx="171" formatCode="0.0">
                  <c:v>4.468521726033587</c:v>
                </c:pt>
                <c:pt idx="172" formatCode="0.0">
                  <c:v>3.6505007907221936</c:v>
                </c:pt>
                <c:pt idx="173" formatCode="0.0">
                  <c:v>3.417049476617215</c:v>
                </c:pt>
                <c:pt idx="174" formatCode="0.0">
                  <c:v>3.4302281798328189</c:v>
                </c:pt>
                <c:pt idx="175" formatCode="0.0">
                  <c:v>3.4132841328413286</c:v>
                </c:pt>
                <c:pt idx="176" formatCode="0.0">
                  <c:v>3.3389185932675649</c:v>
                </c:pt>
                <c:pt idx="177" formatCode="0.0">
                  <c:v>3.3153851946682726</c:v>
                </c:pt>
                <c:pt idx="178" formatCode="0.0">
                  <c:v>3.3953987499058664</c:v>
                </c:pt>
                <c:pt idx="179" formatCode="0.0">
                  <c:v>3.2391369832065671</c:v>
                </c:pt>
                <c:pt idx="180" formatCode="0.0">
                  <c:v>3.0593418179079754</c:v>
                </c:pt>
                <c:pt idx="181" formatCode="0.0">
                  <c:v>2.7468182845093758</c:v>
                </c:pt>
                <c:pt idx="182" formatCode="0.0">
                  <c:v>2.6498606822802921</c:v>
                </c:pt>
                <c:pt idx="183" formatCode="0.0">
                  <c:v>2.4324120792228325</c:v>
                </c:pt>
                <c:pt idx="184" formatCode="0.0">
                  <c:v>2.3288651253859474</c:v>
                </c:pt>
                <c:pt idx="185" formatCode="0.0">
                  <c:v>2.1650726711348747</c:v>
                </c:pt>
                <c:pt idx="186" formatCode="0.0">
                  <c:v>2.1340085849838082</c:v>
                </c:pt>
                <c:pt idx="187" formatCode="0.0">
                  <c:v>2.1104751863845168</c:v>
                </c:pt>
                <c:pt idx="188" formatCode="0.0">
                  <c:v>2.0897657956171396</c:v>
                </c:pt>
                <c:pt idx="189" formatCode="0.0">
                  <c:v>2.0219896076511787</c:v>
                </c:pt>
                <c:pt idx="190" formatCode="0.0">
                  <c:v>2.0304616311469235</c:v>
                </c:pt>
                <c:pt idx="191" formatCode="0.0">
                  <c:v>2.0605843813540186</c:v>
                </c:pt>
                <c:pt idx="192" formatCode="0.0">
                  <c:v>2.1688380149107607</c:v>
                </c:pt>
                <c:pt idx="193" formatCode="0.0">
                  <c:v>2.150952631975299</c:v>
                </c:pt>
                <c:pt idx="194" formatCode="0.0">
                  <c:v>2.0991791550568566</c:v>
                </c:pt>
                <c:pt idx="195" formatCode="0.0">
                  <c:v>2.0502296859703288</c:v>
                </c:pt>
                <c:pt idx="196" formatCode="0.0">
                  <c:v>2.1443632803674983</c:v>
                </c:pt>
                <c:pt idx="197" formatCode="0.0">
                  <c:v>2.086941787785225</c:v>
                </c:pt>
                <c:pt idx="198" formatCode="0.0">
                  <c:v>1.9570374275171323</c:v>
                </c:pt>
                <c:pt idx="199" formatCode="0.0">
                  <c:v>1.7508848557873331</c:v>
                </c:pt>
                <c:pt idx="200" formatCode="0.0">
                  <c:v>1.6426312222305897</c:v>
                </c:pt>
                <c:pt idx="201" formatCode="0.0">
                  <c:v>1.5710896904887419</c:v>
                </c:pt>
                <c:pt idx="202" formatCode="0.0">
                  <c:v>1.6162738157993828</c:v>
                </c:pt>
                <c:pt idx="203" formatCode="0.0">
                  <c:v>1.5193162135702989</c:v>
                </c:pt>
                <c:pt idx="204" formatCode="0.0">
                  <c:v>1.4957828149710068</c:v>
                </c:pt>
                <c:pt idx="205" formatCode="0.0">
                  <c:v>1.5400256043376759</c:v>
                </c:pt>
                <c:pt idx="206" formatCode="0.0">
                  <c:v>1.6143911439114391</c:v>
                </c:pt>
                <c:pt idx="207" formatCode="0.0">
                  <c:v>1.7273514571880408</c:v>
                </c:pt>
                <c:pt idx="208" formatCode="0.0">
                  <c:v>1.7612395511710219</c:v>
                </c:pt>
                <c:pt idx="209" formatCode="0.0">
                  <c:v>1.7499435198433619</c:v>
                </c:pt>
                <c:pt idx="210" formatCode="0.0">
                  <c:v>1.8327810829128701</c:v>
                </c:pt>
                <c:pt idx="211" formatCode="0.0">
                  <c:v>1.8967919271029443</c:v>
                </c:pt>
                <c:pt idx="212" formatCode="0.0">
                  <c:v>1.8638451690639357</c:v>
                </c:pt>
                <c:pt idx="213" formatCode="0.0">
                  <c:v>1.8911439114391142</c:v>
                </c:pt>
                <c:pt idx="214" formatCode="0.0">
                  <c:v>1.9287973491979817</c:v>
                </c:pt>
                <c:pt idx="215" formatCode="0.0">
                  <c:v>1.977746818284509</c:v>
                </c:pt>
                <c:pt idx="216" formatCode="0.0">
                  <c:v>1.9843361698923114</c:v>
                </c:pt>
                <c:pt idx="217" formatCode="0.0">
                  <c:v>1.9918668574440839</c:v>
                </c:pt>
                <c:pt idx="218" formatCode="0.0">
                  <c:v>2.0182242638752919</c:v>
                </c:pt>
                <c:pt idx="219" formatCode="0.0">
                  <c:v>1.9975148731079151</c:v>
                </c:pt>
                <c:pt idx="220" formatCode="0.0">
                  <c:v>2.0332856389788385</c:v>
                </c:pt>
                <c:pt idx="221" formatCode="0.0">
                  <c:v>1.9937495293320282</c:v>
                </c:pt>
                <c:pt idx="222" formatCode="0.0">
                  <c:v>2.0426989984185551</c:v>
                </c:pt>
                <c:pt idx="223" formatCode="0.0">
                  <c:v>2.2497929060923272</c:v>
                </c:pt>
                <c:pt idx="224" formatCode="0.0">
                  <c:v>2.1631899992469319</c:v>
                </c:pt>
                <c:pt idx="225" formatCode="0.0">
                  <c:v>2.080352436177423</c:v>
                </c:pt>
                <c:pt idx="226" formatCode="0.0">
                  <c:v>2.0756457564575648</c:v>
                </c:pt>
                <c:pt idx="227" formatCode="0.0">
                  <c:v>2.0342269749228103</c:v>
                </c:pt>
                <c:pt idx="228" formatCode="0.0">
                  <c:v>1.9768054823405381</c:v>
                </c:pt>
                <c:pt idx="229" formatCode="0.0">
                  <c:v>1.8939679192710297</c:v>
                </c:pt>
                <c:pt idx="230" formatCode="0.0">
                  <c:v>1.6765193162135703</c:v>
                </c:pt>
                <c:pt idx="231" formatCode="0.0">
                  <c:v>1.7179380977483241</c:v>
                </c:pt>
                <c:pt idx="232" formatCode="0.0">
                  <c:v>1.6567512613901649</c:v>
                </c:pt>
                <c:pt idx="233" formatCode="0.0">
                  <c:v>1.6614579411100241</c:v>
                </c:pt>
                <c:pt idx="234" formatCode="0.0">
                  <c:v>1.6351005346788166</c:v>
                </c:pt>
                <c:pt idx="235" formatCode="0.0">
                  <c:v>1.6878153475412305</c:v>
                </c:pt>
                <c:pt idx="236" formatCode="0.0">
                  <c:v>1.6520445816703069</c:v>
                </c:pt>
                <c:pt idx="237" formatCode="0.0">
                  <c:v>1.6002711047518643</c:v>
                </c:pt>
                <c:pt idx="238" formatCode="0.0">
                  <c:v>1.5635590029369679</c:v>
                </c:pt>
                <c:pt idx="239" formatCode="0.0">
                  <c:v>1.5597936591610815</c:v>
                </c:pt>
                <c:pt idx="240" formatCode="0.0">
                  <c:v>1.4816627758114316</c:v>
                </c:pt>
                <c:pt idx="241" formatCode="0.0">
                  <c:v>1.432713306724904</c:v>
                </c:pt>
                <c:pt idx="242" formatCode="0.0">
                  <c:v>1.3263423450561038</c:v>
                </c:pt>
                <c:pt idx="243" formatCode="0.0">
                  <c:v>1.271744860305746</c:v>
                </c:pt>
                <c:pt idx="244" formatCode="0.0">
                  <c:v>1.2915129151291511</c:v>
                </c:pt>
                <c:pt idx="245" formatCode="0.0">
                  <c:v>1.260448828978086</c:v>
                </c:pt>
                <c:pt idx="246" formatCode="0.0">
                  <c:v>1.2651555086979442</c:v>
                </c:pt>
                <c:pt idx="247" formatCode="0.0">
                  <c:v>1.2915129151291511</c:v>
                </c:pt>
                <c:pt idx="248" formatCode="0.0">
                  <c:v>1.2453874538745389</c:v>
                </c:pt>
                <c:pt idx="249" formatCode="0.0">
                  <c:v>1.2369154303787939</c:v>
                </c:pt>
                <c:pt idx="250" formatCode="0.0">
                  <c:v>1.2651555086979442</c:v>
                </c:pt>
                <c:pt idx="251" formatCode="0.0">
                  <c:v>1.2435047819865954</c:v>
                </c:pt>
                <c:pt idx="252" formatCode="0.0">
                  <c:v>1.2246780631071617</c:v>
                </c:pt>
                <c:pt idx="253" formatCode="0.0">
                  <c:v>1.2359740944348216</c:v>
                </c:pt>
                <c:pt idx="254" formatCode="0.0">
                  <c:v>1.2369154303787939</c:v>
                </c:pt>
                <c:pt idx="255" formatCode="0.0">
                  <c:v>1.2952782589050378</c:v>
                </c:pt>
                <c:pt idx="256" formatCode="0.0">
                  <c:v>1.2962195948490098</c:v>
                </c:pt>
                <c:pt idx="257" formatCode="0.0">
                  <c:v>1.3112809699525569</c:v>
                </c:pt>
                <c:pt idx="258" formatCode="0.0">
                  <c:v>1.3470517358234806</c:v>
                </c:pt>
                <c:pt idx="259" formatCode="0.0">
                  <c:v>1.3960012049100083</c:v>
                </c:pt>
                <c:pt idx="260" formatCode="0.0">
                  <c:v>1.4713080804277432</c:v>
                </c:pt>
                <c:pt idx="261" formatCode="0.0">
                  <c:v>1.5127268619624974</c:v>
                </c:pt>
                <c:pt idx="262" formatCode="0.0">
                  <c:v>1.5550869794412234</c:v>
                </c:pt>
                <c:pt idx="263" formatCode="0.0">
                  <c:v>1.6153324798554112</c:v>
                </c:pt>
                <c:pt idx="264" formatCode="0.0">
                  <c:v>1.689698019429174</c:v>
                </c:pt>
                <c:pt idx="265" formatCode="0.0">
                  <c:v>1.6878153475412307</c:v>
                </c:pt>
                <c:pt idx="266" formatCode="0.0">
                  <c:v>1.7414714963476163</c:v>
                </c:pt>
                <c:pt idx="267" formatCode="0.0">
                  <c:v>1.8393704345206721</c:v>
                </c:pt>
                <c:pt idx="268" formatCode="0.0">
                  <c:v>1.9683334588447927</c:v>
                </c:pt>
                <c:pt idx="269" formatCode="0.0">
                  <c:v>2.2102567964455155</c:v>
                </c:pt>
                <c:pt idx="270" formatCode="0.0">
                  <c:v>2.4804202123653893</c:v>
                </c:pt>
                <c:pt idx="271" formatCode="0.0">
                  <c:v>2.7185782061902253</c:v>
                </c:pt>
                <c:pt idx="272" formatCode="0.0">
                  <c:v>3.1054672791625881</c:v>
                </c:pt>
                <c:pt idx="273" formatCode="0.0">
                  <c:v>3.6768581971533996</c:v>
                </c:pt>
                <c:pt idx="274" formatCode="0.0">
                  <c:v>4.3273213344378343</c:v>
                </c:pt>
                <c:pt idx="275" formatCode="0.0">
                  <c:v>5.0916861209428426</c:v>
                </c:pt>
                <c:pt idx="276" formatCode="0.0">
                  <c:v>5.8824083138790586</c:v>
                </c:pt>
                <c:pt idx="277" formatCode="0.0">
                  <c:v>6.6222983658408028</c:v>
                </c:pt>
                <c:pt idx="278" formatCode="0.0">
                  <c:v>7.1334437834174285</c:v>
                </c:pt>
                <c:pt idx="279" formatCode="0.0">
                  <c:v>7.39890051961744</c:v>
                </c:pt>
                <c:pt idx="280" formatCode="0.0">
                  <c:v>7.8083816552451264</c:v>
                </c:pt>
                <c:pt idx="281" formatCode="0.0">
                  <c:v>8.3967166202274299</c:v>
                </c:pt>
                <c:pt idx="282" formatCode="0.0">
                  <c:v>8.8626779124934139</c:v>
                </c:pt>
                <c:pt idx="283" formatCode="0.0">
                  <c:v>8.9313954364033457</c:v>
                </c:pt>
                <c:pt idx="284" formatCode="0.0">
                  <c:v>9.7964831689133209</c:v>
                </c:pt>
                <c:pt idx="285" formatCode="0.0">
                  <c:v>10.63521349499209</c:v>
                </c:pt>
                <c:pt idx="286" formatCode="0.0">
                  <c:v>11.376986218841786</c:v>
                </c:pt>
                <c:pt idx="287" formatCode="0.0">
                  <c:v>11.83071014383613</c:v>
                </c:pt>
                <c:pt idx="288" formatCode="0.0">
                  <c:v>13.164583176444012</c:v>
                </c:pt>
                <c:pt idx="289" formatCode="0.0">
                  <c:v>14.483394833948344</c:v>
                </c:pt>
                <c:pt idx="290" formatCode="0.0">
                  <c:v>16.472437683560504</c:v>
                </c:pt>
                <c:pt idx="291" formatCode="0.0">
                  <c:v>16.807553279614432</c:v>
                </c:pt>
                <c:pt idx="292" formatCode="0.0">
                  <c:v>16.639995481587476</c:v>
                </c:pt>
                <c:pt idx="293" formatCode="0.0">
                  <c:v>16.879094811356275</c:v>
                </c:pt>
                <c:pt idx="294" formatCode="0.0">
                  <c:v>17.465547104450636</c:v>
                </c:pt>
                <c:pt idx="295" formatCode="0.0">
                  <c:v>18.333458844792531</c:v>
                </c:pt>
                <c:pt idx="296" formatCode="0.0">
                  <c:v>19.506363430981246</c:v>
                </c:pt>
                <c:pt idx="297" formatCode="0.0">
                  <c:v>20.241546803223123</c:v>
                </c:pt>
                <c:pt idx="298" formatCode="0.0">
                  <c:v>21.599894570374275</c:v>
                </c:pt>
                <c:pt idx="299" formatCode="0.0">
                  <c:v>22.400030122750206</c:v>
                </c:pt>
                <c:pt idx="300" formatCode="0.0">
                  <c:v>23.607764138865878</c:v>
                </c:pt>
                <c:pt idx="301" formatCode="0.0">
                  <c:v>24.384366292642518</c:v>
                </c:pt>
                <c:pt idx="302" formatCode="0.0">
                  <c:v>25.94227727991565</c:v>
                </c:pt>
                <c:pt idx="303" formatCode="0.0">
                  <c:v>27.035168310866787</c:v>
                </c:pt>
                <c:pt idx="304" formatCode="0.0">
                  <c:v>29.477935085473302</c:v>
                </c:pt>
                <c:pt idx="305" formatCode="0.0">
                  <c:v>31.511220724452144</c:v>
                </c:pt>
                <c:pt idx="306" formatCode="0.0">
                  <c:v>33.675352059643046</c:v>
                </c:pt>
                <c:pt idx="307" formatCode="0.0">
                  <c:v>34.696701558852325</c:v>
                </c:pt>
                <c:pt idx="308" formatCode="0.0">
                  <c:v>34.867083364711192</c:v>
                </c:pt>
                <c:pt idx="309" formatCode="0.0">
                  <c:v>34.340876572031021</c:v>
                </c:pt>
                <c:pt idx="310" formatCode="0.0">
                  <c:v>33.170795993674218</c:v>
                </c:pt>
                <c:pt idx="311" formatCode="0.0">
                  <c:v>30.296897356728671</c:v>
                </c:pt>
                <c:pt idx="312" formatCode="0.0">
                  <c:v>27.804239777091649</c:v>
                </c:pt>
                <c:pt idx="313" formatCode="0.0">
                  <c:v>26.394118533022066</c:v>
                </c:pt>
                <c:pt idx="314" formatCode="0.0">
                  <c:v>24.661119060170186</c:v>
                </c:pt>
                <c:pt idx="315" formatCode="0.0">
                  <c:v>23.507041192860903</c:v>
                </c:pt>
                <c:pt idx="316" formatCode="0.0">
                  <c:v>22.198584230740266</c:v>
                </c:pt>
                <c:pt idx="317" formatCode="0.0">
                  <c:v>20.822351080653668</c:v>
                </c:pt>
                <c:pt idx="318" formatCode="0.0">
                  <c:v>19.644739814745083</c:v>
                </c:pt>
                <c:pt idx="319" formatCode="0.0">
                  <c:v>19.009338052564196</c:v>
                </c:pt>
                <c:pt idx="320" formatCode="0.0">
                  <c:v>17.414714963476165</c:v>
                </c:pt>
                <c:pt idx="321" formatCode="0.0">
                  <c:v>16.289818510430003</c:v>
                </c:pt>
                <c:pt idx="322" formatCode="0.0">
                  <c:v>15.508509676933503</c:v>
                </c:pt>
                <c:pt idx="323" formatCode="0.0">
                  <c:v>13.344378341742599</c:v>
                </c:pt>
                <c:pt idx="324" formatCode="0.0">
                  <c:v>11.87024625348295</c:v>
                </c:pt>
                <c:pt idx="325" formatCode="0.0">
                  <c:v>10.363167407184276</c:v>
                </c:pt>
                <c:pt idx="326" formatCode="0.0">
                  <c:v>8.4880262067926804</c:v>
                </c:pt>
                <c:pt idx="327" formatCode="0.0">
                  <c:v>7.7556668423827109</c:v>
                </c:pt>
                <c:pt idx="328" formatCode="0.0">
                  <c:v>7.2068679870472181</c:v>
                </c:pt>
                <c:pt idx="329" formatCode="0.0">
                  <c:v>6.5272234354996632</c:v>
                </c:pt>
                <c:pt idx="330" formatCode="0.0">
                  <c:v>6.0716168386173663</c:v>
                </c:pt>
                <c:pt idx="331" formatCode="0.0">
                  <c:v>5.7346185706755017</c:v>
                </c:pt>
                <c:pt idx="332" formatCode="0.0">
                  <c:v>5.6706077264854287</c:v>
                </c:pt>
                <c:pt idx="333" formatCode="0.0">
                  <c:v>5.5369380224414488</c:v>
                </c:pt>
                <c:pt idx="334" formatCode="0.0">
                  <c:v>5.2903080051208695</c:v>
                </c:pt>
                <c:pt idx="335" formatCode="0.0">
                  <c:v>5.0822727615031278</c:v>
                </c:pt>
                <c:pt idx="336" formatCode="0.0">
                  <c:v>4.9740191279463826</c:v>
                </c:pt>
                <c:pt idx="337" formatCode="0.0">
                  <c:v>4.6577302507718947</c:v>
                </c:pt>
                <c:pt idx="338" formatCode="0.0">
                  <c:v>4.482641765193164</c:v>
                </c:pt>
                <c:pt idx="339" formatCode="0.0">
                  <c:v>4.2030649898335728</c:v>
                </c:pt>
                <c:pt idx="340" formatCode="0.0">
                  <c:v>4.1889449506739957</c:v>
                </c:pt>
                <c:pt idx="341" formatCode="0.0">
                  <c:v>4.0157391369832061</c:v>
                </c:pt>
                <c:pt idx="342" formatCode="0.0">
                  <c:v>3.9225468785300097</c:v>
                </c:pt>
                <c:pt idx="343" formatCode="0.0">
                  <c:v>3.8058212214775216</c:v>
                </c:pt>
                <c:pt idx="344" formatCode="0.0">
                  <c:v>3.8444159951803596</c:v>
                </c:pt>
                <c:pt idx="345" formatCode="0.0">
                  <c:v>3.8368853076285863</c:v>
                </c:pt>
                <c:pt idx="346" formatCode="0.0">
                  <c:v>3.7276903381278714</c:v>
                </c:pt>
                <c:pt idx="347" formatCode="0.0">
                  <c:v>3.4142254687853004</c:v>
                </c:pt>
                <c:pt idx="348" formatCode="0.0">
                  <c:v>3.2843211085172088</c:v>
                </c:pt>
                <c:pt idx="349" formatCode="0.0">
                  <c:v>3.2504330145342273</c:v>
                </c:pt>
                <c:pt idx="350" formatCode="0.0">
                  <c:v>3.1723021311845767</c:v>
                </c:pt>
                <c:pt idx="351" formatCode="0.0">
                  <c:v>2.96709089539875</c:v>
                </c:pt>
                <c:pt idx="352" formatCode="0.0">
                  <c:v>2.7223435499661126</c:v>
                </c:pt>
                <c:pt idx="353" formatCode="0.0">
                  <c:v>2.6037352210256799</c:v>
                </c:pt>
                <c:pt idx="354" formatCode="0.0">
                  <c:v>2.5444310565554646</c:v>
                </c:pt>
                <c:pt idx="355" formatCode="0.0">
                  <c:v>2.4888922358611341</c:v>
                </c:pt>
                <c:pt idx="356" formatCode="0.0">
                  <c:v>2.3872279539121926</c:v>
                </c:pt>
                <c:pt idx="357" formatCode="0.0">
                  <c:v>2.3505158520972969</c:v>
                </c:pt>
                <c:pt idx="358" formatCode="0.0">
                  <c:v>2.2488515701483549</c:v>
                </c:pt>
                <c:pt idx="359" formatCode="0.0">
                  <c:v>2.1951954213419684</c:v>
                </c:pt>
                <c:pt idx="360" formatCode="0.0">
                  <c:v>2.0831764440093385</c:v>
                </c:pt>
                <c:pt idx="361" formatCode="0.0">
                  <c:v>2.0530536938022435</c:v>
                </c:pt>
                <c:pt idx="362" formatCode="0.0">
                  <c:v>1.9673921229008211</c:v>
                </c:pt>
                <c:pt idx="363" formatCode="0.0">
                  <c:v>2.0379923186986972</c:v>
                </c:pt>
                <c:pt idx="364" formatCode="0.0">
                  <c:v>2.1217712177121779</c:v>
                </c:pt>
                <c:pt idx="365" formatCode="0.0">
                  <c:v>2.2441448904284966</c:v>
                </c:pt>
                <c:pt idx="366" formatCode="0.0">
                  <c:v>2.2544995858121846</c:v>
                </c:pt>
                <c:pt idx="367" formatCode="0.0">
                  <c:v>2.2272008434370063</c:v>
                </c:pt>
                <c:pt idx="368" formatCode="0.0">
                  <c:v>2.263912945251902</c:v>
                </c:pt>
                <c:pt idx="369" formatCode="0.0">
                  <c:v>2.3006250470667977</c:v>
                </c:pt>
                <c:pt idx="370" formatCode="0.0">
                  <c:v>2.3100384065065143</c:v>
                </c:pt>
                <c:pt idx="371" formatCode="0.0">
                  <c:v>2.2196701558852325</c:v>
                </c:pt>
                <c:pt idx="372" formatCode="0.0">
                  <c:v>2.0831764440093385</c:v>
                </c:pt>
                <c:pt idx="373" formatCode="0.0">
                  <c:v>2.0116349122674899</c:v>
                </c:pt>
                <c:pt idx="374" formatCode="0.0">
                  <c:v>2.0925898034490547</c:v>
                </c:pt>
                <c:pt idx="375" formatCode="0.0">
                  <c:v>2.0822351080653667</c:v>
                </c:pt>
                <c:pt idx="376" formatCode="0.0">
                  <c:v>2.1227125536561489</c:v>
                </c:pt>
                <c:pt idx="377" formatCode="0.0">
                  <c:v>2.0681150689057914</c:v>
                </c:pt>
                <c:pt idx="378" formatCode="0.0">
                  <c:v>2.0050455606596875</c:v>
                </c:pt>
                <c:pt idx="379" formatCode="0.0">
                  <c:v>1.9259733413660667</c:v>
                </c:pt>
                <c:pt idx="380" formatCode="0.0">
                  <c:v>2.0210482717072069</c:v>
                </c:pt>
                <c:pt idx="381" formatCode="0.0">
                  <c:v>2.0163415919873482</c:v>
                </c:pt>
                <c:pt idx="382" formatCode="0.0">
                  <c:v>2.0069282325476316</c:v>
                </c:pt>
                <c:pt idx="383" formatCode="0.0">
                  <c:v>1.9419760524135854</c:v>
                </c:pt>
                <c:pt idx="384" formatCode="0.0">
                  <c:v>1.920325325702237</c:v>
                </c:pt>
                <c:pt idx="385" formatCode="0.0">
                  <c:v>1.9711574666767087</c:v>
                </c:pt>
                <c:pt idx="386" formatCode="0.0">
                  <c:v>2.0285789592589798</c:v>
                </c:pt>
                <c:pt idx="387" formatCode="0.0">
                  <c:v>1.9617441072369908</c:v>
                </c:pt>
                <c:pt idx="388" formatCode="0.0">
                  <c:v>1.9852775058362835</c:v>
                </c:pt>
                <c:pt idx="389" formatCode="0.0">
                  <c:v>1.8836132238873411</c:v>
                </c:pt>
                <c:pt idx="390" formatCode="0.0">
                  <c:v>1.8158370359213798</c:v>
                </c:pt>
                <c:pt idx="391" formatCode="0.0">
                  <c:v>1.7875969576022288</c:v>
                </c:pt>
                <c:pt idx="392" formatCode="0.0">
                  <c:v>1.7047593945327211</c:v>
                </c:pt>
                <c:pt idx="393" formatCode="0.0">
                  <c:v>1.5447322840575346</c:v>
                </c:pt>
                <c:pt idx="394" formatCode="0.0">
                  <c:v>1.6285111830710144</c:v>
                </c:pt>
                <c:pt idx="395" formatCode="0.0">
                  <c:v>1.5682656826568266</c:v>
                </c:pt>
                <c:pt idx="396" formatCode="0.0">
                  <c:v>1.6981700429249191</c:v>
                </c:pt>
                <c:pt idx="397" formatCode="0.0">
                  <c:v>1.8177197078093228</c:v>
                </c:pt>
                <c:pt idx="398" formatCode="0.0">
                  <c:v>1.869493184727766</c:v>
                </c:pt>
                <c:pt idx="399" formatCode="0.0">
                  <c:v>1.9928081933880566</c:v>
                </c:pt>
                <c:pt idx="400" formatCode="0.0">
                  <c:v>2.1490699600873566</c:v>
                </c:pt>
                <c:pt idx="401" formatCode="0.0">
                  <c:v>2.0587017094660749</c:v>
                </c:pt>
                <c:pt idx="402" formatCode="0.0">
                  <c:v>2.1255365614880644</c:v>
                </c:pt>
                <c:pt idx="403" formatCode="0.0">
                  <c:v>2.1038858347767153</c:v>
                </c:pt>
                <c:pt idx="404" formatCode="0.0">
                  <c:v>2.108592514496574</c:v>
                </c:pt>
                <c:pt idx="405" formatCode="0.0">
                  <c:v>2.1622486633029596</c:v>
                </c:pt>
                <c:pt idx="406" formatCode="0.0">
                  <c:v>2.1358912568717536</c:v>
                </c:pt>
                <c:pt idx="407" formatCode="0.0">
                  <c:v>2.1622486633029592</c:v>
                </c:pt>
                <c:pt idx="408" formatCode="0.0">
                  <c:v>2.2290835153249491</c:v>
                </c:pt>
                <c:pt idx="409" formatCode="0.0">
                  <c:v>2.1641313351909037</c:v>
                </c:pt>
                <c:pt idx="410" formatCode="0.0">
                  <c:v>2.1584833195270732</c:v>
                </c:pt>
                <c:pt idx="411" formatCode="0.0">
                  <c:v>2.1547179757511867</c:v>
                </c:pt>
                <c:pt idx="412" formatCode="0.0">
                  <c:v>2.1876647337901951</c:v>
                </c:pt>
                <c:pt idx="413" formatCode="0.0">
                  <c:v>2.1631899992469319</c:v>
                </c:pt>
                <c:pt idx="414" formatCode="0.0">
                  <c:v>2.1067098426086308</c:v>
                </c:pt>
                <c:pt idx="415" formatCode="0.0">
                  <c:v>1.9683334588447927</c:v>
                </c:pt>
                <c:pt idx="416" formatCode="0.0">
                  <c:v>2.150011296031328</c:v>
                </c:pt>
                <c:pt idx="417" formatCode="0.0">
                  <c:v>2.2705022968597035</c:v>
                </c:pt>
                <c:pt idx="418" formatCode="0.0">
                  <c:v>2.3025077189547405</c:v>
                </c:pt>
                <c:pt idx="419" formatCode="0.0">
                  <c:v>2.3458091723774386</c:v>
                </c:pt>
                <c:pt idx="420" formatCode="0.0">
                  <c:v>2.554785751939153</c:v>
                </c:pt>
                <c:pt idx="421" formatCode="0.0">
                  <c:v>2.7976504254838463</c:v>
                </c:pt>
                <c:pt idx="422" formatCode="0.0">
                  <c:v>3.1826568265682655</c:v>
                </c:pt>
                <c:pt idx="423" formatCode="0.0">
                  <c:v>3.3775133669704052</c:v>
                </c:pt>
                <c:pt idx="424" formatCode="0.0">
                  <c:v>3.5507191806611944</c:v>
                </c:pt>
                <c:pt idx="425" formatCode="0.0">
                  <c:v>3.758754424278937</c:v>
                </c:pt>
                <c:pt idx="426" formatCode="0.0">
                  <c:v>3.8387679795165295</c:v>
                </c:pt>
                <c:pt idx="427" formatCode="0.0">
                  <c:v>3.9658483319527069</c:v>
                </c:pt>
                <c:pt idx="428" formatCode="0.0">
                  <c:v>4.3470893892612397</c:v>
                </c:pt>
                <c:pt idx="429" formatCode="0.0">
                  <c:v>4.9118909556442514</c:v>
                </c:pt>
                <c:pt idx="430" formatCode="0.0">
                  <c:v>5.3439641539272529</c:v>
                </c:pt>
                <c:pt idx="431" formatCode="0.0">
                  <c:v>5.6828450937570603</c:v>
                </c:pt>
                <c:pt idx="432" formatCode="0.0">
                  <c:v>5.9097070562542378</c:v>
                </c:pt>
                <c:pt idx="433" formatCode="0.0">
                  <c:v>6.2165825739890055</c:v>
                </c:pt>
                <c:pt idx="434" formatCode="0.0">
                  <c:v>6.7719707809323006</c:v>
                </c:pt>
                <c:pt idx="435" formatCode="0.0">
                  <c:v>7.1183824083138791</c:v>
                </c:pt>
                <c:pt idx="436" formatCode="0.0">
                  <c:v>7.3358310113713383</c:v>
                </c:pt>
                <c:pt idx="437" formatCode="0.0">
                  <c:v>7.5673996535883736</c:v>
                </c:pt>
                <c:pt idx="438" formatCode="0.0">
                  <c:v>8.3967166202274264</c:v>
                </c:pt>
                <c:pt idx="439" formatCode="0.0">
                  <c:v>8.7064161457941118</c:v>
                </c:pt>
                <c:pt idx="440" formatCode="0.0">
                  <c:v>8.9709315460501529</c:v>
                </c:pt>
                <c:pt idx="441" formatCode="0.0">
                  <c:v>9.2335642744182547</c:v>
                </c:pt>
                <c:pt idx="442" formatCode="0.0">
                  <c:v>9.8783793960388611</c:v>
                </c:pt>
                <c:pt idx="443" formatCode="0.0">
                  <c:v>10.34151668047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A96-4795-8581-791AAA8989B0}"/>
            </c:ext>
          </c:extLst>
        </c:ser>
        <c:ser>
          <c:idx val="5"/>
          <c:order val="2"/>
          <c:tx>
            <c:v>Limpopo</c:v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U$5:$CU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2.3877175807645481E-3</c:v>
                </c:pt>
                <c:pt idx="7" formatCode="0.0">
                  <c:v>2.3877175807645481E-3</c:v>
                </c:pt>
                <c:pt idx="8" formatCode="0.0">
                  <c:v>2.3877175807645481E-3</c:v>
                </c:pt>
                <c:pt idx="9" formatCode="0.0">
                  <c:v>2.3877175807645481E-3</c:v>
                </c:pt>
                <c:pt idx="10" formatCode="0.0">
                  <c:v>2.3877175807645481E-3</c:v>
                </c:pt>
                <c:pt idx="11" formatCode="0.0">
                  <c:v>2.3877175807645481E-3</c:v>
                </c:pt>
                <c:pt idx="12" formatCode="0.0">
                  <c:v>4.7754351615290954E-3</c:v>
                </c:pt>
                <c:pt idx="13" formatCode="0.0">
                  <c:v>7.1631527422936422E-3</c:v>
                </c:pt>
                <c:pt idx="14" formatCode="0.0">
                  <c:v>7.1631527422936422E-3</c:v>
                </c:pt>
                <c:pt idx="15" formatCode="0.0">
                  <c:v>7.1631527422936422E-3</c:v>
                </c:pt>
                <c:pt idx="16" formatCode="0.0">
                  <c:v>1.1938587903822738E-2</c:v>
                </c:pt>
                <c:pt idx="17" formatCode="0.0">
                  <c:v>1.1938587903822738E-2</c:v>
                </c:pt>
                <c:pt idx="18" formatCode="0.0">
                  <c:v>2.3877175807645475E-2</c:v>
                </c:pt>
                <c:pt idx="19" formatCode="0.0">
                  <c:v>2.3877175807645475E-2</c:v>
                </c:pt>
                <c:pt idx="20" formatCode="0.0">
                  <c:v>1.6714023065351833E-2</c:v>
                </c:pt>
                <c:pt idx="21" formatCode="0.0">
                  <c:v>2.3877175807645475E-2</c:v>
                </c:pt>
                <c:pt idx="22" formatCode="0.0">
                  <c:v>2.3877175807645475E-2</c:v>
                </c:pt>
                <c:pt idx="23" formatCode="0.0">
                  <c:v>2.3877175807645475E-2</c:v>
                </c:pt>
                <c:pt idx="24" formatCode="0.0">
                  <c:v>2.3877175807645475E-2</c:v>
                </c:pt>
                <c:pt idx="25" formatCode="0.0">
                  <c:v>1.6714023065351833E-2</c:v>
                </c:pt>
                <c:pt idx="26" formatCode="0.0">
                  <c:v>1.6714023065351833E-2</c:v>
                </c:pt>
                <c:pt idx="27" formatCode="0.0">
                  <c:v>1.9101740646116385E-2</c:v>
                </c:pt>
                <c:pt idx="28" formatCode="0.0">
                  <c:v>-3.3428046130703666E-2</c:v>
                </c:pt>
                <c:pt idx="29" formatCode="0.0">
                  <c:v>1.6714023065351833E-2</c:v>
                </c:pt>
                <c:pt idx="30" formatCode="0.0">
                  <c:v>1.432630548458729E-2</c:v>
                </c:pt>
                <c:pt idx="31" formatCode="0.0">
                  <c:v>1.9101740646116389E-2</c:v>
                </c:pt>
                <c:pt idx="32" formatCode="0.0">
                  <c:v>1.1938587903822732E-2</c:v>
                </c:pt>
                <c:pt idx="33" formatCode="0.0">
                  <c:v>9.5508703230581891E-3</c:v>
                </c:pt>
                <c:pt idx="34" formatCode="0.0">
                  <c:v>9.5508703230581891E-3</c:v>
                </c:pt>
                <c:pt idx="35" formatCode="0.0">
                  <c:v>5.7305221938349173E-2</c:v>
                </c:pt>
                <c:pt idx="36" formatCode="0.0">
                  <c:v>9.5508703230581891E-3</c:v>
                </c:pt>
                <c:pt idx="37" formatCode="0.0">
                  <c:v>9.5508703230581891E-3</c:v>
                </c:pt>
                <c:pt idx="38" formatCode="0.0">
                  <c:v>4.7754351615290954E-3</c:v>
                </c:pt>
                <c:pt idx="39" formatCode="0.0">
                  <c:v>7.1631527422936422E-3</c:v>
                </c:pt>
                <c:pt idx="40" formatCode="0.0">
                  <c:v>9.5508703230581891E-3</c:v>
                </c:pt>
                <c:pt idx="41" formatCode="0.0">
                  <c:v>9.5508703230581891E-3</c:v>
                </c:pt>
                <c:pt idx="42" formatCode="0.0">
                  <c:v>7.1631527422936422E-3</c:v>
                </c:pt>
                <c:pt idx="43" formatCode="0.0">
                  <c:v>4.7754351615290954E-3</c:v>
                </c:pt>
                <c:pt idx="44" formatCode="0.0">
                  <c:v>2.3877175807645481E-3</c:v>
                </c:pt>
                <c:pt idx="45" formatCode="0.0">
                  <c:v>7.1631527422936422E-3</c:v>
                </c:pt>
                <c:pt idx="46" formatCode="0.0">
                  <c:v>9.5508703230581891E-3</c:v>
                </c:pt>
                <c:pt idx="47" formatCode="0.0">
                  <c:v>9.5508703230581891E-3</c:v>
                </c:pt>
                <c:pt idx="48" formatCode="0.0">
                  <c:v>9.5508703230581891E-3</c:v>
                </c:pt>
                <c:pt idx="49" formatCode="0.0">
                  <c:v>9.5508703230581891E-3</c:v>
                </c:pt>
                <c:pt idx="50" formatCode="0.0">
                  <c:v>9.5508703230581891E-3</c:v>
                </c:pt>
                <c:pt idx="51" formatCode="0.0">
                  <c:v>1.1938587903822738E-2</c:v>
                </c:pt>
                <c:pt idx="52" formatCode="0.0">
                  <c:v>1.1938587903822738E-2</c:v>
                </c:pt>
                <c:pt idx="53" formatCode="0.0">
                  <c:v>1.4326305484587284E-2</c:v>
                </c:pt>
                <c:pt idx="54" formatCode="0.0">
                  <c:v>1.4326305484587284E-2</c:v>
                </c:pt>
                <c:pt idx="55" formatCode="0.0">
                  <c:v>1.9101740646116385E-2</c:v>
                </c:pt>
                <c:pt idx="56" formatCode="0.0">
                  <c:v>2.148945822688093E-2</c:v>
                </c:pt>
                <c:pt idx="57" formatCode="0.0">
                  <c:v>2.148945822688093E-2</c:v>
                </c:pt>
                <c:pt idx="58" formatCode="0.0">
                  <c:v>2.148945822688093E-2</c:v>
                </c:pt>
                <c:pt idx="59" formatCode="0.0">
                  <c:v>2.148945822688093E-2</c:v>
                </c:pt>
                <c:pt idx="60" formatCode="0.0">
                  <c:v>3.5815763711468211E-2</c:v>
                </c:pt>
                <c:pt idx="61" formatCode="0.0">
                  <c:v>4.0591198872997301E-2</c:v>
                </c:pt>
                <c:pt idx="62" formatCode="0.0">
                  <c:v>3.5815763711468211E-2</c:v>
                </c:pt>
                <c:pt idx="63" formatCode="0.0">
                  <c:v>3.3428046130703659E-2</c:v>
                </c:pt>
                <c:pt idx="64" formatCode="0.0">
                  <c:v>3.3428046130703659E-2</c:v>
                </c:pt>
                <c:pt idx="65" formatCode="0.0">
                  <c:v>3.3428046130703659E-2</c:v>
                </c:pt>
                <c:pt idx="66" formatCode="0.0">
                  <c:v>3.3428046130703659E-2</c:v>
                </c:pt>
                <c:pt idx="67" formatCode="0.0">
                  <c:v>1.9101740646116385E-2</c:v>
                </c:pt>
                <c:pt idx="68" formatCode="0.0">
                  <c:v>5.4917504357584593E-2</c:v>
                </c:pt>
                <c:pt idx="69" formatCode="0.0">
                  <c:v>8.1182397745994603E-2</c:v>
                </c:pt>
                <c:pt idx="70" formatCode="0.0">
                  <c:v>9.5508703230581887E-2</c:v>
                </c:pt>
                <c:pt idx="71" formatCode="0.0">
                  <c:v>9.3120985649817342E-2</c:v>
                </c:pt>
                <c:pt idx="72" formatCode="0.0">
                  <c:v>0.1575893603304602</c:v>
                </c:pt>
                <c:pt idx="73" formatCode="0.0">
                  <c:v>0.15042620758816652</c:v>
                </c:pt>
                <c:pt idx="74" formatCode="0.0">
                  <c:v>0.15520164274969558</c:v>
                </c:pt>
                <c:pt idx="75" formatCode="0.0">
                  <c:v>0.12177359661899193</c:v>
                </c:pt>
                <c:pt idx="76" formatCode="0.0">
                  <c:v>0.10505957355364008</c:v>
                </c:pt>
                <c:pt idx="77" formatCode="0.0">
                  <c:v>9.0733268069052811E-2</c:v>
                </c:pt>
                <c:pt idx="78" formatCode="0.0">
                  <c:v>0.11461044387669829</c:v>
                </c:pt>
                <c:pt idx="79" formatCode="0.0">
                  <c:v>5.4917504357584593E-2</c:v>
                </c:pt>
                <c:pt idx="80" formatCode="0.0">
                  <c:v>0.11938587903822738</c:v>
                </c:pt>
                <c:pt idx="81" formatCode="0.0">
                  <c:v>0.11699816145746282</c:v>
                </c:pt>
                <c:pt idx="82" formatCode="0.0">
                  <c:v>0.11699816145746282</c:v>
                </c:pt>
                <c:pt idx="83" formatCode="0.0">
                  <c:v>0.14326305484587287</c:v>
                </c:pt>
                <c:pt idx="84" formatCode="0.0">
                  <c:v>0.14565077242663738</c:v>
                </c:pt>
                <c:pt idx="85" formatCode="0.0">
                  <c:v>0.14087533726510829</c:v>
                </c:pt>
                <c:pt idx="86" formatCode="0.0">
                  <c:v>0.14803849000740196</c:v>
                </c:pt>
                <c:pt idx="87" formatCode="0.0">
                  <c:v>0.10744729113440463</c:v>
                </c:pt>
                <c:pt idx="88" formatCode="0.0">
                  <c:v>0.10267185597287555</c:v>
                </c:pt>
                <c:pt idx="89" formatCode="0.0">
                  <c:v>0.11938587903822738</c:v>
                </c:pt>
                <c:pt idx="90" formatCode="0.0">
                  <c:v>0.12416131419975643</c:v>
                </c:pt>
                <c:pt idx="91" formatCode="0.0">
                  <c:v>0.14326305484587287</c:v>
                </c:pt>
                <c:pt idx="92" formatCode="0.0">
                  <c:v>0.1360999021035792</c:v>
                </c:pt>
                <c:pt idx="93" formatCode="0.0">
                  <c:v>0.14565077242663738</c:v>
                </c:pt>
                <c:pt idx="94" formatCode="0.0">
                  <c:v>0.17430338339581194</c:v>
                </c:pt>
                <c:pt idx="95" formatCode="0.0">
                  <c:v>0.2220577350111029</c:v>
                </c:pt>
                <c:pt idx="96" formatCode="0.0">
                  <c:v>0.23638404049569023</c:v>
                </c:pt>
                <c:pt idx="97" formatCode="0.0">
                  <c:v>0.28175067453021657</c:v>
                </c:pt>
                <c:pt idx="98" formatCode="0.0">
                  <c:v>0.32950502614550758</c:v>
                </c:pt>
                <c:pt idx="99" formatCode="0.0">
                  <c:v>0.3796470953415631</c:v>
                </c:pt>
                <c:pt idx="100" formatCode="0.0">
                  <c:v>0.53007330292972954</c:v>
                </c:pt>
                <c:pt idx="101" formatCode="0.0">
                  <c:v>0.51335927986437768</c:v>
                </c:pt>
                <c:pt idx="102" formatCode="0.0">
                  <c:v>0.50619612712208384</c:v>
                </c:pt>
                <c:pt idx="103" formatCode="0.0">
                  <c:v>0.56827678422196215</c:v>
                </c:pt>
                <c:pt idx="104" formatCode="0.0">
                  <c:v>0.52529786776820031</c:v>
                </c:pt>
                <c:pt idx="105" formatCode="0.0">
                  <c:v>0.55156276115661018</c:v>
                </c:pt>
                <c:pt idx="106" formatCode="0.0">
                  <c:v>0.60648026551419509</c:v>
                </c:pt>
                <c:pt idx="107" formatCode="0.0">
                  <c:v>0.57543993696425588</c:v>
                </c:pt>
                <c:pt idx="108" formatCode="0.0">
                  <c:v>0.70437668632554162</c:v>
                </c:pt>
                <c:pt idx="109" formatCode="0.0">
                  <c:v>0.81421169504071067</c:v>
                </c:pt>
                <c:pt idx="110" formatCode="0.0">
                  <c:v>0.88584322246364711</c:v>
                </c:pt>
                <c:pt idx="111" formatCode="0.0">
                  <c:v>1.0243308421479904</c:v>
                </c:pt>
                <c:pt idx="112" formatCode="0.0">
                  <c:v>1.2153482486091542</c:v>
                </c:pt>
                <c:pt idx="113" formatCode="0.0">
                  <c:v>1.205797378286096</c:v>
                </c:pt>
                <c:pt idx="114" formatCode="0.0">
                  <c:v>1.3275709749050886</c:v>
                </c:pt>
                <c:pt idx="115" formatCode="0.0">
                  <c:v>1.4565077242663742</c:v>
                </c:pt>
                <c:pt idx="116" formatCode="0.0">
                  <c:v>1.6642391537928898</c:v>
                </c:pt>
                <c:pt idx="117" formatCode="0.0">
                  <c:v>1.8409302547694657</c:v>
                </c:pt>
                <c:pt idx="118" formatCode="0.0">
                  <c:v>1.8480934075117597</c:v>
                </c:pt>
                <c:pt idx="119" formatCode="0.0">
                  <c:v>1.9555406986461639</c:v>
                </c:pt>
                <c:pt idx="120" formatCode="0.0">
                  <c:v>2.2826580072109066</c:v>
                </c:pt>
                <c:pt idx="121" formatCode="0.0">
                  <c:v>2.6145507509371795</c:v>
                </c:pt>
                <c:pt idx="122" formatCode="0.0">
                  <c:v>2.7960172870752844</c:v>
                </c:pt>
                <c:pt idx="123" formatCode="0.0">
                  <c:v>3.0467276330555615</c:v>
                </c:pt>
                <c:pt idx="124" formatCode="0.0">
                  <c:v>3.1231345956400287</c:v>
                </c:pt>
                <c:pt idx="125" formatCode="0.0">
                  <c:v>3.6555956161505212</c:v>
                </c:pt>
                <c:pt idx="126" formatCode="0.0">
                  <c:v>3.6006781117929378</c:v>
                </c:pt>
                <c:pt idx="127" formatCode="0.0">
                  <c:v>3.6150044172775249</c:v>
                </c:pt>
                <c:pt idx="128" formatCode="0.0">
                  <c:v>3.5863518063083499</c:v>
                </c:pt>
                <c:pt idx="129" formatCode="0.0">
                  <c:v>3.774981495188749</c:v>
                </c:pt>
                <c:pt idx="130" formatCode="0.0">
                  <c:v>3.9516725961653254</c:v>
                </c:pt>
                <c:pt idx="131" formatCode="0.0">
                  <c:v>4.5700914495833445</c:v>
                </c:pt>
                <c:pt idx="132" formatCode="0.0">
                  <c:v>4.3934003486067654</c:v>
                </c:pt>
                <c:pt idx="133" formatCode="0.0">
                  <c:v>4.5295002507103455</c:v>
                </c:pt>
                <c:pt idx="134" formatCode="0.0">
                  <c:v>4.9354122394403186</c:v>
                </c:pt>
                <c:pt idx="135" formatCode="0.0">
                  <c:v>5.2171629139705358</c:v>
                </c:pt>
                <c:pt idx="136" formatCode="0.0">
                  <c:v>5.334161075427998</c:v>
                </c:pt>
                <c:pt idx="137" formatCode="0.0">
                  <c:v>5.3532628160741158</c:v>
                </c:pt>
                <c:pt idx="138" formatCode="0.0">
                  <c:v>5.1288173634822467</c:v>
                </c:pt>
                <c:pt idx="139" formatCode="0.0">
                  <c:v>5.0237577899286086</c:v>
                </c:pt>
                <c:pt idx="140" formatCode="0.0">
                  <c:v>5.1264296459014815</c:v>
                </c:pt>
                <c:pt idx="141" formatCode="0.0">
                  <c:v>5.0810630118669575</c:v>
                </c:pt>
                <c:pt idx="142" formatCode="0.0">
                  <c:v>5.1861225854205975</c:v>
                </c:pt>
                <c:pt idx="143" formatCode="0.0">
                  <c:v>5.1837348678398305</c:v>
                </c:pt>
                <c:pt idx="144" formatCode="0.0">
                  <c:v>5.1264296459014824</c:v>
                </c:pt>
                <c:pt idx="145" formatCode="0.0">
                  <c:v>4.6990281989446308</c:v>
                </c:pt>
                <c:pt idx="146" formatCode="0.0">
                  <c:v>4.6417229770062791</c:v>
                </c:pt>
                <c:pt idx="147" formatCode="0.0">
                  <c:v>4.5056230749027018</c:v>
                </c:pt>
                <c:pt idx="148" formatCode="0.0">
                  <c:v>4.2620758816647175</c:v>
                </c:pt>
                <c:pt idx="149" formatCode="0.0">
                  <c:v>3.8991428093885059</c:v>
                </c:pt>
                <c:pt idx="150" formatCode="0.0">
                  <c:v>3.7558797545426335</c:v>
                </c:pt>
                <c:pt idx="151" formatCode="0.0">
                  <c:v>3.5003939734008265</c:v>
                </c:pt>
                <c:pt idx="152" formatCode="0.0">
                  <c:v>3.5863518063083508</c:v>
                </c:pt>
                <c:pt idx="153" formatCode="0.0">
                  <c:v>3.5982903942121722</c:v>
                </c:pt>
                <c:pt idx="154" formatCode="0.0">
                  <c:v>3.3857835295241276</c:v>
                </c:pt>
                <c:pt idx="155" formatCode="0.0">
                  <c:v>2.9846469759556835</c:v>
                </c:pt>
                <c:pt idx="156" formatCode="0.0">
                  <c:v>2.7363243475561716</c:v>
                </c:pt>
                <c:pt idx="157" formatCode="0.0">
                  <c:v>2.5691841169026532</c:v>
                </c:pt>
                <c:pt idx="158" formatCode="0.0">
                  <c:v>2.6264893388410018</c:v>
                </c:pt>
                <c:pt idx="159" formatCode="0.0">
                  <c:v>2.4521859554451897</c:v>
                </c:pt>
                <c:pt idx="160" formatCode="0.0">
                  <c:v>2.4975525894797164</c:v>
                </c:pt>
                <c:pt idx="161" formatCode="0.0">
                  <c:v>2.4020438862491345</c:v>
                </c:pt>
                <c:pt idx="162" formatCode="0.0">
                  <c:v>2.5524700938373006</c:v>
                </c:pt>
                <c:pt idx="163" formatCode="0.0">
                  <c:v>2.5476946586757729</c:v>
                </c:pt>
                <c:pt idx="164" formatCode="0.0">
                  <c:v>2.5476946586757729</c:v>
                </c:pt>
                <c:pt idx="165" formatCode="0.0">
                  <c:v>2.2540053962417326</c:v>
                </c:pt>
                <c:pt idx="166" formatCode="0.0">
                  <c:v>2.363840404956902</c:v>
                </c:pt>
                <c:pt idx="167" formatCode="0.0">
                  <c:v>2.1155177765573896</c:v>
                </c:pt>
                <c:pt idx="168" formatCode="0.0">
                  <c:v>2.1250686468804472</c:v>
                </c:pt>
                <c:pt idx="169" formatCode="0.0">
                  <c:v>2.0319476612306291</c:v>
                </c:pt>
                <c:pt idx="170" formatCode="0.0">
                  <c:v>1.8648074305771114</c:v>
                </c:pt>
                <c:pt idx="171" formatCode="0.0">
                  <c:v>1.6212602373391272</c:v>
                </c:pt>
                <c:pt idx="172" formatCode="0.0">
                  <c:v>1.5520164274969559</c:v>
                </c:pt>
                <c:pt idx="173" formatCode="0.0">
                  <c:v>1.4421814187817865</c:v>
                </c:pt>
                <c:pt idx="174" formatCode="0.0">
                  <c:v>1.4851603352355482</c:v>
                </c:pt>
                <c:pt idx="175" formatCode="0.0">
                  <c:v>1.4278551132971993</c:v>
                </c:pt>
                <c:pt idx="176" formatCode="0.0">
                  <c:v>1.444569136362551</c:v>
                </c:pt>
                <c:pt idx="177" formatCode="0.0">
                  <c:v>1.4827726176547833</c:v>
                </c:pt>
                <c:pt idx="178" formatCode="0.0">
                  <c:v>1.5185883813662522</c:v>
                </c:pt>
                <c:pt idx="179" formatCode="0.0">
                  <c:v>1.4947112055586063</c:v>
                </c:pt>
                <c:pt idx="180" formatCode="0.0">
                  <c:v>1.3538358682934979</c:v>
                </c:pt>
                <c:pt idx="181" formatCode="0.0">
                  <c:v>1.2034096607053315</c:v>
                </c:pt>
                <c:pt idx="182" formatCode="0.0">
                  <c:v>1.1843079200592157</c:v>
                </c:pt>
                <c:pt idx="183" formatCode="0.0">
                  <c:v>1.1938587903822737</c:v>
                </c:pt>
                <c:pt idx="184" formatCode="0.0">
                  <c:v>1.1723693321553925</c:v>
                </c:pt>
                <c:pt idx="185" formatCode="0.0">
                  <c:v>1.1055132398939855</c:v>
                </c:pt>
                <c:pt idx="186" formatCode="0.0">
                  <c:v>1.0696974761825173</c:v>
                </c:pt>
                <c:pt idx="187" formatCode="0.0">
                  <c:v>1.0720851937632823</c:v>
                </c:pt>
                <c:pt idx="188" formatCode="0.0">
                  <c:v>1.0673097586017526</c:v>
                </c:pt>
                <c:pt idx="189" formatCode="0.0">
                  <c:v>1.112676392636279</c:v>
                </c:pt>
                <c:pt idx="190" formatCode="0.0">
                  <c:v>1.1079009574747498</c:v>
                </c:pt>
                <c:pt idx="191" formatCode="0.0">
                  <c:v>1.1102886750555143</c:v>
                </c:pt>
                <c:pt idx="192" formatCode="0.0">
                  <c:v>1.1890833552207447</c:v>
                </c:pt>
                <c:pt idx="193" formatCode="0.0">
                  <c:v>1.3013060815166779</c:v>
                </c:pt>
                <c:pt idx="194" formatCode="0.0">
                  <c:v>1.2416131419975647</c:v>
                </c:pt>
                <c:pt idx="195" formatCode="0.0">
                  <c:v>1.2057973782860962</c:v>
                </c:pt>
                <c:pt idx="196" formatCode="0.0">
                  <c:v>1.2272868365129772</c:v>
                </c:pt>
                <c:pt idx="197" formatCode="0.0">
                  <c:v>1.2941429287743849</c:v>
                </c:pt>
                <c:pt idx="198" formatCode="0.0">
                  <c:v>1.3347341276473819</c:v>
                </c:pt>
                <c:pt idx="199" formatCode="0.0">
                  <c:v>1.3896516320049659</c:v>
                </c:pt>
                <c:pt idx="200" formatCode="0.0">
                  <c:v>1.2726534705475039</c:v>
                </c:pt>
                <c:pt idx="201" formatCode="0.0">
                  <c:v>1.3538358682934981</c:v>
                </c:pt>
                <c:pt idx="202" formatCode="0.0">
                  <c:v>1.4039779374895538</c:v>
                </c:pt>
                <c:pt idx="203" formatCode="0.0">
                  <c:v>1.3514481507127341</c:v>
                </c:pt>
                <c:pt idx="204" formatCode="0.0">
                  <c:v>1.2440008595783292</c:v>
                </c:pt>
                <c:pt idx="205" formatCode="0.0">
                  <c:v>1.2368377068360359</c:v>
                </c:pt>
                <c:pt idx="206" formatCode="0.0">
                  <c:v>1.201021943124567</c:v>
                </c:pt>
                <c:pt idx="207" formatCode="0.0">
                  <c:v>1.2774289057090327</c:v>
                </c:pt>
                <c:pt idx="208" formatCode="0.0">
                  <c:v>1.2726534705475039</c:v>
                </c:pt>
                <c:pt idx="209" formatCode="0.0">
                  <c:v>1.2607148826436807</c:v>
                </c:pt>
                <c:pt idx="210" formatCode="0.0">
                  <c:v>1.2822043408705619</c:v>
                </c:pt>
                <c:pt idx="211" formatCode="0.0">
                  <c:v>1.248776294739858</c:v>
                </c:pt>
                <c:pt idx="212" formatCode="0.0">
                  <c:v>1.2726534705475039</c:v>
                </c:pt>
                <c:pt idx="213" formatCode="0.0">
                  <c:v>1.1723693321553925</c:v>
                </c:pt>
                <c:pt idx="214" formatCode="0.0">
                  <c:v>1.2105728134476255</c:v>
                </c:pt>
                <c:pt idx="215" formatCode="0.0">
                  <c:v>1.2487762947398582</c:v>
                </c:pt>
                <c:pt idx="216" formatCode="0.0">
                  <c:v>1.2153482486091542</c:v>
                </c:pt>
                <c:pt idx="217" formatCode="0.0">
                  <c:v>1.203409660705332</c:v>
                </c:pt>
                <c:pt idx="218" formatCode="0.0">
                  <c:v>1.2463885771590937</c:v>
                </c:pt>
                <c:pt idx="219" formatCode="0.0">
                  <c:v>1.1771447673169217</c:v>
                </c:pt>
                <c:pt idx="220" formatCode="0.0">
                  <c:v>1.1699816145746278</c:v>
                </c:pt>
                <c:pt idx="221" formatCode="0.0">
                  <c:v>1.1150641102170431</c:v>
                </c:pt>
                <c:pt idx="222" formatCode="0.0">
                  <c:v>1.0768606289248106</c:v>
                </c:pt>
                <c:pt idx="223" formatCode="0.0">
                  <c:v>1.201021943124567</c:v>
                </c:pt>
                <c:pt idx="224" formatCode="0.0">
                  <c:v>1.1795324848976863</c:v>
                </c:pt>
                <c:pt idx="225" formatCode="0.0">
                  <c:v>1.155655309090041</c:v>
                </c:pt>
                <c:pt idx="226" formatCode="0.0">
                  <c:v>1.124614980540102</c:v>
                </c:pt>
                <c:pt idx="227" formatCode="0.0">
                  <c:v>1.13416585086316</c:v>
                </c:pt>
                <c:pt idx="228" formatCode="0.0">
                  <c:v>1.1293904157016308</c:v>
                </c:pt>
                <c:pt idx="229" formatCode="0.0">
                  <c:v>1.0458203003748716</c:v>
                </c:pt>
                <c:pt idx="230" formatCode="0.0">
                  <c:v>0.9192712685943506</c:v>
                </c:pt>
                <c:pt idx="231" formatCode="0.0">
                  <c:v>0.95269931472505442</c:v>
                </c:pt>
                <c:pt idx="232" formatCode="0.0">
                  <c:v>0.99806594875958077</c:v>
                </c:pt>
                <c:pt idx="233" formatCode="0.0">
                  <c:v>1.0052291015018744</c:v>
                </c:pt>
                <c:pt idx="234" formatCode="0.0">
                  <c:v>0.95269931472505431</c:v>
                </c:pt>
                <c:pt idx="235" formatCode="0.0">
                  <c:v>0.97896420811346441</c:v>
                </c:pt>
                <c:pt idx="236" formatCode="0.0">
                  <c:v>0.97657649053269968</c:v>
                </c:pt>
                <c:pt idx="237" formatCode="0.0">
                  <c:v>0.99329051359805187</c:v>
                </c:pt>
                <c:pt idx="238" formatCode="0.0">
                  <c:v>0.96463790262887728</c:v>
                </c:pt>
                <c:pt idx="239" formatCode="0.0">
                  <c:v>0.87151691697905964</c:v>
                </c:pt>
                <c:pt idx="240" formatCode="0.0">
                  <c:v>0.8237625653637688</c:v>
                </c:pt>
                <c:pt idx="241" formatCode="0.0">
                  <c:v>0.82615028294453352</c:v>
                </c:pt>
                <c:pt idx="242" formatCode="0.0">
                  <c:v>0.73780473245624534</c:v>
                </c:pt>
                <c:pt idx="243" formatCode="0.0">
                  <c:v>0.73064157971395161</c:v>
                </c:pt>
                <c:pt idx="244" formatCode="0.0">
                  <c:v>0.70437668632554151</c:v>
                </c:pt>
                <c:pt idx="245" formatCode="0.0">
                  <c:v>0.68527494567942504</c:v>
                </c:pt>
                <c:pt idx="246" formatCode="0.0">
                  <c:v>0.66139776987177967</c:v>
                </c:pt>
                <c:pt idx="247" formatCode="0.0">
                  <c:v>0.6661732050333089</c:v>
                </c:pt>
                <c:pt idx="248" formatCode="0.0">
                  <c:v>0.6351328764833698</c:v>
                </c:pt>
                <c:pt idx="249" formatCode="0.0">
                  <c:v>0.6637854874525444</c:v>
                </c:pt>
                <c:pt idx="250" formatCode="0.0">
                  <c:v>0.69243809842171877</c:v>
                </c:pt>
                <c:pt idx="251" formatCode="0.0">
                  <c:v>0.69243809842171866</c:v>
                </c:pt>
                <c:pt idx="252" formatCode="0.0">
                  <c:v>0.65662233471025044</c:v>
                </c:pt>
                <c:pt idx="253" formatCode="0.0">
                  <c:v>0.62080657099878245</c:v>
                </c:pt>
                <c:pt idx="254" formatCode="0.0">
                  <c:v>0.5730522193834916</c:v>
                </c:pt>
                <c:pt idx="255" formatCode="0.0">
                  <c:v>0.56827678422196215</c:v>
                </c:pt>
                <c:pt idx="256" formatCode="0.0">
                  <c:v>0.48231895131443869</c:v>
                </c:pt>
                <c:pt idx="257" formatCode="0.0">
                  <c:v>0.427401446956854</c:v>
                </c:pt>
                <c:pt idx="258" formatCode="0.0">
                  <c:v>0.41307514147226676</c:v>
                </c:pt>
                <c:pt idx="259" formatCode="0.0">
                  <c:v>0.42262601179532494</c:v>
                </c:pt>
                <c:pt idx="260" formatCode="0.0">
                  <c:v>0.38919796566462139</c:v>
                </c:pt>
                <c:pt idx="261" formatCode="0.0">
                  <c:v>0.41546285905303126</c:v>
                </c:pt>
                <c:pt idx="262" formatCode="0.0">
                  <c:v>0.41307514147226676</c:v>
                </c:pt>
                <c:pt idx="263" formatCode="0.0">
                  <c:v>0.4250137293760895</c:v>
                </c:pt>
                <c:pt idx="264" formatCode="0.0">
                  <c:v>0.41546285905303126</c:v>
                </c:pt>
                <c:pt idx="265" formatCode="0.0">
                  <c:v>0.42023829421456033</c:v>
                </c:pt>
                <c:pt idx="266" formatCode="0.0">
                  <c:v>0.48709438647596764</c:v>
                </c:pt>
                <c:pt idx="267" formatCode="0.0">
                  <c:v>0.59692939519113664</c:v>
                </c:pt>
                <c:pt idx="268" formatCode="0.0">
                  <c:v>0.58976624244884313</c:v>
                </c:pt>
                <c:pt idx="269" formatCode="0.0">
                  <c:v>0.580215372125785</c:v>
                </c:pt>
                <c:pt idx="270" formatCode="0.0">
                  <c:v>0.616031135837253</c:v>
                </c:pt>
                <c:pt idx="271" formatCode="0.0">
                  <c:v>0.62796972374107607</c:v>
                </c:pt>
                <c:pt idx="272" formatCode="0.0">
                  <c:v>0.6494591819679566</c:v>
                </c:pt>
                <c:pt idx="273" formatCode="0.0">
                  <c:v>0.61841885341801772</c:v>
                </c:pt>
                <c:pt idx="274" formatCode="0.0">
                  <c:v>0.59931711277190125</c:v>
                </c:pt>
                <c:pt idx="275" formatCode="0.0">
                  <c:v>0.70915212148707052</c:v>
                </c:pt>
                <c:pt idx="276" formatCode="0.0">
                  <c:v>0.99567823117881649</c:v>
                </c:pt>
                <c:pt idx="277" formatCode="0.0">
                  <c:v>0.96463790262887728</c:v>
                </c:pt>
                <c:pt idx="278" formatCode="0.0">
                  <c:v>1.1150641102170433</c:v>
                </c:pt>
                <c:pt idx="279" formatCode="0.0">
                  <c:v>1.1747570497361579</c:v>
                </c:pt>
                <c:pt idx="280" formatCode="0.0">
                  <c:v>1.248776294739858</c:v>
                </c:pt>
                <c:pt idx="281" formatCode="0.0">
                  <c:v>1.4827726176547835</c:v>
                </c:pt>
                <c:pt idx="282" formatCode="0.0">
                  <c:v>1.5878321912084239</c:v>
                </c:pt>
                <c:pt idx="283" formatCode="0.0">
                  <c:v>1.4111410902318473</c:v>
                </c:pt>
                <c:pt idx="284" formatCode="0.0">
                  <c:v>1.9459898283231061</c:v>
                </c:pt>
                <c:pt idx="285" formatCode="0.0">
                  <c:v>2.1895370215610903</c:v>
                </c:pt>
                <c:pt idx="286" formatCode="0.0">
                  <c:v>2.4020438862491345</c:v>
                </c:pt>
                <c:pt idx="287" formatCode="0.0">
                  <c:v>2.6575296673909419</c:v>
                </c:pt>
                <c:pt idx="288" formatCode="0.0">
                  <c:v>3.2043169933860227</c:v>
                </c:pt>
                <c:pt idx="289" formatCode="0.0">
                  <c:v>3.851388457773214</c:v>
                </c:pt>
                <c:pt idx="290" formatCode="0.0">
                  <c:v>5.2696927007473571</c:v>
                </c:pt>
                <c:pt idx="291" formatCode="0.0">
                  <c:v>5.6469520785081535</c:v>
                </c:pt>
                <c:pt idx="292" formatCode="0.0">
                  <c:v>5.9334781881999001</c:v>
                </c:pt>
                <c:pt idx="293" formatCode="0.0">
                  <c:v>6.0695780903034793</c:v>
                </c:pt>
                <c:pt idx="294" formatCode="0.0">
                  <c:v>6.7739547766290205</c:v>
                </c:pt>
                <c:pt idx="295" formatCode="0.0">
                  <c:v>7.647859411188846</c:v>
                </c:pt>
                <c:pt idx="296" formatCode="0.0">
                  <c:v>9.0184093025476972</c:v>
                </c:pt>
                <c:pt idx="297" formatCode="0.0">
                  <c:v>9.5437071703158942</c:v>
                </c:pt>
                <c:pt idx="298" formatCode="0.0">
                  <c:v>10.298225925837489</c:v>
                </c:pt>
                <c:pt idx="299" formatCode="0.0">
                  <c:v>11.422840906377596</c:v>
                </c:pt>
                <c:pt idx="300" formatCode="0.0">
                  <c:v>12.982020486616845</c:v>
                </c:pt>
                <c:pt idx="301" formatCode="0.0">
                  <c:v>14.109023184737708</c:v>
                </c:pt>
                <c:pt idx="302" formatCode="0.0">
                  <c:v>16.078890188868463</c:v>
                </c:pt>
                <c:pt idx="303" formatCode="0.0">
                  <c:v>17.709701296530643</c:v>
                </c:pt>
                <c:pt idx="304" formatCode="0.0">
                  <c:v>19.256942288866068</c:v>
                </c:pt>
                <c:pt idx="305" formatCode="0.0">
                  <c:v>21.747331725603495</c:v>
                </c:pt>
                <c:pt idx="306" formatCode="0.0">
                  <c:v>23.179962274062223</c:v>
                </c:pt>
                <c:pt idx="307" formatCode="0.0">
                  <c:v>25.178481889162146</c:v>
                </c:pt>
                <c:pt idx="308" formatCode="0.0">
                  <c:v>26.716172011174518</c:v>
                </c:pt>
                <c:pt idx="309" formatCode="0.0">
                  <c:v>26.281607411475367</c:v>
                </c:pt>
                <c:pt idx="310" formatCode="0.0">
                  <c:v>26.847496478116568</c:v>
                </c:pt>
                <c:pt idx="311" formatCode="0.0">
                  <c:v>26.09536544017573</c:v>
                </c:pt>
                <c:pt idx="312" formatCode="0.0">
                  <c:v>25.185645041904444</c:v>
                </c:pt>
                <c:pt idx="313" formatCode="0.0">
                  <c:v>23.90105298345312</c:v>
                </c:pt>
                <c:pt idx="314" formatCode="0.0">
                  <c:v>22.158019149494997</c:v>
                </c:pt>
                <c:pt idx="315" formatCode="0.0">
                  <c:v>20.434087056182992</c:v>
                </c:pt>
                <c:pt idx="316" formatCode="0.0">
                  <c:v>19.04443542417803</c:v>
                </c:pt>
                <c:pt idx="317" formatCode="0.0">
                  <c:v>18.02488001719157</c:v>
                </c:pt>
                <c:pt idx="318" formatCode="0.0">
                  <c:v>18.8104391012631</c:v>
                </c:pt>
                <c:pt idx="319" formatCode="0.0">
                  <c:v>18.101286979776027</c:v>
                </c:pt>
                <c:pt idx="320" formatCode="0.0">
                  <c:v>17.084119290370325</c:v>
                </c:pt>
                <c:pt idx="321" formatCode="0.0">
                  <c:v>15.522551992550323</c:v>
                </c:pt>
                <c:pt idx="322" formatCode="0.0">
                  <c:v>15.214536424631699</c:v>
                </c:pt>
                <c:pt idx="323" formatCode="0.0">
                  <c:v>14.889806833647723</c:v>
                </c:pt>
                <c:pt idx="324" formatCode="0.0">
                  <c:v>12.905613524032377</c:v>
                </c:pt>
                <c:pt idx="325" formatCode="0.0">
                  <c:v>10.565650294883124</c:v>
                </c:pt>
                <c:pt idx="326" formatCode="0.0">
                  <c:v>8.9181251641555797</c:v>
                </c:pt>
                <c:pt idx="327" formatCode="0.0">
                  <c:v>8.6411499247868981</c:v>
                </c:pt>
                <c:pt idx="328" formatCode="0.0">
                  <c:v>8.3976027315489166</c:v>
                </c:pt>
                <c:pt idx="329" formatCode="0.0">
                  <c:v>7.058093168740001</c:v>
                </c:pt>
                <c:pt idx="330" formatCode="0.0">
                  <c:v>6.0027219980420714</c:v>
                </c:pt>
                <c:pt idx="331" formatCode="0.0">
                  <c:v>5.4129557555932291</c:v>
                </c:pt>
                <c:pt idx="332" formatCode="0.0">
                  <c:v>4.7515579857214494</c:v>
                </c:pt>
                <c:pt idx="333" formatCode="0.0">
                  <c:v>4.1474654377880178</c:v>
                </c:pt>
                <c:pt idx="334" formatCode="0.0">
                  <c:v>4.0137532532652029</c:v>
                </c:pt>
                <c:pt idx="335" formatCode="0.0">
                  <c:v>3.8155726940617463</c:v>
                </c:pt>
                <c:pt idx="336" formatCode="0.0">
                  <c:v>3.6890236622812256</c:v>
                </c:pt>
                <c:pt idx="337" formatCode="0.0">
                  <c:v>3.6723096392158738</c:v>
                </c:pt>
                <c:pt idx="338" formatCode="0.0">
                  <c:v>3.1326854659630858</c:v>
                </c:pt>
                <c:pt idx="339" formatCode="0.0">
                  <c:v>2.9750961056326255</c:v>
                </c:pt>
                <c:pt idx="340" formatCode="0.0">
                  <c:v>2.9082400133712185</c:v>
                </c:pt>
                <c:pt idx="341" formatCode="0.0">
                  <c:v>2.576347269644947</c:v>
                </c:pt>
                <c:pt idx="342" formatCode="0.0">
                  <c:v>2.4306964972183089</c:v>
                </c:pt>
                <c:pt idx="343" formatCode="0.0">
                  <c:v>2.2540053962417326</c:v>
                </c:pt>
                <c:pt idx="344" formatCode="0.0">
                  <c:v>2.1943124567226193</c:v>
                </c:pt>
                <c:pt idx="345" formatCode="0.0">
                  <c:v>2.1489458226880922</c:v>
                </c:pt>
                <c:pt idx="346" formatCode="0.0">
                  <c:v>1.7955636207349395</c:v>
                </c:pt>
                <c:pt idx="347" formatCode="0.0">
                  <c:v>1.7621355746042362</c:v>
                </c:pt>
                <c:pt idx="348" formatCode="0.0">
                  <c:v>1.7239320933120028</c:v>
                </c:pt>
                <c:pt idx="349" formatCode="0.0">
                  <c:v>1.7239320933120028</c:v>
                </c:pt>
                <c:pt idx="350" formatCode="0.0">
                  <c:v>1.8385425371887019</c:v>
                </c:pt>
                <c:pt idx="351" formatCode="0.0">
                  <c:v>1.5926076263699531</c:v>
                </c:pt>
                <c:pt idx="352" formatCode="0.0">
                  <c:v>1.4588954418471383</c:v>
                </c:pt>
                <c:pt idx="353" formatCode="0.0">
                  <c:v>1.3896516320049659</c:v>
                </c:pt>
                <c:pt idx="354" formatCode="0.0">
                  <c:v>1.2893674936128556</c:v>
                </c:pt>
                <c:pt idx="355" formatCode="0.0">
                  <c:v>1.169981614574628</c:v>
                </c:pt>
                <c:pt idx="356" formatCode="0.0">
                  <c:v>1.0935746519901626</c:v>
                </c:pt>
                <c:pt idx="357" formatCode="0.0">
                  <c:v>0.9503115971442897</c:v>
                </c:pt>
                <c:pt idx="358" formatCode="0.0">
                  <c:v>0.931209856498174</c:v>
                </c:pt>
                <c:pt idx="359" formatCode="0.0">
                  <c:v>0.9813519256942288</c:v>
                </c:pt>
                <c:pt idx="360" formatCode="0.0">
                  <c:v>0.99090279601728692</c:v>
                </c:pt>
                <c:pt idx="361" formatCode="0.0">
                  <c:v>0.96225018504811255</c:v>
                </c:pt>
                <c:pt idx="362" formatCode="0.0">
                  <c:v>0.91210811585205687</c:v>
                </c:pt>
                <c:pt idx="363" formatCode="0.0">
                  <c:v>0.88345550488288249</c:v>
                </c:pt>
                <c:pt idx="364" formatCode="0.0">
                  <c:v>0.90255724552899874</c:v>
                </c:pt>
                <c:pt idx="365" formatCode="0.0">
                  <c:v>0.82376256536376868</c:v>
                </c:pt>
                <c:pt idx="366" formatCode="0.0">
                  <c:v>0.69960125116401251</c:v>
                </c:pt>
                <c:pt idx="367" formatCode="0.0">
                  <c:v>0.79272223681382981</c:v>
                </c:pt>
                <c:pt idx="368" formatCode="0.0">
                  <c:v>0.80466082471765232</c:v>
                </c:pt>
                <c:pt idx="369" formatCode="0.0">
                  <c:v>0.83570115326759176</c:v>
                </c:pt>
                <c:pt idx="370" formatCode="0.0">
                  <c:v>0.83808887084835604</c:v>
                </c:pt>
                <c:pt idx="371" formatCode="0.0">
                  <c:v>0.85719061149447273</c:v>
                </c:pt>
                <c:pt idx="372" formatCode="0.0">
                  <c:v>0.8213748477830044</c:v>
                </c:pt>
                <c:pt idx="373" formatCode="0.0">
                  <c:v>0.80227310713688793</c:v>
                </c:pt>
                <c:pt idx="374" formatCode="0.0">
                  <c:v>0.62080657099878245</c:v>
                </c:pt>
                <c:pt idx="375" formatCode="0.0">
                  <c:v>0.54439960841431678</c:v>
                </c:pt>
                <c:pt idx="376" formatCode="0.0">
                  <c:v>0.49425753921826132</c:v>
                </c:pt>
                <c:pt idx="377" formatCode="0.0">
                  <c:v>0.52052243260667141</c:v>
                </c:pt>
                <c:pt idx="378" formatCode="0.0">
                  <c:v>0.44650318760297042</c:v>
                </c:pt>
                <c:pt idx="379" formatCode="0.0">
                  <c:v>0.60409254793343059</c:v>
                </c:pt>
                <c:pt idx="380" formatCode="0.0">
                  <c:v>0.4250137293760895</c:v>
                </c:pt>
                <c:pt idx="381" formatCode="0.0">
                  <c:v>0.49425753921826132</c:v>
                </c:pt>
                <c:pt idx="382" formatCode="0.0">
                  <c:v>0.49186982163749676</c:v>
                </c:pt>
                <c:pt idx="383" formatCode="0.0">
                  <c:v>0.52529786776820031</c:v>
                </c:pt>
                <c:pt idx="384" formatCode="0.0">
                  <c:v>0.50858384470284845</c:v>
                </c:pt>
                <c:pt idx="385" formatCode="0.0">
                  <c:v>0.51335927986437768</c:v>
                </c:pt>
                <c:pt idx="386" formatCode="0.0">
                  <c:v>0.36293307227621119</c:v>
                </c:pt>
                <c:pt idx="387" formatCode="0.0">
                  <c:v>0.52052243260667141</c:v>
                </c:pt>
                <c:pt idx="388" formatCode="0.0">
                  <c:v>0.43456459969914774</c:v>
                </c:pt>
                <c:pt idx="389" formatCode="0.0">
                  <c:v>0.41068742389150215</c:v>
                </c:pt>
                <c:pt idx="390" formatCode="0.0">
                  <c:v>0.35576991953391751</c:v>
                </c:pt>
                <c:pt idx="391" formatCode="0.0">
                  <c:v>0.35338220195315312</c:v>
                </c:pt>
                <c:pt idx="392" formatCode="0.0">
                  <c:v>0.33428046130703676</c:v>
                </c:pt>
                <c:pt idx="393" formatCode="0.0">
                  <c:v>0.28175067453021657</c:v>
                </c:pt>
                <c:pt idx="394" formatCode="0.0">
                  <c:v>0.27458752178792301</c:v>
                </c:pt>
                <c:pt idx="395" formatCode="0.0">
                  <c:v>0.28175067453021657</c:v>
                </c:pt>
                <c:pt idx="396" formatCode="0.0">
                  <c:v>0.36293307227621119</c:v>
                </c:pt>
                <c:pt idx="397" formatCode="0.0">
                  <c:v>0.40352427114920858</c:v>
                </c:pt>
                <c:pt idx="398" formatCode="0.0">
                  <c:v>0.40591198872997314</c:v>
                </c:pt>
                <c:pt idx="399" formatCode="0.0">
                  <c:v>0.43934003486067674</c:v>
                </c:pt>
                <c:pt idx="400" formatCode="0.0">
                  <c:v>0.45844177550679305</c:v>
                </c:pt>
                <c:pt idx="401" formatCode="0.0">
                  <c:v>0.44172775244144125</c:v>
                </c:pt>
                <c:pt idx="402" formatCode="0.0">
                  <c:v>0.44889090518373492</c:v>
                </c:pt>
                <c:pt idx="403" formatCode="0.0">
                  <c:v>0.37964709534156305</c:v>
                </c:pt>
                <c:pt idx="404" formatCode="0.0">
                  <c:v>0.37725937776079854</c:v>
                </c:pt>
                <c:pt idx="405" formatCode="0.0">
                  <c:v>0.37009622501850487</c:v>
                </c:pt>
                <c:pt idx="406" formatCode="0.0">
                  <c:v>0.35338220195315312</c:v>
                </c:pt>
                <c:pt idx="407" formatCode="0.0">
                  <c:v>0.43695231727991218</c:v>
                </c:pt>
                <c:pt idx="408" formatCode="0.0">
                  <c:v>0.4441154700222058</c:v>
                </c:pt>
                <c:pt idx="409" formatCode="0.0">
                  <c:v>0.46560492824908678</c:v>
                </c:pt>
                <c:pt idx="410" formatCode="0.0">
                  <c:v>0.4584417755067931</c:v>
                </c:pt>
                <c:pt idx="411" formatCode="0.0">
                  <c:v>0.46799264582985139</c:v>
                </c:pt>
                <c:pt idx="412" formatCode="0.0">
                  <c:v>0.48470666889520325</c:v>
                </c:pt>
                <c:pt idx="413" formatCode="0.0">
                  <c:v>0.50142069196055483</c:v>
                </c:pt>
                <c:pt idx="414" formatCode="0.0">
                  <c:v>0.40829970631073753</c:v>
                </c:pt>
                <c:pt idx="415" formatCode="0.0">
                  <c:v>0.37009622501850487</c:v>
                </c:pt>
                <c:pt idx="416" formatCode="0.0">
                  <c:v>0.35338220195315312</c:v>
                </c:pt>
                <c:pt idx="417" formatCode="0.0">
                  <c:v>0.3939734008261504</c:v>
                </c:pt>
                <c:pt idx="418" formatCode="0.0">
                  <c:v>0.39636111840691485</c:v>
                </c:pt>
                <c:pt idx="419" formatCode="0.0">
                  <c:v>0.37725937776079854</c:v>
                </c:pt>
                <c:pt idx="420" formatCode="0.0">
                  <c:v>0.37487166018003393</c:v>
                </c:pt>
                <c:pt idx="421" formatCode="0.0">
                  <c:v>0.40591198872997314</c:v>
                </c:pt>
                <c:pt idx="422" formatCode="0.0">
                  <c:v>0.48948210405673226</c:v>
                </c:pt>
                <c:pt idx="423" formatCode="0.0">
                  <c:v>0.49664525679902577</c:v>
                </c:pt>
                <c:pt idx="424" formatCode="0.0">
                  <c:v>0.54201189083355228</c:v>
                </c:pt>
                <c:pt idx="425" formatCode="0.0">
                  <c:v>0.58260308970654939</c:v>
                </c:pt>
                <c:pt idx="426" formatCode="0.0">
                  <c:v>0.60886798309495949</c:v>
                </c:pt>
                <c:pt idx="427" formatCode="0.0">
                  <c:v>0.61125570067572421</c:v>
                </c:pt>
                <c:pt idx="428" formatCode="0.0">
                  <c:v>0.62796972374107607</c:v>
                </c:pt>
                <c:pt idx="429" formatCode="0.0">
                  <c:v>0.62319428857954695</c:v>
                </c:pt>
                <c:pt idx="430" formatCode="0.0">
                  <c:v>0.65901005229101528</c:v>
                </c:pt>
                <c:pt idx="431" formatCode="0.0">
                  <c:v>0.62796972374107607</c:v>
                </c:pt>
                <c:pt idx="432" formatCode="0.0">
                  <c:v>0.60886798309495949</c:v>
                </c:pt>
                <c:pt idx="433" formatCode="0.0">
                  <c:v>0.59454167761037247</c:v>
                </c:pt>
                <c:pt idx="434" formatCode="0.0">
                  <c:v>0.60648026551419509</c:v>
                </c:pt>
                <c:pt idx="435" formatCode="0.0">
                  <c:v>0.69721353358324778</c:v>
                </c:pt>
                <c:pt idx="436" formatCode="0.0">
                  <c:v>0.7592941906831262</c:v>
                </c:pt>
                <c:pt idx="437" formatCode="0.0">
                  <c:v>0.80704854229841705</c:v>
                </c:pt>
                <c:pt idx="438" formatCode="0.0">
                  <c:v>0.87629235214058909</c:v>
                </c:pt>
                <c:pt idx="439" formatCode="0.0">
                  <c:v>0.95986246746734782</c:v>
                </c:pt>
                <c:pt idx="440" formatCode="0.0">
                  <c:v>0.97418877295193529</c:v>
                </c:pt>
                <c:pt idx="441" formatCode="0.0">
                  <c:v>1.0076168190826387</c:v>
                </c:pt>
                <c:pt idx="442" formatCode="0.0">
                  <c:v>1.0458203003748716</c:v>
                </c:pt>
                <c:pt idx="443" formatCode="0.0">
                  <c:v>1.0601466058594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A96-4795-8581-791AAA8989B0}"/>
            </c:ext>
          </c:extLst>
        </c:ser>
        <c:ser>
          <c:idx val="6"/>
          <c:order val="3"/>
          <c:tx>
            <c:v>Mpumalanga</c:v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W$5:$CW$451</c:f>
              <c:numCache>
                <c:formatCode>General</c:formatCode>
                <c:ptCount val="447"/>
                <c:pt idx="3" formatCode="0.0">
                  <c:v>3.1110004977600797E-3</c:v>
                </c:pt>
                <c:pt idx="4" formatCode="0.0">
                  <c:v>3.1110004977600797E-3</c:v>
                </c:pt>
                <c:pt idx="5" formatCode="0.0">
                  <c:v>3.1110004977600797E-3</c:v>
                </c:pt>
                <c:pt idx="6" formatCode="0.0">
                  <c:v>6.2220009955201603E-3</c:v>
                </c:pt>
                <c:pt idx="7" formatCode="0.0">
                  <c:v>6.2220009955201603E-3</c:v>
                </c:pt>
                <c:pt idx="8" formatCode="0.0">
                  <c:v>1.2444001991040317E-2</c:v>
                </c:pt>
                <c:pt idx="9" formatCode="0.0">
                  <c:v>1.2444001991040317E-2</c:v>
                </c:pt>
                <c:pt idx="10" formatCode="0.0">
                  <c:v>1.2444001991040317E-2</c:v>
                </c:pt>
                <c:pt idx="11" formatCode="0.0">
                  <c:v>1.2444001991040317E-2</c:v>
                </c:pt>
                <c:pt idx="12" formatCode="0.0">
                  <c:v>1.2444001991040317E-2</c:v>
                </c:pt>
                <c:pt idx="13" formatCode="0.0">
                  <c:v>2.1777003484320562E-2</c:v>
                </c:pt>
                <c:pt idx="14" formatCode="0.0">
                  <c:v>2.1777003484320562E-2</c:v>
                </c:pt>
                <c:pt idx="15" formatCode="0.0">
                  <c:v>1.2444001991040317E-2</c:v>
                </c:pt>
                <c:pt idx="16" formatCode="0.0">
                  <c:v>1.2444001991040317E-2</c:v>
                </c:pt>
                <c:pt idx="17" formatCode="0.0">
                  <c:v>1.2444001991040317E-2</c:v>
                </c:pt>
                <c:pt idx="18" formatCode="0.0">
                  <c:v>1.55550024888004E-2</c:v>
                </c:pt>
                <c:pt idx="19" formatCode="0.0">
                  <c:v>1.866600298656048E-2</c:v>
                </c:pt>
                <c:pt idx="20" formatCode="0.0">
                  <c:v>6.2220009955201603E-3</c:v>
                </c:pt>
                <c:pt idx="21" formatCode="0.0">
                  <c:v>9.3330014932802401E-3</c:v>
                </c:pt>
                <c:pt idx="22" formatCode="0.0">
                  <c:v>1.2444001991040317E-2</c:v>
                </c:pt>
                <c:pt idx="23" formatCode="0.0">
                  <c:v>1.2444001991040317E-2</c:v>
                </c:pt>
                <c:pt idx="24" formatCode="0.0">
                  <c:v>1.2444001991040317E-2</c:v>
                </c:pt>
                <c:pt idx="25" formatCode="0.0">
                  <c:v>2.4888003982080634E-2</c:v>
                </c:pt>
                <c:pt idx="26" formatCode="0.0">
                  <c:v>2.1777003484320566E-2</c:v>
                </c:pt>
                <c:pt idx="27" formatCode="0.0">
                  <c:v>2.1777003484320566E-2</c:v>
                </c:pt>
                <c:pt idx="28" formatCode="0.0">
                  <c:v>-3.7332005973120974E-2</c:v>
                </c:pt>
                <c:pt idx="29" formatCode="0.0">
                  <c:v>2.7999004479840717E-2</c:v>
                </c:pt>
                <c:pt idx="30" formatCode="0.0">
                  <c:v>2.1777003484320562E-2</c:v>
                </c:pt>
                <c:pt idx="31" formatCode="0.0">
                  <c:v>2.1777003484320562E-2</c:v>
                </c:pt>
                <c:pt idx="32" formatCode="0.0">
                  <c:v>6.2220009955201543E-3</c:v>
                </c:pt>
                <c:pt idx="33" formatCode="0.0">
                  <c:v>9.3330014932802349E-3</c:v>
                </c:pt>
                <c:pt idx="34" formatCode="0.0">
                  <c:v>1.2444001991040315E-2</c:v>
                </c:pt>
                <c:pt idx="35" formatCode="0.0">
                  <c:v>6.8442010950721777E-2</c:v>
                </c:pt>
                <c:pt idx="36" formatCode="0.0">
                  <c:v>3.1110004977600797E-3</c:v>
                </c:pt>
                <c:pt idx="37" formatCode="0.0">
                  <c:v>6.2220009955201603E-3</c:v>
                </c:pt>
                <c:pt idx="38" formatCode="0.0">
                  <c:v>9.3330014932802401E-3</c:v>
                </c:pt>
                <c:pt idx="39" formatCode="0.0">
                  <c:v>1.55550024888004E-2</c:v>
                </c:pt>
                <c:pt idx="40" formatCode="0.0">
                  <c:v>6.2220009955201603E-3</c:v>
                </c:pt>
                <c:pt idx="41" formatCode="0.0">
                  <c:v>3.1110004977600793E-3</c:v>
                </c:pt>
                <c:pt idx="42" formatCode="0.0">
                  <c:v>6.2220009955201595E-3</c:v>
                </c:pt>
                <c:pt idx="43" formatCode="0.0">
                  <c:v>3.1110004977600789E-3</c:v>
                </c:pt>
                <c:pt idx="44" formatCode="0.0">
                  <c:v>3.1110004977600789E-3</c:v>
                </c:pt>
                <c:pt idx="45" formatCode="0.0">
                  <c:v>3.1110004977600797E-3</c:v>
                </c:pt>
                <c:pt idx="46" formatCode="0.0">
                  <c:v>-6.2220009955201603E-3</c:v>
                </c:pt>
                <c:pt idx="47" formatCode="0.0">
                  <c:v>0</c:v>
                </c:pt>
                <c:pt idx="48" formatCode="0.0">
                  <c:v>9.3330014932802418E-3</c:v>
                </c:pt>
                <c:pt idx="49" formatCode="0.0">
                  <c:v>6.2220009955201612E-3</c:v>
                </c:pt>
                <c:pt idx="50" formatCode="0.0">
                  <c:v>2.4888003982080641E-2</c:v>
                </c:pt>
                <c:pt idx="51" formatCode="0.0">
                  <c:v>4.0443006470881032E-2</c:v>
                </c:pt>
                <c:pt idx="52" formatCode="0.0">
                  <c:v>3.4221005475360881E-2</c:v>
                </c:pt>
                <c:pt idx="53" formatCode="0.0">
                  <c:v>5.2887008461921368E-2</c:v>
                </c:pt>
                <c:pt idx="54" formatCode="0.0">
                  <c:v>7.1553011448481849E-2</c:v>
                </c:pt>
                <c:pt idx="55" formatCode="0.0">
                  <c:v>8.3997013439522178E-2</c:v>
                </c:pt>
                <c:pt idx="56" formatCode="0.0">
                  <c:v>9.6441015430562452E-2</c:v>
                </c:pt>
                <c:pt idx="57" formatCode="0.0">
                  <c:v>8.0886012941762078E-2</c:v>
                </c:pt>
                <c:pt idx="58" formatCode="0.0">
                  <c:v>7.1553011448481849E-2</c:v>
                </c:pt>
                <c:pt idx="59" formatCode="0.0">
                  <c:v>7.7775012444001992E-2</c:v>
                </c:pt>
                <c:pt idx="60" formatCode="0.0">
                  <c:v>6.5331010452961677E-2</c:v>
                </c:pt>
                <c:pt idx="61" formatCode="0.0">
                  <c:v>4.6665007466401176E-2</c:v>
                </c:pt>
                <c:pt idx="62" formatCode="0.0">
                  <c:v>3.1110004977600792E-2</c:v>
                </c:pt>
                <c:pt idx="63" formatCode="0.0">
                  <c:v>1.866600298656048E-2</c:v>
                </c:pt>
                <c:pt idx="64" formatCode="0.0">
                  <c:v>2.7999004479840724E-2</c:v>
                </c:pt>
                <c:pt idx="65" formatCode="0.0">
                  <c:v>2.4888003982080634E-2</c:v>
                </c:pt>
                <c:pt idx="66" formatCode="0.0">
                  <c:v>2.1777003484320562E-2</c:v>
                </c:pt>
                <c:pt idx="67" formatCode="0.0">
                  <c:v>2.1777003484320562E-2</c:v>
                </c:pt>
                <c:pt idx="68" formatCode="0.0">
                  <c:v>3.1110004977600796E-2</c:v>
                </c:pt>
                <c:pt idx="69" formatCode="0.0">
                  <c:v>4.0443006470881032E-2</c:v>
                </c:pt>
                <c:pt idx="70" formatCode="0.0">
                  <c:v>4.6665007466401183E-2</c:v>
                </c:pt>
                <c:pt idx="71" formatCode="0.0">
                  <c:v>8.399701343952215E-2</c:v>
                </c:pt>
                <c:pt idx="72" formatCode="0.0">
                  <c:v>8.7108013937282222E-2</c:v>
                </c:pt>
                <c:pt idx="73" formatCode="0.0">
                  <c:v>9.6441015430562452E-2</c:v>
                </c:pt>
                <c:pt idx="74" formatCode="0.0">
                  <c:v>9.0219014435042294E-2</c:v>
                </c:pt>
                <c:pt idx="75" formatCode="0.0">
                  <c:v>9.3330014932802366E-2</c:v>
                </c:pt>
                <c:pt idx="76" formatCode="0.0">
                  <c:v>8.0886012941762064E-2</c:v>
                </c:pt>
                <c:pt idx="77" formatCode="0.0">
                  <c:v>7.7775012444001992E-2</c:v>
                </c:pt>
                <c:pt idx="78" formatCode="0.0">
                  <c:v>4.0443006470881025E-2</c:v>
                </c:pt>
                <c:pt idx="79" formatCode="0.0">
                  <c:v>4.977600796416129E-2</c:v>
                </c:pt>
                <c:pt idx="80" formatCode="0.0">
                  <c:v>4.3554006968641111E-2</c:v>
                </c:pt>
                <c:pt idx="81" formatCode="0.0">
                  <c:v>4.977600796416129E-2</c:v>
                </c:pt>
                <c:pt idx="82" formatCode="0.0">
                  <c:v>6.2220009955201598E-2</c:v>
                </c:pt>
                <c:pt idx="83" formatCode="0.0">
                  <c:v>9.0219014435042294E-2</c:v>
                </c:pt>
                <c:pt idx="84" formatCode="0.0">
                  <c:v>9.0219014435042294E-2</c:v>
                </c:pt>
                <c:pt idx="85" formatCode="0.0">
                  <c:v>9.6441015430562452E-2</c:v>
                </c:pt>
                <c:pt idx="86" formatCode="0.0">
                  <c:v>0.10266301642608264</c:v>
                </c:pt>
                <c:pt idx="87" formatCode="0.0">
                  <c:v>0.17732702837232456</c:v>
                </c:pt>
                <c:pt idx="88" formatCode="0.0">
                  <c:v>0.21154803384768547</c:v>
                </c:pt>
                <c:pt idx="89" formatCode="0.0">
                  <c:v>0.21154803384768545</c:v>
                </c:pt>
                <c:pt idx="90" formatCode="0.0">
                  <c:v>0.16177202588352416</c:v>
                </c:pt>
                <c:pt idx="91" formatCode="0.0">
                  <c:v>0.16177202588352416</c:v>
                </c:pt>
                <c:pt idx="92" formatCode="0.0">
                  <c:v>0.21777003484320562</c:v>
                </c:pt>
                <c:pt idx="93" formatCode="0.0">
                  <c:v>0.26132404181184676</c:v>
                </c:pt>
                <c:pt idx="94" formatCode="0.0">
                  <c:v>0.23021403683424591</c:v>
                </c:pt>
                <c:pt idx="95" formatCode="0.0">
                  <c:v>0.27999004479840711</c:v>
                </c:pt>
                <c:pt idx="96" formatCode="0.0">
                  <c:v>0.33598805375808871</c:v>
                </c:pt>
                <c:pt idx="97" formatCode="0.0">
                  <c:v>0.43242906918865126</c:v>
                </c:pt>
                <c:pt idx="98" formatCode="0.0">
                  <c:v>0.49464907914385275</c:v>
                </c:pt>
                <c:pt idx="99" formatCode="0.0">
                  <c:v>0.57242409158785468</c:v>
                </c:pt>
                <c:pt idx="100" formatCode="0.0">
                  <c:v>0.7248631159780986</c:v>
                </c:pt>
                <c:pt idx="101" formatCode="0.0">
                  <c:v>0.81508213041314093</c:v>
                </c:pt>
                <c:pt idx="102" formatCode="0.0">
                  <c:v>0.84930313588850181</c:v>
                </c:pt>
                <c:pt idx="103" formatCode="0.0">
                  <c:v>0.85863613738178213</c:v>
                </c:pt>
                <c:pt idx="104" formatCode="0.0">
                  <c:v>0.85241413638626162</c:v>
                </c:pt>
                <c:pt idx="105" formatCode="0.0">
                  <c:v>0.99240915878546521</c:v>
                </c:pt>
                <c:pt idx="106" formatCode="0.0">
                  <c:v>1.001742160278746</c:v>
                </c:pt>
                <c:pt idx="107" formatCode="0.0">
                  <c:v>1.001742160278746</c:v>
                </c:pt>
                <c:pt idx="108" formatCode="0.0">
                  <c:v>1.0888501742160284</c:v>
                </c:pt>
                <c:pt idx="109" formatCode="0.0">
                  <c:v>1.1852911896465901</c:v>
                </c:pt>
                <c:pt idx="110" formatCode="0.0">
                  <c:v>1.3781732205077155</c:v>
                </c:pt>
                <c:pt idx="111" formatCode="0.0">
                  <c:v>1.5337232453957192</c:v>
                </c:pt>
                <c:pt idx="112" formatCode="0.0">
                  <c:v>1.6426082628173222</c:v>
                </c:pt>
                <c:pt idx="113" formatCode="0.0">
                  <c:v>1.8448232951717272</c:v>
                </c:pt>
                <c:pt idx="114" formatCode="0.0">
                  <c:v>2.1621453459432551</c:v>
                </c:pt>
                <c:pt idx="115" formatCode="0.0">
                  <c:v>2.3519163763066198</c:v>
                </c:pt>
                <c:pt idx="116" formatCode="0.0">
                  <c:v>2.7781234444997511</c:v>
                </c:pt>
                <c:pt idx="117" formatCode="0.0">
                  <c:v>2.9523394723743155</c:v>
                </c:pt>
                <c:pt idx="118" formatCode="0.0">
                  <c:v>3.3723245395719261</c:v>
                </c:pt>
                <c:pt idx="119" formatCode="0.0">
                  <c:v>3.6180935788949742</c:v>
                </c:pt>
                <c:pt idx="120" formatCode="0.0">
                  <c:v>3.8016426082628172</c:v>
                </c:pt>
                <c:pt idx="121" formatCode="0.0">
                  <c:v>4.4300647088103533</c:v>
                </c:pt>
                <c:pt idx="122" formatCode="0.0">
                  <c:v>5.1704828272772509</c:v>
                </c:pt>
                <c:pt idx="123" formatCode="0.0">
                  <c:v>5.6091338974614242</c:v>
                </c:pt>
                <c:pt idx="124" formatCode="0.0">
                  <c:v>6.2593330014932818</c:v>
                </c:pt>
                <c:pt idx="125" formatCode="0.0">
                  <c:v>6.6139870582379272</c:v>
                </c:pt>
                <c:pt idx="126" formatCode="0.0">
                  <c:v>6.9157541065206569</c:v>
                </c:pt>
                <c:pt idx="127" formatCode="0.0">
                  <c:v>7.8490542558486798</c:v>
                </c:pt>
                <c:pt idx="128" formatCode="0.0">
                  <c:v>8.3063713290194112</c:v>
                </c:pt>
                <c:pt idx="129" formatCode="0.0">
                  <c:v>8.7108013937282216</c:v>
                </c:pt>
                <c:pt idx="130" formatCode="0.0">
                  <c:v>9.404554504728722</c:v>
                </c:pt>
                <c:pt idx="131" formatCode="0.0">
                  <c:v>9.8058735689397718</c:v>
                </c:pt>
                <c:pt idx="132" formatCode="0.0">
                  <c:v>9.7218765555002502</c:v>
                </c:pt>
                <c:pt idx="133" formatCode="0.0">
                  <c:v>9.6067695370831263</c:v>
                </c:pt>
                <c:pt idx="134" formatCode="0.0">
                  <c:v>10.064086610253856</c:v>
                </c:pt>
                <c:pt idx="135" formatCode="0.0">
                  <c:v>10.624066699850671</c:v>
                </c:pt>
                <c:pt idx="136" formatCode="0.0">
                  <c:v>11.457814833250374</c:v>
                </c:pt>
                <c:pt idx="137" formatCode="0.0">
                  <c:v>11.737804878048783</c:v>
                </c:pt>
                <c:pt idx="138" formatCode="0.0">
                  <c:v>12.06757093081135</c:v>
                </c:pt>
                <c:pt idx="139" formatCode="0.0">
                  <c:v>12.325783972125437</c:v>
                </c:pt>
                <c:pt idx="140" formatCode="0.0">
                  <c:v>12.095569935291193</c:v>
                </c:pt>
                <c:pt idx="141" formatCode="0.0">
                  <c:v>12.92931806869089</c:v>
                </c:pt>
                <c:pt idx="142" formatCode="0.0">
                  <c:v>13.355525136884024</c:v>
                </c:pt>
                <c:pt idx="143" formatCode="0.0">
                  <c:v>13.517297162767544</c:v>
                </c:pt>
                <c:pt idx="144" formatCode="0.0">
                  <c:v>13.265306122448981</c:v>
                </c:pt>
                <c:pt idx="145" formatCode="0.0">
                  <c:v>12.792434046789452</c:v>
                </c:pt>
                <c:pt idx="146" formatCode="0.0">
                  <c:v>12.47200099552016</c:v>
                </c:pt>
                <c:pt idx="147" formatCode="0.0">
                  <c:v>12.954206072672973</c:v>
                </c:pt>
                <c:pt idx="148" formatCode="0.0">
                  <c:v>14.599925335988052</c:v>
                </c:pt>
                <c:pt idx="149" formatCode="0.0">
                  <c:v>14.07105525136884</c:v>
                </c:pt>
                <c:pt idx="150" formatCode="0.0">
                  <c:v>12.95731707317073</c:v>
                </c:pt>
                <c:pt idx="151" formatCode="0.0">
                  <c:v>12.608885017421603</c:v>
                </c:pt>
                <c:pt idx="152" formatCode="0.0">
                  <c:v>12.814211050273768</c:v>
                </c:pt>
                <c:pt idx="153" formatCode="0.0">
                  <c:v>12.630662020905921</c:v>
                </c:pt>
                <c:pt idx="154" formatCode="0.0">
                  <c:v>11.874688899950227</c:v>
                </c:pt>
                <c:pt idx="155" formatCode="0.0">
                  <c:v>8.1508213041314033</c:v>
                </c:pt>
                <c:pt idx="156" formatCode="0.0">
                  <c:v>7.1801891488302623</c:v>
                </c:pt>
                <c:pt idx="157" formatCode="0.0">
                  <c:v>7.1179691388750612</c:v>
                </c:pt>
                <c:pt idx="158" formatCode="0.0">
                  <c:v>6.7850920856147354</c:v>
                </c:pt>
                <c:pt idx="159" formatCode="0.0">
                  <c:v>6.3775510204081627</c:v>
                </c:pt>
                <c:pt idx="160" formatCode="0.0">
                  <c:v>6.2811100049776014</c:v>
                </c:pt>
                <c:pt idx="161" formatCode="0.0">
                  <c:v>6.7944250871080119</c:v>
                </c:pt>
                <c:pt idx="162" formatCode="0.0">
                  <c:v>7.1926331508213064</c:v>
                </c:pt>
                <c:pt idx="163" formatCode="0.0">
                  <c:v>7.3046291687406688</c:v>
                </c:pt>
                <c:pt idx="164" formatCode="0.0">
                  <c:v>6.6793180686908906</c:v>
                </c:pt>
                <c:pt idx="165" formatCode="0.0">
                  <c:v>6.1815579890492769</c:v>
                </c:pt>
                <c:pt idx="166" formatCode="0.0">
                  <c:v>5.6340219014435036</c:v>
                </c:pt>
                <c:pt idx="167" formatCode="0.0">
                  <c:v>5.2544798407167743</c:v>
                </c:pt>
                <c:pt idx="168" formatCode="0.0">
                  <c:v>5.0367098058735715</c:v>
                </c:pt>
                <c:pt idx="169" formatCode="0.0">
                  <c:v>4.6291687406669979</c:v>
                </c:pt>
                <c:pt idx="170" formatCode="0.0">
                  <c:v>3.7891986062717775</c:v>
                </c:pt>
                <c:pt idx="171" formatCode="0.0">
                  <c:v>3.3101045296167237</c:v>
                </c:pt>
                <c:pt idx="172" formatCode="0.0">
                  <c:v>3.2478845196615236</c:v>
                </c:pt>
                <c:pt idx="173" formatCode="0.0">
                  <c:v>3.2105525136884023</c:v>
                </c:pt>
                <c:pt idx="174" formatCode="0.0">
                  <c:v>3.8638626182180187</c:v>
                </c:pt>
                <c:pt idx="175" formatCode="0.0">
                  <c:v>3.5278745644599296</c:v>
                </c:pt>
                <c:pt idx="176" formatCode="0.0">
                  <c:v>3.266550522648084</c:v>
                </c:pt>
                <c:pt idx="177" formatCode="0.0">
                  <c:v>3.3256595321055253</c:v>
                </c:pt>
                <c:pt idx="178" formatCode="0.0">
                  <c:v>3.3318815331010443</c:v>
                </c:pt>
                <c:pt idx="179" formatCode="0.0">
                  <c:v>3.2043305126928816</c:v>
                </c:pt>
                <c:pt idx="180" formatCode="0.0">
                  <c:v>2.9367844698855157</c:v>
                </c:pt>
                <c:pt idx="181" formatCode="0.0">
                  <c:v>2.2399203583872582</c:v>
                </c:pt>
                <c:pt idx="182" formatCode="0.0">
                  <c:v>2.2648083623693385</c:v>
                </c:pt>
                <c:pt idx="183" formatCode="0.0">
                  <c:v>2.1963663514186162</c:v>
                </c:pt>
                <c:pt idx="184" formatCode="0.0">
                  <c:v>2.1123693379790938</c:v>
                </c:pt>
                <c:pt idx="185" formatCode="0.0">
                  <c:v>2.1901443504230969</c:v>
                </c:pt>
                <c:pt idx="186" formatCode="0.0">
                  <c:v>2.1901443504230964</c:v>
                </c:pt>
                <c:pt idx="187" formatCode="0.0">
                  <c:v>2.0968143354902935</c:v>
                </c:pt>
                <c:pt idx="188" formatCode="0.0">
                  <c:v>2.1777003484320563</c:v>
                </c:pt>
                <c:pt idx="189" formatCode="0.0">
                  <c:v>2.0594823295171727</c:v>
                </c:pt>
                <c:pt idx="190" formatCode="0.0">
                  <c:v>2.0999253359880528</c:v>
                </c:pt>
                <c:pt idx="191" formatCode="0.0">
                  <c:v>2.1123693379790938</c:v>
                </c:pt>
                <c:pt idx="192" formatCode="0.0">
                  <c:v>2.2461423593827776</c:v>
                </c:pt>
                <c:pt idx="193" formatCode="0.0">
                  <c:v>2.2056993529118976</c:v>
                </c:pt>
                <c:pt idx="194" formatCode="0.0">
                  <c:v>2.2679193628670991</c:v>
                </c:pt>
                <c:pt idx="195" formatCode="0.0">
                  <c:v>2.1777003484320567</c:v>
                </c:pt>
                <c:pt idx="196" formatCode="0.0">
                  <c:v>2.3394723743155788</c:v>
                </c:pt>
                <c:pt idx="197" formatCode="0.0">
                  <c:v>2.2585863613738182</c:v>
                </c:pt>
                <c:pt idx="198" formatCode="0.0">
                  <c:v>2.2959183673469394</c:v>
                </c:pt>
                <c:pt idx="199" formatCode="0.0">
                  <c:v>2.0283723245395717</c:v>
                </c:pt>
                <c:pt idx="200" formatCode="0.0">
                  <c:v>1.6954952712792435</c:v>
                </c:pt>
                <c:pt idx="201" formatCode="0.0">
                  <c:v>1.6861622697859637</c:v>
                </c:pt>
                <c:pt idx="202" formatCode="0.0">
                  <c:v>1.6923842707814831</c:v>
                </c:pt>
                <c:pt idx="203" formatCode="0.0">
                  <c:v>1.7141612742658039</c:v>
                </c:pt>
                <c:pt idx="204" formatCode="0.0">
                  <c:v>1.726605276256844</c:v>
                </c:pt>
                <c:pt idx="205" formatCode="0.0">
                  <c:v>1.6612742658038826</c:v>
                </c:pt>
                <c:pt idx="206" formatCode="0.0">
                  <c:v>1.6394972623195618</c:v>
                </c:pt>
                <c:pt idx="207" formatCode="0.0">
                  <c:v>1.8386012941762071</c:v>
                </c:pt>
                <c:pt idx="208" formatCode="0.0">
                  <c:v>1.7732702837232455</c:v>
                </c:pt>
                <c:pt idx="209" formatCode="0.0">
                  <c:v>1.7297162767546035</c:v>
                </c:pt>
                <c:pt idx="210" formatCode="0.0">
                  <c:v>1.7266052762568442</c:v>
                </c:pt>
                <c:pt idx="211" formatCode="0.0">
                  <c:v>1.658163265306122</c:v>
                </c:pt>
                <c:pt idx="212" formatCode="0.0">
                  <c:v>1.7079392732702836</c:v>
                </c:pt>
                <c:pt idx="213" formatCode="0.0">
                  <c:v>1.7577152812344448</c:v>
                </c:pt>
                <c:pt idx="214" formatCode="0.0">
                  <c:v>1.8354902936784463</c:v>
                </c:pt>
                <c:pt idx="215" formatCode="0.0">
                  <c:v>1.7950472872075658</c:v>
                </c:pt>
                <c:pt idx="216" formatCode="0.0">
                  <c:v>1.8230462916874062</c:v>
                </c:pt>
                <c:pt idx="217" formatCode="0.0">
                  <c:v>1.7670482827277245</c:v>
                </c:pt>
                <c:pt idx="218" formatCode="0.0">
                  <c:v>1.8012692882030854</c:v>
                </c:pt>
                <c:pt idx="219" formatCode="0.0">
                  <c:v>1.6830512692882034</c:v>
                </c:pt>
                <c:pt idx="220" formatCode="0.0">
                  <c:v>1.8261572921851668</c:v>
                </c:pt>
                <c:pt idx="221" formatCode="0.0">
                  <c:v>1.6954952712792433</c:v>
                </c:pt>
                <c:pt idx="222" formatCode="0.0">
                  <c:v>1.8168242906918857</c:v>
                </c:pt>
                <c:pt idx="223" formatCode="0.0">
                  <c:v>1.9257093081134884</c:v>
                </c:pt>
                <c:pt idx="224" formatCode="0.0">
                  <c:v>1.9070433051269282</c:v>
                </c:pt>
                <c:pt idx="225" formatCode="0.0">
                  <c:v>2.0034843205574915</c:v>
                </c:pt>
                <c:pt idx="226" formatCode="0.0">
                  <c:v>2.0003733200597309</c:v>
                </c:pt>
                <c:pt idx="227" formatCode="0.0">
                  <c:v>1.872822299651568</c:v>
                </c:pt>
                <c:pt idx="228" formatCode="0.0">
                  <c:v>1.9319313091090087</c:v>
                </c:pt>
                <c:pt idx="229" formatCode="0.0">
                  <c:v>1.8074912891986061</c:v>
                </c:pt>
                <c:pt idx="230" formatCode="0.0">
                  <c:v>1.7234942757590832</c:v>
                </c:pt>
                <c:pt idx="231" formatCode="0.0">
                  <c:v>1.7857142857142851</c:v>
                </c:pt>
                <c:pt idx="232" formatCode="0.0">
                  <c:v>1.6488302638128423</c:v>
                </c:pt>
                <c:pt idx="233" formatCode="0.0">
                  <c:v>1.6892732702837234</c:v>
                </c:pt>
                <c:pt idx="234" formatCode="0.0">
                  <c:v>1.7670482827277252</c:v>
                </c:pt>
                <c:pt idx="235" formatCode="0.0">
                  <c:v>1.7048282727725235</c:v>
                </c:pt>
                <c:pt idx="236" formatCode="0.0">
                  <c:v>1.6550522648083623</c:v>
                </c:pt>
                <c:pt idx="237" formatCode="0.0">
                  <c:v>1.6083872573419611</c:v>
                </c:pt>
                <c:pt idx="238" formatCode="0.0">
                  <c:v>1.4403932304629166</c:v>
                </c:pt>
                <c:pt idx="239" formatCode="0.0">
                  <c:v>1.3843952215032354</c:v>
                </c:pt>
                <c:pt idx="240" formatCode="0.0">
                  <c:v>1.3003982080637131</c:v>
                </c:pt>
                <c:pt idx="241" formatCode="0.0">
                  <c:v>1.225734196117471</c:v>
                </c:pt>
                <c:pt idx="242" formatCode="0.0">
                  <c:v>1.2568442010950718</c:v>
                </c:pt>
                <c:pt idx="243" formatCode="0.0">
                  <c:v>1.272399203583872</c:v>
                </c:pt>
                <c:pt idx="244" formatCode="0.0">
                  <c:v>1.2568442010950718</c:v>
                </c:pt>
                <c:pt idx="245" formatCode="0.0">
                  <c:v>1.3968392234942755</c:v>
                </c:pt>
                <c:pt idx="246" formatCode="0.0">
                  <c:v>1.4341712294673963</c:v>
                </c:pt>
                <c:pt idx="247" formatCode="0.0">
                  <c:v>1.3999502239920358</c:v>
                </c:pt>
                <c:pt idx="248" formatCode="0.0">
                  <c:v>1.2879542060726727</c:v>
                </c:pt>
                <c:pt idx="249" formatCode="0.0">
                  <c:v>1.1759581881533101</c:v>
                </c:pt>
                <c:pt idx="250" formatCode="0.0">
                  <c:v>1.2506222000995515</c:v>
                </c:pt>
                <c:pt idx="251" formatCode="0.0">
                  <c:v>1.2444001991040317</c:v>
                </c:pt>
                <c:pt idx="252" formatCode="0.0">
                  <c:v>1.1604031856645101</c:v>
                </c:pt>
                <c:pt idx="253" formatCode="0.0">
                  <c:v>1.0577401692384272</c:v>
                </c:pt>
                <c:pt idx="254" formatCode="0.0">
                  <c:v>1.1355151816824294</c:v>
                </c:pt>
                <c:pt idx="255" formatCode="0.0">
                  <c:v>1.2444001991040317</c:v>
                </c:pt>
                <c:pt idx="256" formatCode="0.0">
                  <c:v>1.2848432055749124</c:v>
                </c:pt>
                <c:pt idx="257" formatCode="0.0">
                  <c:v>1.2319561971129909</c:v>
                </c:pt>
                <c:pt idx="258" formatCode="0.0">
                  <c:v>1.1852911896465905</c:v>
                </c:pt>
                <c:pt idx="259" formatCode="0.0">
                  <c:v>1.1292931806869089</c:v>
                </c:pt>
                <c:pt idx="260" formatCode="0.0">
                  <c:v>1.1324041811846688</c:v>
                </c:pt>
                <c:pt idx="261" formatCode="0.0">
                  <c:v>1.0266301642608266</c:v>
                </c:pt>
                <c:pt idx="262" formatCode="0.0">
                  <c:v>0.92396714783474343</c:v>
                </c:pt>
                <c:pt idx="263" formatCode="0.0">
                  <c:v>0.91152314584370331</c:v>
                </c:pt>
                <c:pt idx="264" formatCode="0.0">
                  <c:v>0.89596814335490282</c:v>
                </c:pt>
                <c:pt idx="265" formatCode="0.0">
                  <c:v>0.89907914385266285</c:v>
                </c:pt>
                <c:pt idx="266" formatCode="0.0">
                  <c:v>0.97374315579890502</c:v>
                </c:pt>
                <c:pt idx="267" formatCode="0.0">
                  <c:v>1.0266301642608264</c:v>
                </c:pt>
                <c:pt idx="268" formatCode="0.0">
                  <c:v>1.0608511697361873</c:v>
                </c:pt>
                <c:pt idx="269" formatCode="0.0">
                  <c:v>1.1137381781981086</c:v>
                </c:pt>
                <c:pt idx="270" formatCode="0.0">
                  <c:v>1.1199601791936287</c:v>
                </c:pt>
                <c:pt idx="271" formatCode="0.0">
                  <c:v>1.1728471876555504</c:v>
                </c:pt>
                <c:pt idx="272" formatCode="0.0">
                  <c:v>1.238178198108512</c:v>
                </c:pt>
                <c:pt idx="273" formatCode="0.0">
                  <c:v>1.1977351916376304</c:v>
                </c:pt>
                <c:pt idx="274" formatCode="0.0">
                  <c:v>1.2848432055749126</c:v>
                </c:pt>
                <c:pt idx="275" formatCode="0.0">
                  <c:v>1.3750622200099549</c:v>
                </c:pt>
                <c:pt idx="276" formatCode="0.0">
                  <c:v>1.4497262319561965</c:v>
                </c:pt>
                <c:pt idx="277" formatCode="0.0">
                  <c:v>1.6363862618218021</c:v>
                </c:pt>
                <c:pt idx="278" formatCode="0.0">
                  <c:v>1.7421602787456445</c:v>
                </c:pt>
                <c:pt idx="279" formatCode="0.0">
                  <c:v>1.7670482827277252</c:v>
                </c:pt>
                <c:pt idx="280" formatCode="0.0">
                  <c:v>1.8323792931806862</c:v>
                </c:pt>
                <c:pt idx="281" formatCode="0.0">
                  <c:v>2.0128173220507706</c:v>
                </c:pt>
                <c:pt idx="282" formatCode="0.0">
                  <c:v>2.2772523643603781</c:v>
                </c:pt>
                <c:pt idx="283" formatCode="0.0">
                  <c:v>2.2928073668491784</c:v>
                </c:pt>
                <c:pt idx="284" formatCode="0.0">
                  <c:v>2.5572424091587842</c:v>
                </c:pt>
                <c:pt idx="285" formatCode="0.0">
                  <c:v>2.8963414634146343</c:v>
                </c:pt>
                <c:pt idx="286" formatCode="0.0">
                  <c:v>3.0923344947735192</c:v>
                </c:pt>
                <c:pt idx="287" formatCode="0.0">
                  <c:v>3.3754355400696854</c:v>
                </c:pt>
                <c:pt idx="288" formatCode="0.0">
                  <c:v>3.8265306122448983</c:v>
                </c:pt>
                <c:pt idx="289" formatCode="0.0">
                  <c:v>4.2122946739671479</c:v>
                </c:pt>
                <c:pt idx="290" formatCode="0.0">
                  <c:v>5.0833748133399705</c:v>
                </c:pt>
                <c:pt idx="291" formatCode="0.0">
                  <c:v>5.2824788451966143</c:v>
                </c:pt>
                <c:pt idx="292" formatCode="0.0">
                  <c:v>5.2638128422100543</c:v>
                </c:pt>
                <c:pt idx="293" formatCode="0.0">
                  <c:v>5.6837979094076658</c:v>
                </c:pt>
                <c:pt idx="294" formatCode="0.0">
                  <c:v>6.2779990044798408</c:v>
                </c:pt>
                <c:pt idx="295" formatCode="0.0">
                  <c:v>7.3917371826779492</c:v>
                </c:pt>
                <c:pt idx="296" formatCode="0.0">
                  <c:v>8.1601543056246904</c:v>
                </c:pt>
                <c:pt idx="297" formatCode="0.0">
                  <c:v>9.3236684917869574</c:v>
                </c:pt>
                <c:pt idx="298" formatCode="0.0">
                  <c:v>10.62717770034843</c:v>
                </c:pt>
                <c:pt idx="299" formatCode="0.0">
                  <c:v>11.264932802389252</c:v>
                </c:pt>
                <c:pt idx="300" formatCode="0.0">
                  <c:v>12.080014932802388</c:v>
                </c:pt>
                <c:pt idx="301" formatCode="0.0">
                  <c:v>12.496888999502241</c:v>
                </c:pt>
                <c:pt idx="302" formatCode="0.0">
                  <c:v>14.285714285714286</c:v>
                </c:pt>
                <c:pt idx="303" formatCode="0.0">
                  <c:v>16.239422598307613</c:v>
                </c:pt>
                <c:pt idx="304" formatCode="0.0">
                  <c:v>18.367346938775501</c:v>
                </c:pt>
                <c:pt idx="305" formatCode="0.0">
                  <c:v>20.778372324539564</c:v>
                </c:pt>
                <c:pt idx="306" formatCode="0.0">
                  <c:v>22.875186660029861</c:v>
                </c:pt>
                <c:pt idx="307" formatCode="0.0">
                  <c:v>24.219138875062217</c:v>
                </c:pt>
                <c:pt idx="308" formatCode="0.0">
                  <c:v>24.953334992533588</c:v>
                </c:pt>
                <c:pt idx="309" formatCode="0.0">
                  <c:v>23.942259830761561</c:v>
                </c:pt>
                <c:pt idx="310" formatCode="0.0">
                  <c:v>24.937779990044799</c:v>
                </c:pt>
                <c:pt idx="311" formatCode="0.0">
                  <c:v>23.718267794922841</c:v>
                </c:pt>
                <c:pt idx="312" formatCode="0.0">
                  <c:v>22.669860627177705</c:v>
                </c:pt>
                <c:pt idx="313" formatCode="0.0">
                  <c:v>23.379168740666994</c:v>
                </c:pt>
                <c:pt idx="314" formatCode="0.0">
                  <c:v>21.817446490791433</c:v>
                </c:pt>
                <c:pt idx="315" formatCode="0.0">
                  <c:v>22.1783225485316</c:v>
                </c:pt>
                <c:pt idx="316" formatCode="0.0">
                  <c:v>23.693379790940764</c:v>
                </c:pt>
                <c:pt idx="317" formatCode="0.0">
                  <c:v>21.565455450472875</c:v>
                </c:pt>
                <c:pt idx="318" formatCode="0.0">
                  <c:v>21.997884519661532</c:v>
                </c:pt>
                <c:pt idx="319" formatCode="0.0">
                  <c:v>22.355649576903925</c:v>
                </c:pt>
                <c:pt idx="320" formatCode="0.0">
                  <c:v>21.609009457441516</c:v>
                </c:pt>
                <c:pt idx="321" formatCode="0.0">
                  <c:v>21.882777501244391</c:v>
                </c:pt>
                <c:pt idx="322" formatCode="0.0">
                  <c:v>20.86859133897461</c:v>
                </c:pt>
                <c:pt idx="323" formatCode="0.0">
                  <c:v>18.61622697859632</c:v>
                </c:pt>
                <c:pt idx="324" formatCode="0.0">
                  <c:v>19.4593081134893</c:v>
                </c:pt>
                <c:pt idx="325" formatCode="0.0">
                  <c:v>18.146465903434549</c:v>
                </c:pt>
                <c:pt idx="326" formatCode="0.0">
                  <c:v>16.189646590343447</c:v>
                </c:pt>
                <c:pt idx="327" formatCode="0.0">
                  <c:v>14.618591338974612</c:v>
                </c:pt>
                <c:pt idx="328" formatCode="0.0">
                  <c:v>14.123942259830759</c:v>
                </c:pt>
                <c:pt idx="329" formatCode="0.0">
                  <c:v>13.262195121951219</c:v>
                </c:pt>
                <c:pt idx="330" formatCode="0.0">
                  <c:v>12.447112991538075</c:v>
                </c:pt>
                <c:pt idx="331" formatCode="0.0">
                  <c:v>10.017421602787453</c:v>
                </c:pt>
                <c:pt idx="332" formatCode="0.0">
                  <c:v>8.8539074166251872</c:v>
                </c:pt>
                <c:pt idx="333" formatCode="0.0">
                  <c:v>8.2534843205574955</c:v>
                </c:pt>
                <c:pt idx="334" formatCode="0.0">
                  <c:v>7.0619711299153805</c:v>
                </c:pt>
                <c:pt idx="335" formatCode="0.0">
                  <c:v>6.5268790443006486</c:v>
                </c:pt>
                <c:pt idx="336" formatCode="0.0">
                  <c:v>6.2562220009955212</c:v>
                </c:pt>
                <c:pt idx="337" formatCode="0.0">
                  <c:v>5.9700099552015935</c:v>
                </c:pt>
                <c:pt idx="338" formatCode="0.0">
                  <c:v>5.522025883524142</c:v>
                </c:pt>
                <c:pt idx="339" formatCode="0.0">
                  <c:v>5.2389248382279732</c:v>
                </c:pt>
                <c:pt idx="340" formatCode="0.0">
                  <c:v>4.6260577401692373</c:v>
                </c:pt>
                <c:pt idx="341" formatCode="0.0">
                  <c:v>4.4922847187655544</c:v>
                </c:pt>
                <c:pt idx="342" formatCode="0.0">
                  <c:v>4.7598307615729221</c:v>
                </c:pt>
                <c:pt idx="343" formatCode="0.0">
                  <c:v>4.6571677451468387</c:v>
                </c:pt>
                <c:pt idx="344" formatCode="0.0">
                  <c:v>4.4611747137879529</c:v>
                </c:pt>
                <c:pt idx="345" formatCode="0.0">
                  <c:v>4.6291687406669979</c:v>
                </c:pt>
                <c:pt idx="346" formatCode="0.0">
                  <c:v>4.3709556993529111</c:v>
                </c:pt>
                <c:pt idx="347" formatCode="0.0">
                  <c:v>4.280736684917871</c:v>
                </c:pt>
                <c:pt idx="348" formatCode="0.0">
                  <c:v>4.2278496764559463</c:v>
                </c:pt>
                <c:pt idx="349" formatCode="0.0">
                  <c:v>3.6149825783972136</c:v>
                </c:pt>
                <c:pt idx="350" formatCode="0.0">
                  <c:v>3.5620955699352903</c:v>
                </c:pt>
                <c:pt idx="351" formatCode="0.0">
                  <c:v>3.4532105525136885</c:v>
                </c:pt>
                <c:pt idx="352" formatCode="0.0">
                  <c:v>3.2634395221503243</c:v>
                </c:pt>
                <c:pt idx="353" formatCode="0.0">
                  <c:v>3.098556495769039</c:v>
                </c:pt>
                <c:pt idx="354" formatCode="0.0">
                  <c:v>2.971005475360875</c:v>
                </c:pt>
                <c:pt idx="355" formatCode="0.0">
                  <c:v>2.974116475858636</c:v>
                </c:pt>
                <c:pt idx="356" formatCode="0.0">
                  <c:v>2.9243404678944751</c:v>
                </c:pt>
                <c:pt idx="357" formatCode="0.0">
                  <c:v>2.9958934793429566</c:v>
                </c:pt>
                <c:pt idx="358" formatCode="0.0">
                  <c:v>2.7812344449975117</c:v>
                </c:pt>
                <c:pt idx="359" formatCode="0.0">
                  <c:v>2.6847934295669491</c:v>
                </c:pt>
                <c:pt idx="360" formatCode="0.0">
                  <c:v>2.5447984071677454</c:v>
                </c:pt>
                <c:pt idx="361" formatCode="0.0">
                  <c:v>2.6972374315579892</c:v>
                </c:pt>
                <c:pt idx="362" formatCode="0.0">
                  <c:v>2.5821304131408658</c:v>
                </c:pt>
                <c:pt idx="363" formatCode="0.0">
                  <c:v>2.7190144350423098</c:v>
                </c:pt>
                <c:pt idx="364" formatCode="0.0">
                  <c:v>2.6785714285714284</c:v>
                </c:pt>
                <c:pt idx="365" formatCode="0.0">
                  <c:v>2.7003484320557494</c:v>
                </c:pt>
                <c:pt idx="366" formatCode="0.0">
                  <c:v>2.9834494773519165</c:v>
                </c:pt>
                <c:pt idx="367" formatCode="0.0">
                  <c:v>3.2385515181682432</c:v>
                </c:pt>
                <c:pt idx="368" formatCode="0.0">
                  <c:v>3.0643354902936784</c:v>
                </c:pt>
                <c:pt idx="369" formatCode="0.0">
                  <c:v>3.0021154803384769</c:v>
                </c:pt>
                <c:pt idx="370" formatCode="0.0">
                  <c:v>2.8527874564459932</c:v>
                </c:pt>
                <c:pt idx="371" formatCode="0.0">
                  <c:v>2.9896714783474372</c:v>
                </c:pt>
                <c:pt idx="372" formatCode="0.0">
                  <c:v>3.0301144848183172</c:v>
                </c:pt>
                <c:pt idx="373" formatCode="0.0">
                  <c:v>2.899452463912394</c:v>
                </c:pt>
                <c:pt idx="374" formatCode="0.0">
                  <c:v>2.722125435540069</c:v>
                </c:pt>
                <c:pt idx="375" formatCode="0.0">
                  <c:v>2.7283474365355898</c:v>
                </c:pt>
                <c:pt idx="376" formatCode="0.0">
                  <c:v>2.9772274763563966</c:v>
                </c:pt>
                <c:pt idx="377" formatCode="0.0">
                  <c:v>3.0021154803384769</c:v>
                </c:pt>
                <c:pt idx="378" formatCode="0.0">
                  <c:v>2.6194624191139857</c:v>
                </c:pt>
                <c:pt idx="379" formatCode="0.0">
                  <c:v>2.1217023394723742</c:v>
                </c:pt>
                <c:pt idx="380" formatCode="0.0">
                  <c:v>2.3519163763066198</c:v>
                </c:pt>
                <c:pt idx="381" formatCode="0.0">
                  <c:v>2.4856893977103036</c:v>
                </c:pt>
                <c:pt idx="382" formatCode="0.0">
                  <c:v>2.5043554006968636</c:v>
                </c:pt>
                <c:pt idx="383" formatCode="0.0">
                  <c:v>2.5634644101543054</c:v>
                </c:pt>
                <c:pt idx="384" formatCode="0.0">
                  <c:v>2.7252364360378287</c:v>
                </c:pt>
                <c:pt idx="385" formatCode="0.0">
                  <c:v>2.8994524639123931</c:v>
                </c:pt>
                <c:pt idx="386" formatCode="0.0">
                  <c:v>3.400323544051767</c:v>
                </c:pt>
                <c:pt idx="387" formatCode="0.0">
                  <c:v>3.1452215032354407</c:v>
                </c:pt>
                <c:pt idx="388" formatCode="0.0">
                  <c:v>2.961672473867595</c:v>
                </c:pt>
                <c:pt idx="389" formatCode="0.0">
                  <c:v>2.8310104529616722</c:v>
                </c:pt>
                <c:pt idx="390" formatCode="0.0">
                  <c:v>2.6070184171229469</c:v>
                </c:pt>
                <c:pt idx="391" formatCode="0.0">
                  <c:v>2.4825783972125435</c:v>
                </c:pt>
                <c:pt idx="392" formatCode="0.0">
                  <c:v>2.3394723743155792</c:v>
                </c:pt>
                <c:pt idx="393" formatCode="0.0">
                  <c:v>2.0843703334992534</c:v>
                </c:pt>
                <c:pt idx="394" formatCode="0.0">
                  <c:v>2.0252613240418111</c:v>
                </c:pt>
                <c:pt idx="395" formatCode="0.0">
                  <c:v>1.9443753111000499</c:v>
                </c:pt>
                <c:pt idx="396" formatCode="0.0">
                  <c:v>2.1217023394723742</c:v>
                </c:pt>
                <c:pt idx="397" formatCode="0.0">
                  <c:v>2.0968143354902931</c:v>
                </c:pt>
                <c:pt idx="398" formatCode="0.0">
                  <c:v>2.2212543554006974</c:v>
                </c:pt>
                <c:pt idx="399" formatCode="0.0">
                  <c:v>2.3643603782976612</c:v>
                </c:pt>
                <c:pt idx="400" formatCode="0.0">
                  <c:v>2.6972374315579892</c:v>
                </c:pt>
                <c:pt idx="401" formatCode="0.0">
                  <c:v>2.6723494275759081</c:v>
                </c:pt>
                <c:pt idx="402" formatCode="0.0">
                  <c:v>2.6723494275759077</c:v>
                </c:pt>
                <c:pt idx="403" formatCode="0.0">
                  <c:v>2.597685415629666</c:v>
                </c:pt>
                <c:pt idx="404" formatCode="0.0">
                  <c:v>2.7345694375311091</c:v>
                </c:pt>
                <c:pt idx="405" formatCode="0.0">
                  <c:v>2.5105774016923843</c:v>
                </c:pt>
                <c:pt idx="406" formatCode="0.0">
                  <c:v>2.4670233947237428</c:v>
                </c:pt>
                <c:pt idx="407" formatCode="0.0">
                  <c:v>2.2928073668491784</c:v>
                </c:pt>
                <c:pt idx="408" formatCode="0.0">
                  <c:v>2.1808113489298169</c:v>
                </c:pt>
                <c:pt idx="409" formatCode="0.0">
                  <c:v>2.3394723743155792</c:v>
                </c:pt>
                <c:pt idx="410" formatCode="0.0">
                  <c:v>2.2336983573917375</c:v>
                </c:pt>
                <c:pt idx="411" formatCode="0.0">
                  <c:v>2.0408163265306127</c:v>
                </c:pt>
                <c:pt idx="412" formatCode="0.0">
                  <c:v>1.9848183175709306</c:v>
                </c:pt>
                <c:pt idx="413" formatCode="0.0">
                  <c:v>2.0688153310104531</c:v>
                </c:pt>
                <c:pt idx="414" formatCode="0.0">
                  <c:v>1.9381533101045301</c:v>
                </c:pt>
                <c:pt idx="415" formatCode="0.0">
                  <c:v>1.919487307117969</c:v>
                </c:pt>
                <c:pt idx="416" formatCode="0.0">
                  <c:v>1.8230462916874062</c:v>
                </c:pt>
                <c:pt idx="417" formatCode="0.0">
                  <c:v>1.8448232951717272</c:v>
                </c:pt>
                <c:pt idx="418" formatCode="0.0">
                  <c:v>1.9412643106022893</c:v>
                </c:pt>
                <c:pt idx="419" formatCode="0.0">
                  <c:v>3.0176704828272771</c:v>
                </c:pt>
                <c:pt idx="420" formatCode="0.0">
                  <c:v>1.8603782976605276</c:v>
                </c:pt>
                <c:pt idx="421" formatCode="0.0">
                  <c:v>2.022150323544051</c:v>
                </c:pt>
                <c:pt idx="422" formatCode="0.0">
                  <c:v>2.180811348929816</c:v>
                </c:pt>
                <c:pt idx="423" formatCode="0.0">
                  <c:v>2.1870333499253367</c:v>
                </c:pt>
                <c:pt idx="424" formatCode="0.0">
                  <c:v>2.2399203583872578</c:v>
                </c:pt>
                <c:pt idx="425" formatCode="0.0">
                  <c:v>2.2523643603782975</c:v>
                </c:pt>
                <c:pt idx="426" formatCode="0.0">
                  <c:v>1.2661772025883522</c:v>
                </c:pt>
                <c:pt idx="427" formatCode="0.0">
                  <c:v>2.4483573917371833</c:v>
                </c:pt>
                <c:pt idx="428" formatCode="0.0">
                  <c:v>2.4608013937282225</c:v>
                </c:pt>
                <c:pt idx="429" formatCode="0.0">
                  <c:v>2.5105774016923847</c:v>
                </c:pt>
                <c:pt idx="430" formatCode="0.0">
                  <c:v>2.6754604280736682</c:v>
                </c:pt>
                <c:pt idx="431" formatCode="0.0">
                  <c:v>2.6443504230960677</c:v>
                </c:pt>
                <c:pt idx="432" formatCode="0.0">
                  <c:v>2.7874564459930311</c:v>
                </c:pt>
                <c:pt idx="433" formatCode="0.0">
                  <c:v>2.8652314584370342</c:v>
                </c:pt>
                <c:pt idx="434" formatCode="0.0">
                  <c:v>2.8558984569437524</c:v>
                </c:pt>
                <c:pt idx="435" formatCode="0.0">
                  <c:v>3.0176704828272771</c:v>
                </c:pt>
                <c:pt idx="436" formatCode="0.0">
                  <c:v>3.1918865107018415</c:v>
                </c:pt>
                <c:pt idx="437" formatCode="0.0">
                  <c:v>3.2696615231458437</c:v>
                </c:pt>
                <c:pt idx="438" formatCode="0.0">
                  <c:v>3.5558735689397714</c:v>
                </c:pt>
                <c:pt idx="439" formatCode="0.0">
                  <c:v>3.7549776007964173</c:v>
                </c:pt>
                <c:pt idx="440" formatCode="0.0">
                  <c:v>3.7674216027874583</c:v>
                </c:pt>
                <c:pt idx="441" formatCode="0.0">
                  <c:v>3.7487555998008957</c:v>
                </c:pt>
                <c:pt idx="442" formatCode="0.0">
                  <c:v>3.9074166251866598</c:v>
                </c:pt>
                <c:pt idx="443" formatCode="0.0">
                  <c:v>3.9229716276754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A96-4795-8581-791AAA8989B0}"/>
            </c:ext>
          </c:extLst>
        </c:ser>
        <c:ser>
          <c:idx val="8"/>
          <c:order val="4"/>
          <c:tx>
            <c:v>North West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Y$5:$CY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0</c:v>
                </c:pt>
                <c:pt idx="11" formatCode="0.0">
                  <c:v>0</c:v>
                </c:pt>
                <c:pt idx="12" formatCode="0.0">
                  <c:v>0</c:v>
                </c:pt>
                <c:pt idx="13" formatCode="0.0">
                  <c:v>1.4189932243073539E-2</c:v>
                </c:pt>
                <c:pt idx="14" formatCode="0.0">
                  <c:v>1.773741530384192E-2</c:v>
                </c:pt>
                <c:pt idx="15" formatCode="0.0">
                  <c:v>1.773741530384192E-2</c:v>
                </c:pt>
                <c:pt idx="16" formatCode="0.0">
                  <c:v>1.773741530384192E-2</c:v>
                </c:pt>
                <c:pt idx="17" formatCode="0.0">
                  <c:v>1.773741530384192E-2</c:v>
                </c:pt>
                <c:pt idx="18" formatCode="0.0">
                  <c:v>2.1284898364610314E-2</c:v>
                </c:pt>
                <c:pt idx="19" formatCode="0.0">
                  <c:v>2.1284898364610314E-2</c:v>
                </c:pt>
                <c:pt idx="20" formatCode="0.0">
                  <c:v>1.4189932243073539E-2</c:v>
                </c:pt>
                <c:pt idx="21" formatCode="0.0">
                  <c:v>1.0642449182305157E-2</c:v>
                </c:pt>
                <c:pt idx="22" formatCode="0.0">
                  <c:v>1.4189932243073539E-2</c:v>
                </c:pt>
                <c:pt idx="23" formatCode="0.0">
                  <c:v>1.4189932243073539E-2</c:v>
                </c:pt>
                <c:pt idx="24" formatCode="0.0">
                  <c:v>1.4189932243073539E-2</c:v>
                </c:pt>
                <c:pt idx="25" formatCode="0.0">
                  <c:v>1.773741530384192E-2</c:v>
                </c:pt>
                <c:pt idx="26" formatCode="0.0">
                  <c:v>1.773741530384192E-2</c:v>
                </c:pt>
                <c:pt idx="27" formatCode="0.0">
                  <c:v>1.0642449182305157E-2</c:v>
                </c:pt>
                <c:pt idx="28" formatCode="0.0">
                  <c:v>-2.8379864486147079E-2</c:v>
                </c:pt>
                <c:pt idx="29" formatCode="0.0">
                  <c:v>2.1284898364610314E-2</c:v>
                </c:pt>
                <c:pt idx="30" formatCode="0.0">
                  <c:v>2.1284898364610314E-2</c:v>
                </c:pt>
                <c:pt idx="31" formatCode="0.0">
                  <c:v>3.1927347546915466E-2</c:v>
                </c:pt>
                <c:pt idx="32" formatCode="0.0">
                  <c:v>2.8379864486147079E-2</c:v>
                </c:pt>
                <c:pt idx="33" formatCode="0.0">
                  <c:v>2.8379864486147079E-2</c:v>
                </c:pt>
                <c:pt idx="34" formatCode="0.0">
                  <c:v>3.9022313668452234E-2</c:v>
                </c:pt>
                <c:pt idx="35" formatCode="0.0">
                  <c:v>7.8044627336904468E-2</c:v>
                </c:pt>
                <c:pt idx="36" formatCode="0.0">
                  <c:v>2.8379864486147079E-2</c:v>
                </c:pt>
                <c:pt idx="37" formatCode="0.0">
                  <c:v>3.1927347546915466E-2</c:v>
                </c:pt>
                <c:pt idx="38" formatCode="0.0">
                  <c:v>2.1284898364610314E-2</c:v>
                </c:pt>
                <c:pt idx="39" formatCode="0.0">
                  <c:v>1.773741530384192E-2</c:v>
                </c:pt>
                <c:pt idx="40" formatCode="0.0">
                  <c:v>1.773741530384192E-2</c:v>
                </c:pt>
                <c:pt idx="41" formatCode="0.0">
                  <c:v>1.0642449182305157E-2</c:v>
                </c:pt>
                <c:pt idx="42" formatCode="0.0">
                  <c:v>7.0949661215367697E-3</c:v>
                </c:pt>
                <c:pt idx="43" formatCode="0.0">
                  <c:v>3.5474830607683853E-3</c:v>
                </c:pt>
                <c:pt idx="44" formatCode="0.0">
                  <c:v>3.5474830607683853E-3</c:v>
                </c:pt>
                <c:pt idx="45" formatCode="0.0">
                  <c:v>3.5474830607683853E-3</c:v>
                </c:pt>
                <c:pt idx="46" formatCode="0.0">
                  <c:v>1.4189932243073539E-2</c:v>
                </c:pt>
                <c:pt idx="47" formatCode="0.0">
                  <c:v>1.4189932243073539E-2</c:v>
                </c:pt>
                <c:pt idx="48" formatCode="0.0">
                  <c:v>2.1284898364610314E-2</c:v>
                </c:pt>
                <c:pt idx="49" formatCode="0.0">
                  <c:v>1.773741530384192E-2</c:v>
                </c:pt>
                <c:pt idx="50" formatCode="0.0">
                  <c:v>1.773741530384192E-2</c:v>
                </c:pt>
                <c:pt idx="51" formatCode="0.0">
                  <c:v>2.1284898364610314E-2</c:v>
                </c:pt>
                <c:pt idx="52" formatCode="0.0">
                  <c:v>3.5195038857029286E-2</c:v>
                </c:pt>
                <c:pt idx="53" formatCode="0.0">
                  <c:v>2.4552589674724134E-2</c:v>
                </c:pt>
                <c:pt idx="54" formatCode="0.0">
                  <c:v>2.8030124797828869E-2</c:v>
                </c:pt>
                <c:pt idx="55" formatCode="0.0">
                  <c:v>1.3910140492418975E-2</c:v>
                </c:pt>
                <c:pt idx="56" formatCode="0.0">
                  <c:v>2.1005106613955753E-2</c:v>
                </c:pt>
                <c:pt idx="57" formatCode="0.0">
                  <c:v>2.7960176860165234E-2</c:v>
                </c:pt>
                <c:pt idx="58" formatCode="0.0">
                  <c:v>3.1297816107942696E-2</c:v>
                </c:pt>
                <c:pt idx="59" formatCode="0.0">
                  <c:v>2.4342745861733208E-2</c:v>
                </c:pt>
                <c:pt idx="60" formatCode="0.0">
                  <c:v>2.0865210738628463E-2</c:v>
                </c:pt>
                <c:pt idx="61" formatCode="0.0">
                  <c:v>3.1297816107942696E-2</c:v>
                </c:pt>
                <c:pt idx="62" formatCode="0.0">
                  <c:v>5.2163026846571169E-2</c:v>
                </c:pt>
                <c:pt idx="63" formatCode="0.0">
                  <c:v>5.5640561969675886E-2</c:v>
                </c:pt>
                <c:pt idx="64" formatCode="0.0">
                  <c:v>5.2163026846571169E-2</c:v>
                </c:pt>
                <c:pt idx="65" formatCode="0.0">
                  <c:v>6.2595632215885391E-2</c:v>
                </c:pt>
                <c:pt idx="66" formatCode="0.0">
                  <c:v>7.3028237585199621E-2</c:v>
                </c:pt>
                <c:pt idx="67" formatCode="0.0">
                  <c:v>7.9983307831409112E-2</c:v>
                </c:pt>
                <c:pt idx="68" formatCode="0.0">
                  <c:v>8.6938378077618617E-2</c:v>
                </c:pt>
                <c:pt idx="69" formatCode="0.0">
                  <c:v>7.6505772708304359E-2</c:v>
                </c:pt>
                <c:pt idx="70" formatCode="0.0">
                  <c:v>7.3028237585199621E-2</c:v>
                </c:pt>
                <c:pt idx="71" formatCode="0.0">
                  <c:v>6.9550702462094868E-2</c:v>
                </c:pt>
                <c:pt idx="72" formatCode="0.0">
                  <c:v>6.607316733899013E-2</c:v>
                </c:pt>
                <c:pt idx="73" formatCode="0.0">
                  <c:v>5.9118097092780653E-2</c:v>
                </c:pt>
                <c:pt idx="74" formatCode="0.0">
                  <c:v>5.9118097092780653E-2</c:v>
                </c:pt>
                <c:pt idx="75" formatCode="0.0">
                  <c:v>8.3460842954513864E-2</c:v>
                </c:pt>
                <c:pt idx="76" formatCode="0.0">
                  <c:v>0.12866879955487551</c:v>
                </c:pt>
                <c:pt idx="77" formatCode="0.0">
                  <c:v>0.14953401029350397</c:v>
                </c:pt>
                <c:pt idx="78" formatCode="0.0">
                  <c:v>0.19474196689386569</c:v>
                </c:pt>
                <c:pt idx="79" formatCode="0.0">
                  <c:v>0.19821950201697042</c:v>
                </c:pt>
                <c:pt idx="80" formatCode="0.0">
                  <c:v>0.21908471275559885</c:v>
                </c:pt>
                <c:pt idx="81" formatCode="0.0">
                  <c:v>0.28168034497148431</c:v>
                </c:pt>
                <c:pt idx="82" formatCode="0.0">
                  <c:v>0.28168034497148431</c:v>
                </c:pt>
                <c:pt idx="83" formatCode="0.0">
                  <c:v>0.27124773960216991</c:v>
                </c:pt>
                <c:pt idx="84" formatCode="0.0">
                  <c:v>0.54249547920433994</c:v>
                </c:pt>
                <c:pt idx="85" formatCode="0.0">
                  <c:v>0.64682153289748257</c:v>
                </c:pt>
                <c:pt idx="86" formatCode="0.0">
                  <c:v>0.79983307831409101</c:v>
                </c:pt>
                <c:pt idx="87" formatCode="0.0">
                  <c:v>0.92502434274586176</c:v>
                </c:pt>
                <c:pt idx="88" formatCode="0.0">
                  <c:v>1.0641257476700514</c:v>
                </c:pt>
                <c:pt idx="89" formatCode="0.0">
                  <c:v>1.2101822228404508</c:v>
                </c:pt>
                <c:pt idx="90" formatCode="0.0">
                  <c:v>1.3666713033801638</c:v>
                </c:pt>
                <c:pt idx="91" formatCode="0.0">
                  <c:v>1.1580191959938799</c:v>
                </c:pt>
                <c:pt idx="92" formatCode="0.0">
                  <c:v>1.1927945472249268</c:v>
                </c:pt>
                <c:pt idx="93" formatCode="0.0">
                  <c:v>1.3666713033801638</c:v>
                </c:pt>
                <c:pt idx="94" formatCode="0.0">
                  <c:v>1.5857560161357631</c:v>
                </c:pt>
                <c:pt idx="95" formatCode="0.0">
                  <c:v>1.7700653776603146</c:v>
                </c:pt>
                <c:pt idx="96" formatCode="0.0">
                  <c:v>1.9961051606621234</c:v>
                </c:pt>
                <c:pt idx="97" formatCode="0.0">
                  <c:v>2.0760884684935315</c:v>
                </c:pt>
                <c:pt idx="98" formatCode="0.0">
                  <c:v>2.3542912783419117</c:v>
                </c:pt>
                <c:pt idx="99" formatCode="0.0">
                  <c:v>2.5907636667130336</c:v>
                </c:pt>
                <c:pt idx="100" formatCode="0.0">
                  <c:v>2.9524273195159267</c:v>
                </c:pt>
                <c:pt idx="101" formatCode="0.0">
                  <c:v>3.1054388649325366</c:v>
                </c:pt>
                <c:pt idx="102" formatCode="0.0">
                  <c:v>3.4079844206426486</c:v>
                </c:pt>
                <c:pt idx="103" formatCode="0.0">
                  <c:v>3.6548894143830846</c:v>
                </c:pt>
                <c:pt idx="104" formatCode="0.0">
                  <c:v>3.9574349700931983</c:v>
                </c:pt>
                <c:pt idx="105" formatCode="0.0">
                  <c:v>4.0791486994018662</c:v>
                </c:pt>
                <c:pt idx="106" formatCode="0.0">
                  <c:v>4.2286827096953683</c:v>
                </c:pt>
                <c:pt idx="107" formatCode="0.0">
                  <c:v>4.7259702322993453</c:v>
                </c:pt>
                <c:pt idx="108" formatCode="0.0">
                  <c:v>5.0772012797329262</c:v>
                </c:pt>
                <c:pt idx="109" formatCode="0.0">
                  <c:v>5.2058700792878003</c:v>
                </c:pt>
                <c:pt idx="110" formatCode="0.0">
                  <c:v>5.2128251495340105</c:v>
                </c:pt>
                <c:pt idx="111" formatCode="0.0">
                  <c:v>5.6196967589372662</c:v>
                </c:pt>
                <c:pt idx="112" formatCode="0.0">
                  <c:v>6.0265683683405209</c:v>
                </c:pt>
                <c:pt idx="113" formatCode="0.0">
                  <c:v>6.1726248435109179</c:v>
                </c:pt>
                <c:pt idx="114" formatCode="0.0">
                  <c:v>6.3395465294199465</c:v>
                </c:pt>
                <c:pt idx="115" formatCode="0.0">
                  <c:v>6.7811934900542514</c:v>
                </c:pt>
                <c:pt idx="116" formatCode="0.0">
                  <c:v>7.6158019195993889</c:v>
                </c:pt>
                <c:pt idx="117" formatCode="0.0">
                  <c:v>8.4017248574210619</c:v>
                </c:pt>
                <c:pt idx="118" formatCode="0.0">
                  <c:v>8.6208095701766592</c:v>
                </c:pt>
                <c:pt idx="119" formatCode="0.0">
                  <c:v>9.2328557518430934</c:v>
                </c:pt>
                <c:pt idx="120" formatCode="0.0">
                  <c:v>9.5771317290304623</c:v>
                </c:pt>
                <c:pt idx="121" formatCode="0.0">
                  <c:v>10.717763249408819</c:v>
                </c:pt>
                <c:pt idx="122" formatCode="0.0">
                  <c:v>12.199193211851442</c:v>
                </c:pt>
                <c:pt idx="123" formatCode="0.0">
                  <c:v>13.124217554597303</c:v>
                </c:pt>
                <c:pt idx="124" formatCode="0.0">
                  <c:v>13.426763110307416</c:v>
                </c:pt>
                <c:pt idx="125" formatCode="0.0">
                  <c:v>14.31005703157602</c:v>
                </c:pt>
                <c:pt idx="126" formatCode="0.0">
                  <c:v>13.7084434552789</c:v>
                </c:pt>
                <c:pt idx="127" formatCode="0.0">
                  <c:v>14.181388232021146</c:v>
                </c:pt>
                <c:pt idx="128" formatCode="0.0">
                  <c:v>13.983168730004174</c:v>
                </c:pt>
                <c:pt idx="129" formatCode="0.0">
                  <c:v>14.070107108081793</c:v>
                </c:pt>
                <c:pt idx="130" formatCode="0.0">
                  <c:v>13.84754486020309</c:v>
                </c:pt>
                <c:pt idx="131" formatCode="0.0">
                  <c:v>14.195298372513561</c:v>
                </c:pt>
                <c:pt idx="132" formatCode="0.0">
                  <c:v>13.256363889275283</c:v>
                </c:pt>
                <c:pt idx="133" formatCode="0.0">
                  <c:v>13.388510223953265</c:v>
                </c:pt>
                <c:pt idx="134" formatCode="0.0">
                  <c:v>13.381555153707057</c:v>
                </c:pt>
                <c:pt idx="135" formatCode="0.0">
                  <c:v>13.944915843650021</c:v>
                </c:pt>
                <c:pt idx="136" formatCode="0.0">
                  <c:v>13.305049380998751</c:v>
                </c:pt>
                <c:pt idx="137" formatCode="0.0">
                  <c:v>12.317429406037002</c:v>
                </c:pt>
                <c:pt idx="138" formatCode="0.0">
                  <c:v>11.587147030185006</c:v>
                </c:pt>
                <c:pt idx="139" formatCode="0.0">
                  <c:v>11.361107247183199</c:v>
                </c:pt>
                <c:pt idx="140" formatCode="0.0">
                  <c:v>10.978578383641672</c:v>
                </c:pt>
                <c:pt idx="141" formatCode="0.0">
                  <c:v>10.982055918764784</c:v>
                </c:pt>
                <c:pt idx="142" formatCode="0.0">
                  <c:v>10.119627208234803</c:v>
                </c:pt>
                <c:pt idx="143" formatCode="0.0">
                  <c:v>9.657115036861871</c:v>
                </c:pt>
                <c:pt idx="144" formatCode="0.0">
                  <c:v>9.6397273612463472</c:v>
                </c:pt>
                <c:pt idx="145" formatCode="0.0">
                  <c:v>9.1215746279037422</c:v>
                </c:pt>
                <c:pt idx="146" formatCode="0.0">
                  <c:v>8.8503268883015718</c:v>
                </c:pt>
                <c:pt idx="147" formatCode="0.0">
                  <c:v>8.6208095701766592</c:v>
                </c:pt>
                <c:pt idx="148" formatCode="0.0">
                  <c:v>8.5373487272221453</c:v>
                </c:pt>
                <c:pt idx="149" formatCode="0.0">
                  <c:v>7.7653359298928919</c:v>
                </c:pt>
                <c:pt idx="150" formatCode="0.0">
                  <c:v>6.92029489497844</c:v>
                </c:pt>
                <c:pt idx="151" formatCode="0.0">
                  <c:v>6.7046877173459452</c:v>
                </c:pt>
                <c:pt idx="152" formatCode="0.0">
                  <c:v>6.523855890944497</c:v>
                </c:pt>
                <c:pt idx="153" formatCode="0.0">
                  <c:v>6.2039226596188621</c:v>
                </c:pt>
                <c:pt idx="154" formatCode="0.0">
                  <c:v>6.1239393517874507</c:v>
                </c:pt>
                <c:pt idx="155" formatCode="0.0">
                  <c:v>5.2823758519961057</c:v>
                </c:pt>
                <c:pt idx="156" formatCode="0.0">
                  <c:v>5.004173042147726</c:v>
                </c:pt>
                <c:pt idx="157" formatCode="0.0">
                  <c:v>5.2197802197802208</c:v>
                </c:pt>
                <c:pt idx="158" formatCode="0.0">
                  <c:v>5.045903463624982</c:v>
                </c:pt>
                <c:pt idx="159" formatCode="0.0">
                  <c:v>4.9137571289470037</c:v>
                </c:pt>
                <c:pt idx="160" formatCode="0.0">
                  <c:v>4.77117818889971</c:v>
                </c:pt>
                <c:pt idx="161" formatCode="0.0">
                  <c:v>4.9172346640701079</c:v>
                </c:pt>
                <c:pt idx="162" formatCode="0.0">
                  <c:v>4.9937404367784115</c:v>
                </c:pt>
                <c:pt idx="163" formatCode="0.0">
                  <c:v>4.8163861455000694</c:v>
                </c:pt>
                <c:pt idx="164" formatCode="0.0">
                  <c:v>4.1278341911253298</c:v>
                </c:pt>
                <c:pt idx="165" formatCode="0.0">
                  <c:v>3.7974683544303796</c:v>
                </c:pt>
                <c:pt idx="166" formatCode="0.0">
                  <c:v>3.654889414383085</c:v>
                </c:pt>
                <c:pt idx="167" formatCode="0.0">
                  <c:v>3.7070524412296568</c:v>
                </c:pt>
                <c:pt idx="168" formatCode="0.0">
                  <c:v>3.4775351231047429</c:v>
                </c:pt>
                <c:pt idx="169" formatCode="0.0">
                  <c:v>3.4949227987202671</c:v>
                </c:pt>
                <c:pt idx="170" formatCode="0.0">
                  <c:v>3.2584504103491443</c:v>
                </c:pt>
                <c:pt idx="171" formatCode="0.0">
                  <c:v>3.1958547781332594</c:v>
                </c:pt>
                <c:pt idx="172" formatCode="0.0">
                  <c:v>3.133259145917374</c:v>
                </c:pt>
                <c:pt idx="173" formatCode="0.0">
                  <c:v>3.2654054805953545</c:v>
                </c:pt>
                <c:pt idx="174" formatCode="0.0">
                  <c:v>3.3975518152733346</c:v>
                </c:pt>
                <c:pt idx="175" formatCode="0.0">
                  <c:v>3.2862706913339821</c:v>
                </c:pt>
                <c:pt idx="176" formatCode="0.0">
                  <c:v>3.3314786479343437</c:v>
                </c:pt>
                <c:pt idx="177" formatCode="0.0">
                  <c:v>3.5157880094588947</c:v>
                </c:pt>
                <c:pt idx="178" formatCode="0.0">
                  <c:v>3.6270691333982472</c:v>
                </c:pt>
                <c:pt idx="179" formatCode="0.0">
                  <c:v>3.4984003338433713</c:v>
                </c:pt>
                <c:pt idx="180" formatCode="0.0">
                  <c:v>3.4949227987202676</c:v>
                </c:pt>
                <c:pt idx="181" formatCode="0.0">
                  <c:v>3.2897482264570876</c:v>
                </c:pt>
                <c:pt idx="182" formatCode="0.0">
                  <c:v>3.5088329392126867</c:v>
                </c:pt>
                <c:pt idx="183" formatCode="0.0">
                  <c:v>3.3940742801502291</c:v>
                </c:pt>
                <c:pt idx="184" formatCode="0.0">
                  <c:v>3.3071359020726119</c:v>
                </c:pt>
                <c:pt idx="185" formatCode="0.0">
                  <c:v>3.3732090694116006</c:v>
                </c:pt>
                <c:pt idx="186" formatCode="0.0">
                  <c:v>3.4844901933509531</c:v>
                </c:pt>
                <c:pt idx="187" formatCode="0.0">
                  <c:v>3.3871192099040202</c:v>
                </c:pt>
                <c:pt idx="188" formatCode="0.0">
                  <c:v>3.3662539991653908</c:v>
                </c:pt>
                <c:pt idx="189" formatCode="0.0">
                  <c:v>3.2062873835025734</c:v>
                </c:pt>
                <c:pt idx="190" formatCode="0.0">
                  <c:v>3.2932257615801932</c:v>
                </c:pt>
                <c:pt idx="191" formatCode="0.0">
                  <c:v>3.3175685074419254</c:v>
                </c:pt>
                <c:pt idx="192" formatCode="0.0">
                  <c:v>3.2028098483794691</c:v>
                </c:pt>
                <c:pt idx="193" formatCode="0.0">
                  <c:v>3.2375851996105167</c:v>
                </c:pt>
                <c:pt idx="194" formatCode="0.0">
                  <c:v>3.3106134371957157</c:v>
                </c:pt>
                <c:pt idx="195" formatCode="0.0">
                  <c:v>3.2167199888718874</c:v>
                </c:pt>
                <c:pt idx="196" formatCode="0.0">
                  <c:v>3.5123104743357909</c:v>
                </c:pt>
                <c:pt idx="197" formatCode="0.0">
                  <c:v>3.481012658227848</c:v>
                </c:pt>
                <c:pt idx="198" formatCode="0.0">
                  <c:v>3.3627764640422861</c:v>
                </c:pt>
                <c:pt idx="199" formatCode="0.0">
                  <c:v>3.3140909723188194</c:v>
                </c:pt>
                <c:pt idx="200" formatCode="0.0">
                  <c:v>3.0115454166087066</c:v>
                </c:pt>
                <c:pt idx="201" formatCode="0.0">
                  <c:v>2.9246070385310894</c:v>
                </c:pt>
                <c:pt idx="202" formatCode="0.0">
                  <c:v>3.0984837946863268</c:v>
                </c:pt>
                <c:pt idx="203" formatCode="0.0">
                  <c:v>2.8828766170538316</c:v>
                </c:pt>
                <c:pt idx="204" formatCode="0.0">
                  <c:v>2.7472527472527486</c:v>
                </c:pt>
                <c:pt idx="205" formatCode="0.0">
                  <c:v>2.6950897204061768</c:v>
                </c:pt>
                <c:pt idx="206" formatCode="0.0">
                  <c:v>2.8550563360689942</c:v>
                </c:pt>
                <c:pt idx="207" formatCode="0.0">
                  <c:v>3.2793156210877732</c:v>
                </c:pt>
                <c:pt idx="208" formatCode="0.0">
                  <c:v>3.1819446376408398</c:v>
                </c:pt>
                <c:pt idx="209" formatCode="0.0">
                  <c:v>3.1332591459173749</c:v>
                </c:pt>
                <c:pt idx="210" formatCode="0.0">
                  <c:v>3.2793156210877732</c:v>
                </c:pt>
                <c:pt idx="211" formatCode="0.0">
                  <c:v>3.373209069411601</c:v>
                </c:pt>
                <c:pt idx="212" formatCode="0.0">
                  <c:v>3.2862706913339825</c:v>
                </c:pt>
                <c:pt idx="213" formatCode="0.0">
                  <c:v>3.1019613298094315</c:v>
                </c:pt>
                <c:pt idx="214" formatCode="0.0">
                  <c:v>3.0637084434552788</c:v>
                </c:pt>
                <c:pt idx="215" formatCode="0.0">
                  <c:v>3.0845736541939077</c:v>
                </c:pt>
                <c:pt idx="216" formatCode="0.0">
                  <c:v>3.1923772430101542</c:v>
                </c:pt>
                <c:pt idx="217" formatCode="0.0">
                  <c:v>3.1645569620253173</c:v>
                </c:pt>
                <c:pt idx="218" formatCode="0.0">
                  <c:v>3.0497983029628601</c:v>
                </c:pt>
                <c:pt idx="219" formatCode="0.0">
                  <c:v>3.2967032967032965</c:v>
                </c:pt>
                <c:pt idx="220" formatCode="0.0">
                  <c:v>3.456669912366114</c:v>
                </c:pt>
                <c:pt idx="221" formatCode="0.0">
                  <c:v>3.3871192099040197</c:v>
                </c:pt>
                <c:pt idx="222" formatCode="0.0">
                  <c:v>3.3697315342884955</c:v>
                </c:pt>
                <c:pt idx="223" formatCode="0.0">
                  <c:v>3.3627764640422866</c:v>
                </c:pt>
                <c:pt idx="224" formatCode="0.0">
                  <c:v>3.4531923772430102</c:v>
                </c:pt>
                <c:pt idx="225" formatCode="0.0">
                  <c:v>3.6062039226596183</c:v>
                </c:pt>
                <c:pt idx="226" formatCode="0.0">
                  <c:v>3.6827096953679237</c:v>
                </c:pt>
                <c:pt idx="227" formatCode="0.0">
                  <c:v>3.5853387119209912</c:v>
                </c:pt>
                <c:pt idx="228" formatCode="0.0">
                  <c:v>3.4114619557657533</c:v>
                </c:pt>
                <c:pt idx="229" formatCode="0.0">
                  <c:v>3.3210460425650297</c:v>
                </c:pt>
                <c:pt idx="230" formatCode="0.0">
                  <c:v>3.1123939351787442</c:v>
                </c:pt>
                <c:pt idx="231" formatCode="0.0">
                  <c:v>2.7750730282375851</c:v>
                </c:pt>
                <c:pt idx="232" formatCode="0.0">
                  <c:v>2.6220614828209765</c:v>
                </c:pt>
                <c:pt idx="233" formatCode="0.0">
                  <c:v>2.3716789539574346</c:v>
                </c:pt>
                <c:pt idx="234" formatCode="0.0">
                  <c:v>2.4655724022812633</c:v>
                </c:pt>
                <c:pt idx="235" formatCode="0.0">
                  <c:v>2.2812630407567118</c:v>
                </c:pt>
                <c:pt idx="236" formatCode="0.0">
                  <c:v>2.479482542773682</c:v>
                </c:pt>
                <c:pt idx="237" formatCode="0.0">
                  <c:v>2.5872861315899294</c:v>
                </c:pt>
                <c:pt idx="238" formatCode="0.0">
                  <c:v>2.6359716233133947</c:v>
                </c:pt>
                <c:pt idx="239" formatCode="0.0">
                  <c:v>2.3403811378494925</c:v>
                </c:pt>
                <c:pt idx="240" formatCode="0.0">
                  <c:v>2.069133398247323</c:v>
                </c:pt>
                <c:pt idx="241" formatCode="0.0">
                  <c:v>1.8152733342606759</c:v>
                </c:pt>
                <c:pt idx="242" formatCode="0.0">
                  <c:v>1.7179023508137434</c:v>
                </c:pt>
                <c:pt idx="243" formatCode="0.0">
                  <c:v>1.4049241897343161</c:v>
                </c:pt>
                <c:pt idx="244" formatCode="0.0">
                  <c:v>1.4084017248574214</c:v>
                </c:pt>
                <c:pt idx="245" formatCode="0.0">
                  <c:v>1.3423285575184312</c:v>
                </c:pt>
                <c:pt idx="246" formatCode="0.0">
                  <c:v>1.4049241897343161</c:v>
                </c:pt>
                <c:pt idx="247" formatCode="0.0">
                  <c:v>1.5266379190429824</c:v>
                </c:pt>
                <c:pt idx="248" formatCode="0.0">
                  <c:v>1.4953401029350395</c:v>
                </c:pt>
                <c:pt idx="249" formatCode="0.0">
                  <c:v>1.5509806649047158</c:v>
                </c:pt>
                <c:pt idx="250" formatCode="0.0">
                  <c:v>1.6066212268743916</c:v>
                </c:pt>
                <c:pt idx="251" formatCode="0.0">
                  <c:v>1.4814299624426204</c:v>
                </c:pt>
                <c:pt idx="252" formatCode="0.0">
                  <c:v>1.4709973570733061</c:v>
                </c:pt>
                <c:pt idx="253" formatCode="0.0">
                  <c:v>1.3840589789956883</c:v>
                </c:pt>
                <c:pt idx="254" formatCode="0.0">
                  <c:v>1.2206148282097649</c:v>
                </c:pt>
                <c:pt idx="255" formatCode="0.0">
                  <c:v>1.1093337042704132</c:v>
                </c:pt>
                <c:pt idx="256" formatCode="0.0">
                  <c:v>1.0571706774238419</c:v>
                </c:pt>
                <c:pt idx="257" formatCode="0.0">
                  <c:v>0.97370983446932857</c:v>
                </c:pt>
                <c:pt idx="258" formatCode="0.0">
                  <c:v>0.92502434274586176</c:v>
                </c:pt>
                <c:pt idx="259" formatCode="0.0">
                  <c:v>0.93545694811517599</c:v>
                </c:pt>
                <c:pt idx="260" formatCode="0.0">
                  <c:v>0.90068159688412852</c:v>
                </c:pt>
                <c:pt idx="261" formatCode="0.0">
                  <c:v>0.83113089442203381</c:v>
                </c:pt>
                <c:pt idx="262" formatCode="0.0">
                  <c:v>0.85199610516066204</c:v>
                </c:pt>
                <c:pt idx="263" formatCode="0.0">
                  <c:v>0.77549033245235788</c:v>
                </c:pt>
                <c:pt idx="264" formatCode="0.0">
                  <c:v>0.7720127973292531</c:v>
                </c:pt>
                <c:pt idx="265" formatCode="0.0">
                  <c:v>0.80331061343719579</c:v>
                </c:pt>
                <c:pt idx="266" formatCode="0.0">
                  <c:v>0.80331061343719579</c:v>
                </c:pt>
                <c:pt idx="267" formatCode="0.0">
                  <c:v>0.72332730560578662</c:v>
                </c:pt>
                <c:pt idx="268" formatCode="0.0">
                  <c:v>0.81374321880651013</c:v>
                </c:pt>
                <c:pt idx="269" formatCode="0.0">
                  <c:v>0.82417582417582436</c:v>
                </c:pt>
                <c:pt idx="270" formatCode="0.0">
                  <c:v>0.92850187786896654</c:v>
                </c:pt>
                <c:pt idx="271" formatCode="0.0">
                  <c:v>0.95284462373069989</c:v>
                </c:pt>
                <c:pt idx="272" formatCode="0.0">
                  <c:v>0.94936708860759522</c:v>
                </c:pt>
                <c:pt idx="273" formatCode="0.0">
                  <c:v>0.95284462373069989</c:v>
                </c:pt>
                <c:pt idx="274" formatCode="0.0">
                  <c:v>1.1301989150090417</c:v>
                </c:pt>
                <c:pt idx="275" formatCode="0.0">
                  <c:v>1.2971206009180694</c:v>
                </c:pt>
                <c:pt idx="276" formatCode="0.0">
                  <c:v>1.5857560161357631</c:v>
                </c:pt>
                <c:pt idx="277" formatCode="0.0">
                  <c:v>1.8396160801224091</c:v>
                </c:pt>
                <c:pt idx="278" formatCode="0.0">
                  <c:v>2.121296425093893</c:v>
                </c:pt>
                <c:pt idx="279" formatCode="0.0">
                  <c:v>2.1734594519404644</c:v>
                </c:pt>
                <c:pt idx="280" formatCode="0.0">
                  <c:v>2.5594658506050907</c:v>
                </c:pt>
                <c:pt idx="281" formatCode="0.0">
                  <c:v>2.9211295034079852</c:v>
                </c:pt>
                <c:pt idx="282" formatCode="0.0">
                  <c:v>2.9872026707469752</c:v>
                </c:pt>
                <c:pt idx="283" formatCode="0.0">
                  <c:v>2.9211295034079852</c:v>
                </c:pt>
                <c:pt idx="284" formatCode="0.0">
                  <c:v>3.2793156210877732</c:v>
                </c:pt>
                <c:pt idx="285" formatCode="0.0">
                  <c:v>3.3905967450271257</c:v>
                </c:pt>
                <c:pt idx="286" formatCode="0.0">
                  <c:v>3.7279176519682862</c:v>
                </c:pt>
                <c:pt idx="287" formatCode="0.0">
                  <c:v>4.2043399638336361</c:v>
                </c:pt>
                <c:pt idx="288" formatCode="0.0">
                  <c:v>4.965920155793575</c:v>
                </c:pt>
                <c:pt idx="289" formatCode="0.0">
                  <c:v>5.8805118931701212</c:v>
                </c:pt>
                <c:pt idx="290" formatCode="0.0">
                  <c:v>6.7325079983307825</c:v>
                </c:pt>
                <c:pt idx="291" formatCode="0.0">
                  <c:v>6.5099457504520801</c:v>
                </c:pt>
                <c:pt idx="292" formatCode="0.0">
                  <c:v>6.4751703992210334</c:v>
                </c:pt>
                <c:pt idx="293" formatCode="0.0">
                  <c:v>6.5099457504520784</c:v>
                </c:pt>
                <c:pt idx="294" formatCode="0.0">
                  <c:v>6.4925580748365554</c:v>
                </c:pt>
                <c:pt idx="295" formatCode="0.0">
                  <c:v>7.0941716511336779</c:v>
                </c:pt>
                <c:pt idx="296" formatCode="0.0">
                  <c:v>8.0226735290026454</c:v>
                </c:pt>
                <c:pt idx="297" formatCode="0.0">
                  <c:v>8.8746696341633076</c:v>
                </c:pt>
                <c:pt idx="298" formatCode="0.0">
                  <c:v>9.4554179997218029</c:v>
                </c:pt>
                <c:pt idx="299" formatCode="0.0">
                  <c:v>10.150925024342744</c:v>
                </c:pt>
                <c:pt idx="300" formatCode="0.0">
                  <c:v>10.648212546946722</c:v>
                </c:pt>
                <c:pt idx="301" formatCode="0.0">
                  <c:v>11.430657949645292</c:v>
                </c:pt>
                <c:pt idx="302" formatCode="0.0">
                  <c:v>12.616497426624012</c:v>
                </c:pt>
                <c:pt idx="303" formatCode="0.0">
                  <c:v>14.15356795103631</c:v>
                </c:pt>
                <c:pt idx="304" formatCode="0.0">
                  <c:v>14.890805397134512</c:v>
                </c:pt>
                <c:pt idx="305" formatCode="0.0">
                  <c:v>16.539157045486164</c:v>
                </c:pt>
                <c:pt idx="306" formatCode="0.0">
                  <c:v>17.359855334538889</c:v>
                </c:pt>
                <c:pt idx="307" formatCode="0.0">
                  <c:v>18.382250660731668</c:v>
                </c:pt>
                <c:pt idx="308" formatCode="0.0">
                  <c:v>18.559604952010019</c:v>
                </c:pt>
                <c:pt idx="309" formatCode="0.0">
                  <c:v>18.70566142718042</c:v>
                </c:pt>
                <c:pt idx="310" formatCode="0.0">
                  <c:v>17.749339268326608</c:v>
                </c:pt>
                <c:pt idx="311" formatCode="0.0">
                  <c:v>17.999721797190148</c:v>
                </c:pt>
                <c:pt idx="312" formatCode="0.0">
                  <c:v>17.394630685769922</c:v>
                </c:pt>
                <c:pt idx="313" formatCode="0.0">
                  <c:v>17.140770621783279</c:v>
                </c:pt>
                <c:pt idx="314" formatCode="0.0">
                  <c:v>15.739323967172064</c:v>
                </c:pt>
                <c:pt idx="315" formatCode="0.0">
                  <c:v>14.570872165808872</c:v>
                </c:pt>
                <c:pt idx="316" formatCode="0.0">
                  <c:v>13.138127695089718</c:v>
                </c:pt>
                <c:pt idx="317" formatCode="0.0">
                  <c:v>12.978161079426902</c:v>
                </c:pt>
                <c:pt idx="318" formatCode="0.0">
                  <c:v>12.091389623035193</c:v>
                </c:pt>
                <c:pt idx="319" formatCode="0.0">
                  <c:v>12.11920990402003</c:v>
                </c:pt>
                <c:pt idx="320" formatCode="0.0">
                  <c:v>11.628877451662261</c:v>
                </c:pt>
                <c:pt idx="321" formatCode="0.0">
                  <c:v>11.594102100431215</c:v>
                </c:pt>
                <c:pt idx="322" formatCode="0.0">
                  <c:v>12.05661427180415</c:v>
                </c:pt>
                <c:pt idx="323" formatCode="0.0">
                  <c:v>11.388927528168036</c:v>
                </c:pt>
                <c:pt idx="324" formatCode="0.0">
                  <c:v>10.582139379607739</c:v>
                </c:pt>
                <c:pt idx="325" formatCode="0.0">
                  <c:v>9.9909584086799281</c:v>
                </c:pt>
                <c:pt idx="326" formatCode="0.0">
                  <c:v>8.6034218945611354</c:v>
                </c:pt>
                <c:pt idx="327" formatCode="0.0">
                  <c:v>8.4504103491445264</c:v>
                </c:pt>
                <c:pt idx="328" formatCode="0.0">
                  <c:v>8.2800111281123936</c:v>
                </c:pt>
                <c:pt idx="329" formatCode="0.0">
                  <c:v>7.5462512171372929</c:v>
                </c:pt>
                <c:pt idx="330" formatCode="0.0">
                  <c:v>7.1532897482264568</c:v>
                </c:pt>
                <c:pt idx="331" formatCode="0.0">
                  <c:v>6.1795799137571308</c:v>
                </c:pt>
                <c:pt idx="332" formatCode="0.0">
                  <c:v>5.244122965641953</c:v>
                </c:pt>
                <c:pt idx="333" formatCode="0.0">
                  <c:v>5.0667686743636118</c:v>
                </c:pt>
                <c:pt idx="334" formatCode="0.0">
                  <c:v>4.437334817081652</c:v>
                </c:pt>
                <c:pt idx="335" formatCode="0.0">
                  <c:v>4.2947558770343575</c:v>
                </c:pt>
                <c:pt idx="336" formatCode="0.0">
                  <c:v>4.1799972179719012</c:v>
                </c:pt>
                <c:pt idx="337" formatCode="0.0">
                  <c:v>4.3225761580191957</c:v>
                </c:pt>
                <c:pt idx="338" formatCode="0.0">
                  <c:v>3.8009458895534842</c:v>
                </c:pt>
                <c:pt idx="339" formatCode="0.0">
                  <c:v>3.6409792738906659</c:v>
                </c:pt>
                <c:pt idx="340" formatCode="0.0">
                  <c:v>3.5853387119209912</c:v>
                </c:pt>
                <c:pt idx="341" formatCode="0.0">
                  <c:v>3.4705800528585344</c:v>
                </c:pt>
                <c:pt idx="342" formatCode="0.0">
                  <c:v>3.4531923772430102</c:v>
                </c:pt>
                <c:pt idx="343" formatCode="0.0">
                  <c:v>3.5053554040895807</c:v>
                </c:pt>
                <c:pt idx="344" formatCode="0.0">
                  <c:v>3.1263040756711646</c:v>
                </c:pt>
                <c:pt idx="345" formatCode="0.0">
                  <c:v>3.2827931562108787</c:v>
                </c:pt>
                <c:pt idx="346" formatCode="0.0">
                  <c:v>3.2619279454722512</c:v>
                </c:pt>
                <c:pt idx="347" formatCode="0.0">
                  <c:v>3.0810961190708026</c:v>
                </c:pt>
                <c:pt idx="348" formatCode="0.0">
                  <c:v>3.0219780219780223</c:v>
                </c:pt>
                <c:pt idx="349" formatCode="0.0">
                  <c:v>2.9385171790235081</c:v>
                </c:pt>
                <c:pt idx="350" formatCode="0.0">
                  <c:v>2.7159549311448039</c:v>
                </c:pt>
                <c:pt idx="351" formatCode="0.0">
                  <c:v>2.6116288774516625</c:v>
                </c:pt>
                <c:pt idx="352" formatCode="0.0">
                  <c:v>2.3751564890805392</c:v>
                </c:pt>
                <c:pt idx="353" formatCode="0.0">
                  <c:v>2.2882181110029212</c:v>
                </c:pt>
                <c:pt idx="354" formatCode="0.0">
                  <c:v>2.2186674085408264</c:v>
                </c:pt>
                <c:pt idx="355" formatCode="0.0">
                  <c:v>2.1838920573097793</c:v>
                </c:pt>
                <c:pt idx="356" formatCode="0.0">
                  <c:v>2.305605786618445</c:v>
                </c:pt>
                <c:pt idx="357" formatCode="0.0">
                  <c:v>2.3334260676032827</c:v>
                </c:pt>
                <c:pt idx="358" formatCode="0.0">
                  <c:v>2.2360550841563498</c:v>
                </c:pt>
                <c:pt idx="359" formatCode="0.0">
                  <c:v>2.2012797329253035</c:v>
                </c:pt>
                <c:pt idx="360" formatCode="0.0">
                  <c:v>2.0447906523855894</c:v>
                </c:pt>
                <c:pt idx="361" formatCode="0.0">
                  <c:v>2.0517457226317988</c:v>
                </c:pt>
                <c:pt idx="362" formatCode="0.0">
                  <c:v>2.0100153011545414</c:v>
                </c:pt>
                <c:pt idx="363" formatCode="0.0">
                  <c:v>1.9404645986924469</c:v>
                </c:pt>
                <c:pt idx="364" formatCode="0.0">
                  <c:v>1.9995826957852276</c:v>
                </c:pt>
                <c:pt idx="365" formatCode="0.0">
                  <c:v>2.034358047016275</c:v>
                </c:pt>
                <c:pt idx="366" formatCode="0.0">
                  <c:v>2.1491167060787317</c:v>
                </c:pt>
                <c:pt idx="367" formatCode="0.0">
                  <c:v>2.1630268465711509</c:v>
                </c:pt>
                <c:pt idx="368" formatCode="0.0">
                  <c:v>2.2151898734177213</c:v>
                </c:pt>
                <c:pt idx="369" formatCode="0.0">
                  <c:v>2.2777855056336072</c:v>
                </c:pt>
                <c:pt idx="370" formatCode="0.0">
                  <c:v>2.2360550841563493</c:v>
                </c:pt>
                <c:pt idx="371" formatCode="0.0">
                  <c:v>2.0899986089859515</c:v>
                </c:pt>
                <c:pt idx="372" formatCode="0.0">
                  <c:v>2.1804145221866746</c:v>
                </c:pt>
                <c:pt idx="373" formatCode="0.0">
                  <c:v>2.2186674085408264</c:v>
                </c:pt>
                <c:pt idx="374" formatCode="0.0">
                  <c:v>2.437752121296425</c:v>
                </c:pt>
                <c:pt idx="375" formatCode="0.0">
                  <c:v>2.427319515927111</c:v>
                </c:pt>
                <c:pt idx="376" formatCode="0.0">
                  <c:v>2.427319515927111</c:v>
                </c:pt>
                <c:pt idx="377" formatCode="0.0">
                  <c:v>2.5177354291278347</c:v>
                </c:pt>
                <c:pt idx="378" formatCode="0.0">
                  <c:v>2.5177354291278347</c:v>
                </c:pt>
                <c:pt idx="379" formatCode="0.0">
                  <c:v>2.3994992349422728</c:v>
                </c:pt>
                <c:pt idx="380" formatCode="0.0">
                  <c:v>2.3508137432188061</c:v>
                </c:pt>
                <c:pt idx="381" formatCode="0.0">
                  <c:v>2.3021282514953407</c:v>
                </c:pt>
                <c:pt idx="382" formatCode="0.0">
                  <c:v>2.253442759771874</c:v>
                </c:pt>
                <c:pt idx="383" formatCode="0.0">
                  <c:v>2.3125608568646543</c:v>
                </c:pt>
                <c:pt idx="384" formatCode="0.0">
                  <c:v>2.2221449436639311</c:v>
                </c:pt>
                <c:pt idx="385" formatCode="0.0">
                  <c:v>2.4203644456809021</c:v>
                </c:pt>
                <c:pt idx="386" formatCode="0.0">
                  <c:v>2.58033106134372</c:v>
                </c:pt>
                <c:pt idx="387" formatCode="0.0">
                  <c:v>2.6324940881902905</c:v>
                </c:pt>
                <c:pt idx="388" formatCode="0.0">
                  <c:v>2.6603143691751292</c:v>
                </c:pt>
                <c:pt idx="389" formatCode="0.0">
                  <c:v>2.4307970510502162</c:v>
                </c:pt>
                <c:pt idx="390" formatCode="0.0">
                  <c:v>2.1943246626790938</c:v>
                </c:pt>
                <c:pt idx="391" formatCode="0.0">
                  <c:v>2.1491167060787317</c:v>
                </c:pt>
                <c:pt idx="392" formatCode="0.0">
                  <c:v>1.9404645986924465</c:v>
                </c:pt>
                <c:pt idx="393" formatCode="0.0">
                  <c:v>1.6935596049520103</c:v>
                </c:pt>
                <c:pt idx="394" formatCode="0.0">
                  <c:v>1.6413965781054387</c:v>
                </c:pt>
                <c:pt idx="395" formatCode="0.0">
                  <c:v>1.8257059396299904</c:v>
                </c:pt>
                <c:pt idx="396" formatCode="0.0">
                  <c:v>2.1873695924328844</c:v>
                </c:pt>
                <c:pt idx="397" formatCode="0.0">
                  <c:v>2.3612463485881205</c:v>
                </c:pt>
                <c:pt idx="398" formatCode="0.0">
                  <c:v>2.4412296564195297</c:v>
                </c:pt>
                <c:pt idx="399" formatCode="0.0">
                  <c:v>2.6672694394213381</c:v>
                </c:pt>
                <c:pt idx="400" formatCode="0.0">
                  <c:v>3.12282654054806</c:v>
                </c:pt>
                <c:pt idx="401" formatCode="0.0">
                  <c:v>3.4253720962581724</c:v>
                </c:pt>
                <c:pt idx="402" formatCode="0.0">
                  <c:v>3.3871192099040202</c:v>
                </c:pt>
                <c:pt idx="403" formatCode="0.0">
                  <c:v>3.4531923772430102</c:v>
                </c:pt>
                <c:pt idx="404" formatCode="0.0">
                  <c:v>3.6235915982751439</c:v>
                </c:pt>
                <c:pt idx="405" formatCode="0.0">
                  <c:v>3.602726387536515</c:v>
                </c:pt>
                <c:pt idx="406" formatCode="0.0">
                  <c:v>3.5888162470440959</c:v>
                </c:pt>
                <c:pt idx="407" formatCode="0.0">
                  <c:v>3.4705800528585344</c:v>
                </c:pt>
                <c:pt idx="408" formatCode="0.0">
                  <c:v>3.5401307553206296</c:v>
                </c:pt>
                <c:pt idx="409" formatCode="0.0">
                  <c:v>3.4218945611350682</c:v>
                </c:pt>
                <c:pt idx="410" formatCode="0.0">
                  <c:v>3.5227430797051049</c:v>
                </c:pt>
                <c:pt idx="411" formatCode="0.0">
                  <c:v>3.5470858255668385</c:v>
                </c:pt>
                <c:pt idx="412" formatCode="0.0">
                  <c:v>3.6305466685213523</c:v>
                </c:pt>
                <c:pt idx="413" formatCode="0.0">
                  <c:v>3.7105299763527611</c:v>
                </c:pt>
                <c:pt idx="414" formatCode="0.0">
                  <c:v>3.4671025177354298</c:v>
                </c:pt>
                <c:pt idx="415" formatCode="0.0">
                  <c:v>3.199332313256364</c:v>
                </c:pt>
                <c:pt idx="416" formatCode="0.0">
                  <c:v>3.3001808318264021</c:v>
                </c:pt>
                <c:pt idx="417" formatCode="0.0">
                  <c:v>3.2758380859646676</c:v>
                </c:pt>
                <c:pt idx="418" formatCode="0.0">
                  <c:v>3.2549728752260401</c:v>
                </c:pt>
                <c:pt idx="419" formatCode="0.0">
                  <c:v>3.3314786479343437</c:v>
                </c:pt>
                <c:pt idx="420" formatCode="0.0">
                  <c:v>3.3175685074419254</c:v>
                </c:pt>
                <c:pt idx="421" formatCode="0.0">
                  <c:v>3.6618444846292943</c:v>
                </c:pt>
                <c:pt idx="422" formatCode="0.0">
                  <c:v>3.9574349700931983</c:v>
                </c:pt>
                <c:pt idx="423" formatCode="0.0">
                  <c:v>4.1034914452635984</c:v>
                </c:pt>
                <c:pt idx="424" formatCode="0.0">
                  <c:v>4.4686326331895954</c:v>
                </c:pt>
                <c:pt idx="425" formatCode="0.0">
                  <c:v>4.6529419947141477</c:v>
                </c:pt>
                <c:pt idx="426" formatCode="0.0">
                  <c:v>4.7677006537766022</c:v>
                </c:pt>
                <c:pt idx="427" formatCode="0.0">
                  <c:v>4.9763527611628895</c:v>
                </c:pt>
                <c:pt idx="428" formatCode="0.0">
                  <c:v>5.2893309222423159</c:v>
                </c:pt>
                <c:pt idx="429" formatCode="0.0">
                  <c:v>5.4145221866740867</c:v>
                </c:pt>
                <c:pt idx="430" formatCode="0.0">
                  <c:v>5.9500625956322173</c:v>
                </c:pt>
                <c:pt idx="431" formatCode="0.0">
                  <c:v>6.1308944220336636</c:v>
                </c:pt>
                <c:pt idx="432" formatCode="0.0">
                  <c:v>6.5586312421755455</c:v>
                </c:pt>
                <c:pt idx="433" formatCode="0.0">
                  <c:v>6.6212268743914304</c:v>
                </c:pt>
                <c:pt idx="434" formatCode="0.0">
                  <c:v>6.6316594797607475</c:v>
                </c:pt>
                <c:pt idx="435" formatCode="0.0">
                  <c:v>6.8368340520239252</c:v>
                </c:pt>
                <c:pt idx="436" formatCode="0.0">
                  <c:v>7.174154958965083</c:v>
                </c:pt>
                <c:pt idx="437" formatCode="0.0">
                  <c:v>7.0663513701488387</c:v>
                </c:pt>
                <c:pt idx="438" formatCode="0.0">
                  <c:v>7.1915426345806104</c:v>
                </c:pt>
                <c:pt idx="439" formatCode="0.0">
                  <c:v>7.3480317151203227</c:v>
                </c:pt>
                <c:pt idx="440" formatCode="0.0">
                  <c:v>7.6610098761997483</c:v>
                </c:pt>
                <c:pt idx="441" formatCode="0.0">
                  <c:v>8.2730560578661869</c:v>
                </c:pt>
                <c:pt idx="442" formatCode="0.0">
                  <c:v>8.6764501321463374</c:v>
                </c:pt>
                <c:pt idx="443" formatCode="0.0">
                  <c:v>9.04159132007232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A96-4795-8581-791AAA8989B0}"/>
            </c:ext>
          </c:extLst>
        </c:ser>
        <c:ser>
          <c:idx val="0"/>
          <c:order val="5"/>
          <c:tx>
            <c:v>Eastern Cap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layout>
                <c:manualLayout>
                  <c:x val="-9.2423450682264513E-2"/>
                  <c:y val="-3.83659891459258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K$5:$CK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0</c:v>
                </c:pt>
                <c:pt idx="11" formatCode="0.0">
                  <c:v>2.1287012793494695E-3</c:v>
                </c:pt>
                <c:pt idx="12" formatCode="0.0">
                  <c:v>4.2574025586989365E-3</c:v>
                </c:pt>
                <c:pt idx="13" formatCode="0.0">
                  <c:v>4.2574025586989365E-3</c:v>
                </c:pt>
                <c:pt idx="14" formatCode="0.0">
                  <c:v>4.2574025586989365E-3</c:v>
                </c:pt>
                <c:pt idx="15" formatCode="0.0">
                  <c:v>4.2574025586989365E-3</c:v>
                </c:pt>
                <c:pt idx="16" formatCode="0.0">
                  <c:v>1.0643506396747347E-2</c:v>
                </c:pt>
                <c:pt idx="17" formatCode="0.0">
                  <c:v>1.7029610234795749E-2</c:v>
                </c:pt>
                <c:pt idx="18" formatCode="0.0">
                  <c:v>1.915831151414522E-2</c:v>
                </c:pt>
                <c:pt idx="19" formatCode="0.0">
                  <c:v>2.1287012793494695E-2</c:v>
                </c:pt>
                <c:pt idx="20" formatCode="0.0">
                  <c:v>2.1287012793494695E-2</c:v>
                </c:pt>
                <c:pt idx="21" formatCode="0.0">
                  <c:v>2.1287012793494695E-2</c:v>
                </c:pt>
                <c:pt idx="22" formatCode="0.0">
                  <c:v>2.7673116631543104E-2</c:v>
                </c:pt>
                <c:pt idx="23" formatCode="0.0">
                  <c:v>2.5544415352193626E-2</c:v>
                </c:pt>
                <c:pt idx="24" formatCode="0.0">
                  <c:v>2.7673116631543104E-2</c:v>
                </c:pt>
                <c:pt idx="25" formatCode="0.0">
                  <c:v>3.1930519190242035E-2</c:v>
                </c:pt>
                <c:pt idx="26" formatCode="0.0">
                  <c:v>4.0445324307639897E-2</c:v>
                </c:pt>
                <c:pt idx="27" formatCode="0.0">
                  <c:v>4.2574025586989361E-2</c:v>
                </c:pt>
                <c:pt idx="28" formatCode="0.0">
                  <c:v>5.53462332630862E-2</c:v>
                </c:pt>
                <c:pt idx="29" formatCode="0.0">
                  <c:v>6.386103838048407E-2</c:v>
                </c:pt>
                <c:pt idx="30" formatCode="0.0">
                  <c:v>9.3662856291376675E-2</c:v>
                </c:pt>
                <c:pt idx="31" formatCode="0.0">
                  <c:v>0.100048960129425</c:v>
                </c:pt>
                <c:pt idx="32" formatCode="0.0">
                  <c:v>9.3662856291376648E-2</c:v>
                </c:pt>
                <c:pt idx="33" formatCode="0.0">
                  <c:v>0.12133597292291975</c:v>
                </c:pt>
                <c:pt idx="34" formatCode="0.0">
                  <c:v>0.15326649211316179</c:v>
                </c:pt>
                <c:pt idx="35" formatCode="0.0">
                  <c:v>0.28950337399152781</c:v>
                </c:pt>
                <c:pt idx="36" formatCode="0.0">
                  <c:v>0.32781999701981834</c:v>
                </c:pt>
                <c:pt idx="37" formatCode="0.0">
                  <c:v>0.33846350341656561</c:v>
                </c:pt>
                <c:pt idx="38" formatCode="0.0">
                  <c:v>0.37890882772420548</c:v>
                </c:pt>
                <c:pt idx="39" formatCode="0.0">
                  <c:v>0.42786895714924339</c:v>
                </c:pt>
                <c:pt idx="40" formatCode="0.0">
                  <c:v>0.43638376226664127</c:v>
                </c:pt>
                <c:pt idx="41" formatCode="0.0">
                  <c:v>0.43851246354599072</c:v>
                </c:pt>
                <c:pt idx="42" formatCode="0.0">
                  <c:v>0.36400791876875921</c:v>
                </c:pt>
                <c:pt idx="43" formatCode="0.0">
                  <c:v>0.37890882772420559</c:v>
                </c:pt>
                <c:pt idx="44" formatCode="0.0">
                  <c:v>0.41935415203184534</c:v>
                </c:pt>
                <c:pt idx="45" formatCode="0.0">
                  <c:v>0.49811609936777579</c:v>
                </c:pt>
                <c:pt idx="46" formatCode="0.0">
                  <c:v>0.46405687889818426</c:v>
                </c:pt>
                <c:pt idx="47" formatCode="0.0">
                  <c:v>0.51514570960257156</c:v>
                </c:pt>
                <c:pt idx="48" formatCode="0.0">
                  <c:v>0.59177895565915251</c:v>
                </c:pt>
                <c:pt idx="49" formatCode="0.0">
                  <c:v>0.57687804670370624</c:v>
                </c:pt>
                <c:pt idx="50" formatCode="0.0">
                  <c:v>0.53856142367541571</c:v>
                </c:pt>
                <c:pt idx="51" formatCode="0.0">
                  <c:v>0.48960129425037785</c:v>
                </c:pt>
                <c:pt idx="52" formatCode="0.0">
                  <c:v>0.44915596994273788</c:v>
                </c:pt>
                <c:pt idx="53" formatCode="0.0">
                  <c:v>0.51940311216127033</c:v>
                </c:pt>
                <c:pt idx="54" formatCode="0.0">
                  <c:v>0.50875960576452317</c:v>
                </c:pt>
                <c:pt idx="55" formatCode="0.0">
                  <c:v>0.48108648913298002</c:v>
                </c:pt>
                <c:pt idx="56" formatCode="0.0">
                  <c:v>0.47257168401558219</c:v>
                </c:pt>
                <c:pt idx="57" formatCode="0.0">
                  <c:v>0.46618558017753381</c:v>
                </c:pt>
                <c:pt idx="58" formatCode="0.0">
                  <c:v>0.60029376077655017</c:v>
                </c:pt>
                <c:pt idx="59" formatCode="0.0">
                  <c:v>0.63435298124614159</c:v>
                </c:pt>
                <c:pt idx="60" formatCode="0.0">
                  <c:v>0.7365306426549163</c:v>
                </c:pt>
                <c:pt idx="61" formatCode="0.0">
                  <c:v>0.94514336803116428</c:v>
                </c:pt>
                <c:pt idx="62" formatCode="0.0">
                  <c:v>1.153756093407412</c:v>
                </c:pt>
                <c:pt idx="63" formatCode="0.0">
                  <c:v>1.4177150520467461</c:v>
                </c:pt>
                <c:pt idx="64" formatCode="0.0">
                  <c:v>1.4581603763543862</c:v>
                </c:pt>
                <c:pt idx="65" formatCode="0.0">
                  <c:v>1.36236881878366</c:v>
                </c:pt>
                <c:pt idx="66" formatCode="0.0">
                  <c:v>1.4326159610021925</c:v>
                </c:pt>
                <c:pt idx="67" formatCode="0.0">
                  <c:v>1.56246673904251</c:v>
                </c:pt>
                <c:pt idx="68" formatCode="0.0">
                  <c:v>1.5284075185729187</c:v>
                </c:pt>
                <c:pt idx="69" formatCode="0.0">
                  <c:v>1.4815760904272302</c:v>
                </c:pt>
                <c:pt idx="70" formatCode="0.0">
                  <c:v>1.3432105072695149</c:v>
                </c:pt>
                <c:pt idx="71" formatCode="0.0">
                  <c:v>1.4496455712369882</c:v>
                </c:pt>
                <c:pt idx="72" formatCode="0.0">
                  <c:v>1.6071694659088489</c:v>
                </c:pt>
                <c:pt idx="73" formatCode="0.0">
                  <c:v>1.6965749196415274</c:v>
                </c:pt>
                <c:pt idx="74" formatCode="0.0">
                  <c:v>1.6114268684675479</c:v>
                </c:pt>
                <c:pt idx="75" formatCode="0.0">
                  <c:v>1.6050407646294997</c:v>
                </c:pt>
                <c:pt idx="76" formatCode="0.0">
                  <c:v>1.4815760904272302</c:v>
                </c:pt>
                <c:pt idx="77" formatCode="0.0">
                  <c:v>1.5518232326457626</c:v>
                </c:pt>
                <c:pt idx="78" formatCode="0.0">
                  <c:v>1.7710794644187582</c:v>
                </c:pt>
                <c:pt idx="79" formatCode="0.0">
                  <c:v>2.090384656321179</c:v>
                </c:pt>
                <c:pt idx="80" formatCode="0.0">
                  <c:v>2.3926602379888022</c:v>
                </c:pt>
                <c:pt idx="81" formatCode="0.0">
                  <c:v>2.5331545224258676</c:v>
                </c:pt>
                <c:pt idx="82" formatCode="0.0">
                  <c:v>2.6332034825552926</c:v>
                </c:pt>
                <c:pt idx="83" formatCode="0.0">
                  <c:v>2.9014198437533261</c:v>
                </c:pt>
                <c:pt idx="84" formatCode="0.0">
                  <c:v>3.1079038678502253</c:v>
                </c:pt>
                <c:pt idx="85" formatCode="0.0">
                  <c:v>3.1483491921578648</c:v>
                </c:pt>
                <c:pt idx="86" formatCode="0.0">
                  <c:v>3.4697830853396345</c:v>
                </c:pt>
                <c:pt idx="87" formatCode="0.0">
                  <c:v>3.52725801988207</c:v>
                </c:pt>
                <c:pt idx="88" formatCode="0.0">
                  <c:v>3.9806713923835066</c:v>
                </c:pt>
                <c:pt idx="89" formatCode="0.0">
                  <c:v>4.3574515188283618</c:v>
                </c:pt>
                <c:pt idx="90" formatCode="0.0">
                  <c:v>4.747003852949315</c:v>
                </c:pt>
                <c:pt idx="91" formatCode="0.0">
                  <c:v>5.1855163164953053</c:v>
                </c:pt>
                <c:pt idx="92" formatCode="0.0">
                  <c:v>5.5942269621304046</c:v>
                </c:pt>
                <c:pt idx="93" formatCode="0.0">
                  <c:v>6.2413521510526442</c:v>
                </c:pt>
                <c:pt idx="94" formatCode="0.0">
                  <c:v>7.1843668178044569</c:v>
                </c:pt>
                <c:pt idx="95" formatCode="0.0">
                  <c:v>7.7080273325244288</c:v>
                </c:pt>
                <c:pt idx="96" formatCode="0.0">
                  <c:v>8.6276262852033998</c:v>
                </c:pt>
                <c:pt idx="97" formatCode="0.0">
                  <c:v>9.0597526449113417</c:v>
                </c:pt>
                <c:pt idx="98" formatCode="0.0">
                  <c:v>9.1087127743363769</c:v>
                </c:pt>
                <c:pt idx="99" formatCode="0.0">
                  <c:v>10.143261596100221</c:v>
                </c:pt>
                <c:pt idx="100" formatCode="0.0">
                  <c:v>10.156033803776317</c:v>
                </c:pt>
                <c:pt idx="101" formatCode="0.0">
                  <c:v>10.411477957298253</c:v>
                </c:pt>
                <c:pt idx="102" formatCode="0.0">
                  <c:v>11.646124699320946</c:v>
                </c:pt>
                <c:pt idx="103" formatCode="0.0">
                  <c:v>12.184686122996359</c:v>
                </c:pt>
                <c:pt idx="104" formatCode="0.0">
                  <c:v>13.406560657342958</c:v>
                </c:pt>
                <c:pt idx="105" formatCode="0.0">
                  <c:v>12.919088064371929</c:v>
                </c:pt>
                <c:pt idx="106" formatCode="0.0">
                  <c:v>15.528875832854371</c:v>
                </c:pt>
                <c:pt idx="107" formatCode="0.0">
                  <c:v>16.706047640334624</c:v>
                </c:pt>
                <c:pt idx="108" formatCode="0.0">
                  <c:v>17.949209187474722</c:v>
                </c:pt>
                <c:pt idx="109" formatCode="0.0">
                  <c:v>19.0242033335462</c:v>
                </c:pt>
                <c:pt idx="110" formatCode="0.0">
                  <c:v>19.899099559358831</c:v>
                </c:pt>
                <c:pt idx="111" formatCode="0.0">
                  <c:v>19.79692189795006</c:v>
                </c:pt>
                <c:pt idx="112" formatCode="0.0">
                  <c:v>22.517402132958686</c:v>
                </c:pt>
                <c:pt idx="113" formatCode="0.0">
                  <c:v>21.555229154692718</c:v>
                </c:pt>
                <c:pt idx="114" formatCode="0.0">
                  <c:v>21.533942141899228</c:v>
                </c:pt>
                <c:pt idx="115" formatCode="0.0">
                  <c:v>21.753198373672223</c:v>
                </c:pt>
                <c:pt idx="116" formatCode="0.0">
                  <c:v>22.357749537007468</c:v>
                </c:pt>
                <c:pt idx="117" formatCode="0.0">
                  <c:v>22.455669795857546</c:v>
                </c:pt>
                <c:pt idx="118" formatCode="0.0">
                  <c:v>25.301743406347789</c:v>
                </c:pt>
                <c:pt idx="119" formatCode="0.0">
                  <c:v>27.066436766928494</c:v>
                </c:pt>
                <c:pt idx="120" formatCode="0.0">
                  <c:v>27.709304553292039</c:v>
                </c:pt>
                <c:pt idx="121" formatCode="0.0">
                  <c:v>29.437809992123803</c:v>
                </c:pt>
                <c:pt idx="122" formatCode="0.0">
                  <c:v>30.072162973369942</c:v>
                </c:pt>
                <c:pt idx="123" formatCode="0.0">
                  <c:v>29.952955701726378</c:v>
                </c:pt>
                <c:pt idx="124" formatCode="0.0">
                  <c:v>31.189731145028421</c:v>
                </c:pt>
                <c:pt idx="125" formatCode="0.0">
                  <c:v>29.752857781467533</c:v>
                </c:pt>
                <c:pt idx="126" formatCode="0.0">
                  <c:v>28.860931945420102</c:v>
                </c:pt>
                <c:pt idx="127" formatCode="0.0">
                  <c:v>28.156331821955426</c:v>
                </c:pt>
                <c:pt idx="128" formatCode="0.0">
                  <c:v>27.149456116823124</c:v>
                </c:pt>
                <c:pt idx="129" formatCode="0.0">
                  <c:v>26.770547289098918</c:v>
                </c:pt>
                <c:pt idx="130" formatCode="0.0">
                  <c:v>27.128169104029631</c:v>
                </c:pt>
                <c:pt idx="131" formatCode="0.0">
                  <c:v>27.419801179300514</c:v>
                </c:pt>
                <c:pt idx="132" formatCode="0.0">
                  <c:v>28.222321561615253</c:v>
                </c:pt>
                <c:pt idx="133" formatCode="0.0">
                  <c:v>27.247376375673198</c:v>
                </c:pt>
                <c:pt idx="134" formatCode="0.0">
                  <c:v>26.042531451561388</c:v>
                </c:pt>
                <c:pt idx="135" formatCode="0.0">
                  <c:v>26.095748983545136</c:v>
                </c:pt>
                <c:pt idx="136" formatCode="0.0">
                  <c:v>26.561934563722673</c:v>
                </c:pt>
                <c:pt idx="137" formatCode="0.0">
                  <c:v>25.110160291206334</c:v>
                </c:pt>
                <c:pt idx="138" formatCode="0.0">
                  <c:v>22.147008110351877</c:v>
                </c:pt>
                <c:pt idx="139" formatCode="0.0">
                  <c:v>18.977371905400517</c:v>
                </c:pt>
                <c:pt idx="140" formatCode="0.0">
                  <c:v>17.685250228835386</c:v>
                </c:pt>
                <c:pt idx="141" formatCode="0.0">
                  <c:v>17.144560103880629</c:v>
                </c:pt>
                <c:pt idx="142" formatCode="0.0">
                  <c:v>16.199416735849461</c:v>
                </c:pt>
                <c:pt idx="143" formatCode="0.0">
                  <c:v>14.049428443706493</c:v>
                </c:pt>
                <c:pt idx="144" formatCode="0.0">
                  <c:v>12.793494688890307</c:v>
                </c:pt>
                <c:pt idx="145" formatCode="0.0">
                  <c:v>12.399684952210661</c:v>
                </c:pt>
                <c:pt idx="146" formatCode="0.0">
                  <c:v>11.586521063499157</c:v>
                </c:pt>
                <c:pt idx="147" formatCode="0.0">
                  <c:v>10.168806011452416</c:v>
                </c:pt>
                <c:pt idx="148" formatCode="0.0">
                  <c:v>9.6387593928943947</c:v>
                </c:pt>
                <c:pt idx="149" formatCode="0.0">
                  <c:v>8.427528364944548</c:v>
                </c:pt>
                <c:pt idx="150" formatCode="0.0">
                  <c:v>7.8272346041679954</c:v>
                </c:pt>
                <c:pt idx="151" formatCode="0.0">
                  <c:v>7.0076846116184495</c:v>
                </c:pt>
                <c:pt idx="152" formatCode="0.0">
                  <c:v>6.36694552653426</c:v>
                </c:pt>
                <c:pt idx="153" formatCode="0.0">
                  <c:v>6.1817485152308578</c:v>
                </c:pt>
                <c:pt idx="154" formatCode="0.0">
                  <c:v>6.1115013730123264</c:v>
                </c:pt>
                <c:pt idx="155" formatCode="0.0">
                  <c:v>5.064180343572386</c:v>
                </c:pt>
                <c:pt idx="156" formatCode="0.0">
                  <c:v>4.231858143346745</c:v>
                </c:pt>
                <c:pt idx="157" formatCode="0.0">
                  <c:v>3.7401281478170181</c:v>
                </c:pt>
                <c:pt idx="158" formatCode="0.0">
                  <c:v>3.3995359431211023</c:v>
                </c:pt>
                <c:pt idx="159" formatCode="0.0">
                  <c:v>3.416565553355897</c:v>
                </c:pt>
                <c:pt idx="160" formatCode="0.0">
                  <c:v>3.2228537369350962</c:v>
                </c:pt>
                <c:pt idx="161" formatCode="0.0">
                  <c:v>3.0419141281903919</c:v>
                </c:pt>
                <c:pt idx="162" formatCode="0.0">
                  <c:v>3.36973412521021</c:v>
                </c:pt>
                <c:pt idx="163" formatCode="0.0">
                  <c:v>3.3718628264895583</c:v>
                </c:pt>
                <c:pt idx="164" formatCode="0.0">
                  <c:v>2.9269642591055196</c:v>
                </c:pt>
                <c:pt idx="165" formatCode="0.0">
                  <c:v>2.9120633501500737</c:v>
                </c:pt>
                <c:pt idx="166" formatCode="0.0">
                  <c:v>2.5480554313813144</c:v>
                </c:pt>
                <c:pt idx="167" formatCode="0.0">
                  <c:v>2.4437490686931898</c:v>
                </c:pt>
                <c:pt idx="168" formatCode="0.0">
                  <c:v>2.4841943930008301</c:v>
                </c:pt>
                <c:pt idx="169" formatCode="0.0">
                  <c:v>2.3628584200779099</c:v>
                </c:pt>
                <c:pt idx="170" formatCode="0.0">
                  <c:v>2.2117206292440983</c:v>
                </c:pt>
                <c:pt idx="171" formatCode="0.0">
                  <c:v>2.0307810204993935</c:v>
                </c:pt>
                <c:pt idx="172" formatCode="0.0">
                  <c:v>1.8306831002405437</c:v>
                </c:pt>
                <c:pt idx="173" formatCode="0.0">
                  <c:v>1.8242969964024947</c:v>
                </c:pt>
                <c:pt idx="174" formatCode="0.0">
                  <c:v>1.9647912808395598</c:v>
                </c:pt>
                <c:pt idx="175" formatCode="0.0">
                  <c:v>1.9286033590906191</c:v>
                </c:pt>
                <c:pt idx="176" formatCode="0.0">
                  <c:v>1.8093960874470483</c:v>
                </c:pt>
                <c:pt idx="177" formatCode="0.0">
                  <c:v>1.8391979053579413</c:v>
                </c:pt>
                <c:pt idx="178" formatCode="0.0">
                  <c:v>1.9882069949124044</c:v>
                </c:pt>
                <c:pt idx="179" formatCode="0.0">
                  <c:v>1.8221682951231453</c:v>
                </c:pt>
                <c:pt idx="180" formatCode="0.0">
                  <c:v>1.679545309406731</c:v>
                </c:pt>
                <c:pt idx="181" formatCode="0.0">
                  <c:v>1.5007344019413755</c:v>
                </c:pt>
                <c:pt idx="182" formatCode="0.0">
                  <c:v>1.5092492070587729</c:v>
                </c:pt>
                <c:pt idx="183" formatCode="0.0">
                  <c:v>1.5284075185729187</c:v>
                </c:pt>
                <c:pt idx="184" formatCode="0.0">
                  <c:v>1.3602401175043106</c:v>
                </c:pt>
                <c:pt idx="185" formatCode="0.0">
                  <c:v>1.249547650978138</c:v>
                </c:pt>
                <c:pt idx="186" formatCode="0.0">
                  <c:v>1.2091023266704981</c:v>
                </c:pt>
                <c:pt idx="187" formatCode="0.0">
                  <c:v>1.2048449241118</c:v>
                </c:pt>
                <c:pt idx="188" formatCode="0.0">
                  <c:v>1.251676352257487</c:v>
                </c:pt>
                <c:pt idx="189" formatCode="0.0">
                  <c:v>1.249547650978138</c:v>
                </c:pt>
                <c:pt idx="190" formatCode="0.0">
                  <c:v>1.3261808970347191</c:v>
                </c:pt>
                <c:pt idx="191" formatCode="0.0">
                  <c:v>1.379398429018456</c:v>
                </c:pt>
                <c:pt idx="192" formatCode="0.0">
                  <c:v>1.4304872597228433</c:v>
                </c:pt>
                <c:pt idx="193" formatCode="0.0">
                  <c:v>1.5135066096174719</c:v>
                </c:pt>
                <c:pt idx="194" formatCode="0.0">
                  <c:v>1.5943972582327519</c:v>
                </c:pt>
                <c:pt idx="195" formatCode="0.0">
                  <c:v>1.5943972582327519</c:v>
                </c:pt>
                <c:pt idx="196" formatCode="0.0">
                  <c:v>1.7157332311556712</c:v>
                </c:pt>
                <c:pt idx="197" formatCode="0.0">
                  <c:v>1.6114268684675479</c:v>
                </c:pt>
                <c:pt idx="198" formatCode="0.0">
                  <c:v>1.6859314132447794</c:v>
                </c:pt>
                <c:pt idx="199" formatCode="0.0">
                  <c:v>1.6731592055686824</c:v>
                </c:pt>
                <c:pt idx="200" formatCode="0.0">
                  <c:v>1.5794963492773058</c:v>
                </c:pt>
                <c:pt idx="201" formatCode="0.0">
                  <c:v>1.5496945313664134</c:v>
                </c:pt>
                <c:pt idx="202" formatCode="0.0">
                  <c:v>1.6390999850990911</c:v>
                </c:pt>
                <c:pt idx="203" formatCode="0.0">
                  <c:v>1.6114268684675479</c:v>
                </c:pt>
                <c:pt idx="204" formatCode="0.0">
                  <c:v>1.6689018030099836</c:v>
                </c:pt>
                <c:pt idx="205" formatCode="0.0">
                  <c:v>1.68380271196543</c:v>
                </c:pt>
                <c:pt idx="206" formatCode="0.0">
                  <c:v>1.856227515592737</c:v>
                </c:pt>
                <c:pt idx="207" formatCode="0.0">
                  <c:v>1.9520190731634632</c:v>
                </c:pt>
                <c:pt idx="208" formatCode="0.0">
                  <c:v>2.045681929454839</c:v>
                </c:pt>
                <c:pt idx="209" formatCode="0.0">
                  <c:v>2.1052855652766245</c:v>
                </c:pt>
                <c:pt idx="210" formatCode="0.0">
                  <c:v>1.9477616706047638</c:v>
                </c:pt>
                <c:pt idx="211" formatCode="0.0">
                  <c:v>2.045681929454839</c:v>
                </c:pt>
                <c:pt idx="212" formatCode="0.0">
                  <c:v>2.0861272537624802</c:v>
                </c:pt>
                <c:pt idx="213" formatCode="0.0">
                  <c:v>1.9733060859569578</c:v>
                </c:pt>
                <c:pt idx="214" formatCode="0.0">
                  <c:v>2.1138003703940229</c:v>
                </c:pt>
                <c:pt idx="215" formatCode="0.0">
                  <c:v>2.1585030972603616</c:v>
                </c:pt>
                <c:pt idx="216" formatCode="0.0">
                  <c:v>2.1989484215680002</c:v>
                </c:pt>
                <c:pt idx="217" formatCode="0.0">
                  <c:v>2.2521659535517378</c:v>
                </c:pt>
                <c:pt idx="218" formatCode="0.0">
                  <c:v>2.2436511484343407</c:v>
                </c:pt>
                <c:pt idx="219" formatCode="0.0">
                  <c:v>2.2010771228473516</c:v>
                </c:pt>
                <c:pt idx="220" formatCode="0.0">
                  <c:v>2.2287502394788943</c:v>
                </c:pt>
                <c:pt idx="221" formatCode="0.0">
                  <c:v>2.4160759520616466</c:v>
                </c:pt>
                <c:pt idx="222" formatCode="0.0">
                  <c:v>2.4245907571790459</c:v>
                </c:pt>
                <c:pt idx="223" formatCode="0.0">
                  <c:v>2.3947889392681523</c:v>
                </c:pt>
                <c:pt idx="224" formatCode="0.0">
                  <c:v>2.5480554313813144</c:v>
                </c:pt>
                <c:pt idx="225" formatCode="0.0">
                  <c:v>2.8673606232837341</c:v>
                </c:pt>
                <c:pt idx="226" formatCode="0.0">
                  <c:v>3.3271600996232196</c:v>
                </c:pt>
                <c:pt idx="227" formatCode="0.0">
                  <c:v>3.5698320454690595</c:v>
                </c:pt>
                <c:pt idx="228" formatCode="0.0">
                  <c:v>3.7188411350235215</c:v>
                </c:pt>
                <c:pt idx="229" formatCode="0.0">
                  <c:v>4.2148285331119473</c:v>
                </c:pt>
                <c:pt idx="230" formatCode="0.0">
                  <c:v>4.3851246354599045</c:v>
                </c:pt>
                <c:pt idx="231" formatCode="0.0">
                  <c:v>4.7917065798156546</c:v>
                </c:pt>
                <c:pt idx="232" formatCode="0.0">
                  <c:v>5.2876939779040812</c:v>
                </c:pt>
                <c:pt idx="233" formatCode="0.0">
                  <c:v>5.5835834557336579</c:v>
                </c:pt>
                <c:pt idx="234" formatCode="0.0">
                  <c:v>6.151946697319965</c:v>
                </c:pt>
                <c:pt idx="235" formatCode="0.0">
                  <c:v>6.6138748749387979</c:v>
                </c:pt>
                <c:pt idx="236" formatCode="0.0">
                  <c:v>6.4606083828256393</c:v>
                </c:pt>
                <c:pt idx="237" formatCode="0.0">
                  <c:v>6.6926368222747294</c:v>
                </c:pt>
                <c:pt idx="238" formatCode="0.0">
                  <c:v>7.4504544777231416</c:v>
                </c:pt>
                <c:pt idx="239" formatCode="0.0">
                  <c:v>7.603720969836302</c:v>
                </c:pt>
                <c:pt idx="240" formatCode="0.0">
                  <c:v>8.1337675883943188</c:v>
                </c:pt>
                <c:pt idx="241" formatCode="0.0">
                  <c:v>8.453072780296738</c:v>
                </c:pt>
                <c:pt idx="242" formatCode="0.0">
                  <c:v>8.5893096621751059</c:v>
                </c:pt>
                <c:pt idx="243" formatCode="0.0">
                  <c:v>9.1853460203929576</c:v>
                </c:pt>
                <c:pt idx="244" formatCode="0.0">
                  <c:v>10.07088575260234</c:v>
                </c:pt>
                <c:pt idx="245" formatCode="0.0">
                  <c:v>11.033058730868296</c:v>
                </c:pt>
                <c:pt idx="246" formatCode="0.0">
                  <c:v>11.714243140260123</c:v>
                </c:pt>
                <c:pt idx="247" formatCode="0.0">
                  <c:v>12.531664431530324</c:v>
                </c:pt>
                <c:pt idx="248" formatCode="0.0">
                  <c:v>13.346957021521169</c:v>
                </c:pt>
                <c:pt idx="249" formatCode="0.0">
                  <c:v>14.485812205973136</c:v>
                </c:pt>
                <c:pt idx="250" formatCode="0.0">
                  <c:v>14.851948826021246</c:v>
                </c:pt>
                <c:pt idx="251" formatCode="0.0">
                  <c:v>14.764672073567921</c:v>
                </c:pt>
                <c:pt idx="252" formatCode="0.0">
                  <c:v>15.18189752432041</c:v>
                </c:pt>
                <c:pt idx="253" formatCode="0.0">
                  <c:v>16.801839197905359</c:v>
                </c:pt>
                <c:pt idx="254" formatCode="0.0">
                  <c:v>16.757136471039015</c:v>
                </c:pt>
                <c:pt idx="255" formatCode="0.0">
                  <c:v>18.085446069353083</c:v>
                </c:pt>
                <c:pt idx="256" formatCode="0.0">
                  <c:v>18.434553079166395</c:v>
                </c:pt>
                <c:pt idx="257" formatCode="0.0">
                  <c:v>19.288162292185529</c:v>
                </c:pt>
                <c:pt idx="258" formatCode="0.0">
                  <c:v>20.637758903293104</c:v>
                </c:pt>
                <c:pt idx="259" formatCode="0.0">
                  <c:v>20.733550460863828</c:v>
                </c:pt>
                <c:pt idx="260" formatCode="0.0">
                  <c:v>19.8203376120229</c:v>
                </c:pt>
                <c:pt idx="261" formatCode="0.0">
                  <c:v>20.11196968729379</c:v>
                </c:pt>
                <c:pt idx="262" formatCode="0.0">
                  <c:v>19.662813717351042</c:v>
                </c:pt>
                <c:pt idx="263" formatCode="0.0">
                  <c:v>19.807565404346811</c:v>
                </c:pt>
                <c:pt idx="264" formatCode="0.0">
                  <c:v>19.469101900930237</c:v>
                </c:pt>
                <c:pt idx="265" formatCode="0.0">
                  <c:v>19.262617876833332</c:v>
                </c:pt>
                <c:pt idx="266" formatCode="0.0">
                  <c:v>18.811333205611252</c:v>
                </c:pt>
                <c:pt idx="267" formatCode="0.0">
                  <c:v>19.373310343359517</c:v>
                </c:pt>
                <c:pt idx="268" formatCode="0.0">
                  <c:v>20.354641633139614</c:v>
                </c:pt>
                <c:pt idx="269" formatCode="0.0">
                  <c:v>21.189092534644612</c:v>
                </c:pt>
                <c:pt idx="270" formatCode="0.0">
                  <c:v>21.261468378142496</c:v>
                </c:pt>
                <c:pt idx="271" formatCode="0.0">
                  <c:v>21.823445515890757</c:v>
                </c:pt>
                <c:pt idx="272" formatCode="0.0">
                  <c:v>21.889435255550588</c:v>
                </c:pt>
                <c:pt idx="273" formatCode="0.0">
                  <c:v>21.640377205866702</c:v>
                </c:pt>
                <c:pt idx="274" formatCode="0.0">
                  <c:v>21.74894097111352</c:v>
                </c:pt>
                <c:pt idx="275" formatCode="0.0">
                  <c:v>22.745173169849075</c:v>
                </c:pt>
                <c:pt idx="276" formatCode="0.0">
                  <c:v>23.009132128488414</c:v>
                </c:pt>
                <c:pt idx="277" formatCode="0.0">
                  <c:v>23.924473678608681</c:v>
                </c:pt>
                <c:pt idx="278" formatCode="0.0">
                  <c:v>25.02501224003235</c:v>
                </c:pt>
                <c:pt idx="279" formatCode="0.0">
                  <c:v>24.458777699725392</c:v>
                </c:pt>
                <c:pt idx="280" formatCode="0.0">
                  <c:v>26.419311578006262</c:v>
                </c:pt>
                <c:pt idx="281" formatCode="0.0">
                  <c:v>26.476786512548692</c:v>
                </c:pt>
                <c:pt idx="282" formatCode="0.0">
                  <c:v>25.350703535772823</c:v>
                </c:pt>
                <c:pt idx="283" formatCode="0.0">
                  <c:v>23.507248227856191</c:v>
                </c:pt>
                <c:pt idx="284" formatCode="0.0">
                  <c:v>22.355620835728118</c:v>
                </c:pt>
                <c:pt idx="285" formatCode="0.0">
                  <c:v>21.193349937203308</c:v>
                </c:pt>
                <c:pt idx="286" formatCode="0.0">
                  <c:v>21.834089022287507</c:v>
                </c:pt>
                <c:pt idx="287" formatCode="0.0">
                  <c:v>20.690976435276838</c:v>
                </c:pt>
                <c:pt idx="288" formatCode="0.0">
                  <c:v>19.939544883666471</c:v>
                </c:pt>
                <c:pt idx="289" formatCode="0.0">
                  <c:v>19.292419694744229</c:v>
                </c:pt>
                <c:pt idx="290" formatCode="0.0">
                  <c:v>19.475488004768284</c:v>
                </c:pt>
                <c:pt idx="291" formatCode="0.0">
                  <c:v>18.687868531408991</c:v>
                </c:pt>
                <c:pt idx="292" formatCode="0.0">
                  <c:v>17.806586201758304</c:v>
                </c:pt>
                <c:pt idx="293" formatCode="0.0">
                  <c:v>15.905655959299233</c:v>
                </c:pt>
                <c:pt idx="294" formatCode="0.0">
                  <c:v>14.696553632628735</c:v>
                </c:pt>
                <c:pt idx="295" formatCode="0.0">
                  <c:v>14.711454541584178</c:v>
                </c:pt>
                <c:pt idx="296" formatCode="0.0">
                  <c:v>14.647593503203694</c:v>
                </c:pt>
                <c:pt idx="297" formatCode="0.0">
                  <c:v>14.685910126231985</c:v>
                </c:pt>
                <c:pt idx="298" formatCode="0.0">
                  <c:v>14.749771164612465</c:v>
                </c:pt>
                <c:pt idx="299" formatCode="0.0">
                  <c:v>14.353832726653469</c:v>
                </c:pt>
                <c:pt idx="300" formatCode="0.0">
                  <c:v>14.766800774847267</c:v>
                </c:pt>
                <c:pt idx="301" formatCode="0.0">
                  <c:v>14.396406752240464</c:v>
                </c:pt>
                <c:pt idx="302" formatCode="0.0">
                  <c:v>14.002597015560807</c:v>
                </c:pt>
                <c:pt idx="303" formatCode="0.0">
                  <c:v>14.106903378248933</c:v>
                </c:pt>
                <c:pt idx="304" formatCode="0.0">
                  <c:v>14.057943248823896</c:v>
                </c:pt>
                <c:pt idx="305" formatCode="0.0">
                  <c:v>14.466653894458993</c:v>
                </c:pt>
                <c:pt idx="306" formatCode="0.0">
                  <c:v>15.10739297954318</c:v>
                </c:pt>
                <c:pt idx="307" formatCode="0.0">
                  <c:v>15.658726610894695</c:v>
                </c:pt>
                <c:pt idx="308" formatCode="0.0">
                  <c:v>16.293079592140828</c:v>
                </c:pt>
                <c:pt idx="309" formatCode="0.0">
                  <c:v>16.290950890861485</c:v>
                </c:pt>
                <c:pt idx="310" formatCode="0.0">
                  <c:v>15.533133235413075</c:v>
                </c:pt>
                <c:pt idx="311" formatCode="0.0">
                  <c:v>14.585861166102561</c:v>
                </c:pt>
                <c:pt idx="312" formatCode="0.0">
                  <c:v>13.687549226217088</c:v>
                </c:pt>
                <c:pt idx="313" formatCode="0.0">
                  <c:v>12.946761181003467</c:v>
                </c:pt>
                <c:pt idx="314" formatCode="0.0">
                  <c:v>12.003746514251658</c:v>
                </c:pt>
                <c:pt idx="315" formatCode="0.0">
                  <c:v>10.73929795431807</c:v>
                </c:pt>
                <c:pt idx="316" formatCode="0.0">
                  <c:v>9.9303914681652703</c:v>
                </c:pt>
                <c:pt idx="317" formatCode="0.0">
                  <c:v>9.1108414756157252</c:v>
                </c:pt>
                <c:pt idx="318" formatCode="0.0">
                  <c:v>8.9022287502394768</c:v>
                </c:pt>
                <c:pt idx="319" formatCode="0.0">
                  <c:v>8.389211741916256</c:v>
                </c:pt>
                <c:pt idx="320" formatCode="0.0">
                  <c:v>7.7293143453179214</c:v>
                </c:pt>
                <c:pt idx="321" formatCode="0.0">
                  <c:v>7.1417927922174691</c:v>
                </c:pt>
                <c:pt idx="322" formatCode="0.0">
                  <c:v>6.9842688975456095</c:v>
                </c:pt>
                <c:pt idx="323" formatCode="0.0">
                  <c:v>5.9624922834578644</c:v>
                </c:pt>
                <c:pt idx="324" formatCode="0.0">
                  <c:v>5.1855163164953053</c:v>
                </c:pt>
                <c:pt idx="325" formatCode="0.0">
                  <c:v>4.3702237265044612</c:v>
                </c:pt>
                <c:pt idx="326" formatCode="0.0">
                  <c:v>3.7720586670072587</c:v>
                </c:pt>
                <c:pt idx="327" formatCode="0.0">
                  <c:v>3.3952785405624035</c:v>
                </c:pt>
                <c:pt idx="328" formatCode="0.0">
                  <c:v>3.3888924367243547</c:v>
                </c:pt>
                <c:pt idx="329" formatCode="0.0">
                  <c:v>2.8716180258424338</c:v>
                </c:pt>
                <c:pt idx="330" formatCode="0.0">
                  <c:v>2.7034506247738248</c:v>
                </c:pt>
                <c:pt idx="331" formatCode="0.0">
                  <c:v>2.4267194584583951</c:v>
                </c:pt>
                <c:pt idx="332" formatCode="0.0">
                  <c:v>2.0584541371309362</c:v>
                </c:pt>
                <c:pt idx="333" formatCode="0.0">
                  <c:v>1.8221682951231453</c:v>
                </c:pt>
                <c:pt idx="334" formatCode="0.0">
                  <c:v>1.696574919641527</c:v>
                </c:pt>
                <c:pt idx="335" formatCode="0.0">
                  <c:v>1.5496945313664134</c:v>
                </c:pt>
                <c:pt idx="336" formatCode="0.0">
                  <c:v>1.5156353108968219</c:v>
                </c:pt>
                <c:pt idx="337" formatCode="0.0">
                  <c:v>1.5135066096174719</c:v>
                </c:pt>
                <c:pt idx="338" formatCode="0.0">
                  <c:v>1.4453881686782895</c:v>
                </c:pt>
                <c:pt idx="339" formatCode="0.0">
                  <c:v>1.3708836239010582</c:v>
                </c:pt>
                <c:pt idx="340" formatCode="0.0">
                  <c:v>1.2048449241118</c:v>
                </c:pt>
                <c:pt idx="341" formatCode="0.0">
                  <c:v>1.1494986908487133</c:v>
                </c:pt>
                <c:pt idx="342" formatCode="0.0">
                  <c:v>1.0877663537475784</c:v>
                </c:pt>
                <c:pt idx="343" formatCode="0.0">
                  <c:v>1.1047959639823743</c:v>
                </c:pt>
                <c:pt idx="344" formatCode="0.0">
                  <c:v>0.94940077058986305</c:v>
                </c:pt>
                <c:pt idx="345" formatCode="0.0">
                  <c:v>0.85786661557783594</c:v>
                </c:pt>
                <c:pt idx="346" formatCode="0.0">
                  <c:v>0.7961342784767016</c:v>
                </c:pt>
                <c:pt idx="347" formatCode="0.0">
                  <c:v>0.76420375928645945</c:v>
                </c:pt>
                <c:pt idx="348" formatCode="0.0">
                  <c:v>0.74078804521361541</c:v>
                </c:pt>
                <c:pt idx="349" formatCode="0.0">
                  <c:v>0.74291674649296457</c:v>
                </c:pt>
                <c:pt idx="350" formatCode="0.0">
                  <c:v>0.66415479915703413</c:v>
                </c:pt>
                <c:pt idx="351" formatCode="0.0">
                  <c:v>0.60880856589394816</c:v>
                </c:pt>
                <c:pt idx="352" formatCode="0.0">
                  <c:v>0.56623454030695852</c:v>
                </c:pt>
                <c:pt idx="353" formatCode="0.0">
                  <c:v>0.52366051471996933</c:v>
                </c:pt>
                <c:pt idx="354" formatCode="0.0">
                  <c:v>0.51727441088192083</c:v>
                </c:pt>
                <c:pt idx="355" formatCode="0.0">
                  <c:v>0.45341337250143693</c:v>
                </c:pt>
                <c:pt idx="356" formatCode="0.0">
                  <c:v>0.43212635970794233</c:v>
                </c:pt>
                <c:pt idx="357" formatCode="0.0">
                  <c:v>0.48108648913298008</c:v>
                </c:pt>
                <c:pt idx="358" formatCode="0.0">
                  <c:v>0.4448985673840391</c:v>
                </c:pt>
                <c:pt idx="359" formatCode="0.0">
                  <c:v>0.44064116482534005</c:v>
                </c:pt>
                <c:pt idx="360" formatCode="0.0">
                  <c:v>0.44702726866338843</c:v>
                </c:pt>
                <c:pt idx="361" formatCode="0.0">
                  <c:v>0.45979947633948531</c:v>
                </c:pt>
                <c:pt idx="362" formatCode="0.0">
                  <c:v>0.46831428145688325</c:v>
                </c:pt>
                <c:pt idx="363" formatCode="0.0">
                  <c:v>0.46831428145688325</c:v>
                </c:pt>
                <c:pt idx="364" formatCode="0.0">
                  <c:v>0.41722545075249595</c:v>
                </c:pt>
                <c:pt idx="365" formatCode="0.0">
                  <c:v>0.40871064563509801</c:v>
                </c:pt>
                <c:pt idx="366" formatCode="0.0">
                  <c:v>0.3725227238861572</c:v>
                </c:pt>
                <c:pt idx="367" formatCode="0.0">
                  <c:v>0.34272090597526456</c:v>
                </c:pt>
                <c:pt idx="368" formatCode="0.0">
                  <c:v>0.46405687889818426</c:v>
                </c:pt>
                <c:pt idx="369" formatCode="0.0">
                  <c:v>0.46405687889818426</c:v>
                </c:pt>
                <c:pt idx="370" formatCode="0.0">
                  <c:v>0.45341337250143676</c:v>
                </c:pt>
                <c:pt idx="371" formatCode="0.0">
                  <c:v>0.63435298124614159</c:v>
                </c:pt>
                <c:pt idx="372" formatCode="0.0">
                  <c:v>0.81103518743214753</c:v>
                </c:pt>
                <c:pt idx="373" formatCode="0.0">
                  <c:v>0.98345999105945459</c:v>
                </c:pt>
                <c:pt idx="374" formatCode="0.0">
                  <c:v>1.1643995998041596</c:v>
                </c:pt>
                <c:pt idx="375" formatCode="0.0">
                  <c:v>1.1771718074802564</c:v>
                </c:pt>
                <c:pt idx="376" formatCode="0.0">
                  <c:v>1.1771718074802564</c:v>
                </c:pt>
                <c:pt idx="377" formatCode="0.0">
                  <c:v>1.175043106200907</c:v>
                </c:pt>
                <c:pt idx="378" formatCode="0.0">
                  <c:v>0.97494518594205681</c:v>
                </c:pt>
                <c:pt idx="379" formatCode="0.0">
                  <c:v>0.96004427698661055</c:v>
                </c:pt>
                <c:pt idx="380" formatCode="0.0">
                  <c:v>0.96855908210400843</c:v>
                </c:pt>
                <c:pt idx="381" formatCode="0.0">
                  <c:v>0.97281648466270731</c:v>
                </c:pt>
                <c:pt idx="382" formatCode="0.0">
                  <c:v>0.9834599910594547</c:v>
                </c:pt>
                <c:pt idx="383" formatCode="0.0">
                  <c:v>0.9855886923388042</c:v>
                </c:pt>
                <c:pt idx="384" formatCode="0.0">
                  <c:v>0.99623219873555147</c:v>
                </c:pt>
                <c:pt idx="385" formatCode="0.0">
                  <c:v>1.0388062243225407</c:v>
                </c:pt>
                <c:pt idx="386" formatCode="0.0">
                  <c:v>0.8919258360474277</c:v>
                </c:pt>
                <c:pt idx="387" formatCode="0.0">
                  <c:v>0.74291674649296457</c:v>
                </c:pt>
                <c:pt idx="388" formatCode="0.0">
                  <c:v>0.56836324158630813</c:v>
                </c:pt>
                <c:pt idx="389" formatCode="0.0">
                  <c:v>0.34910700981331289</c:v>
                </c:pt>
                <c:pt idx="390" formatCode="0.0">
                  <c:v>0.30866168550567302</c:v>
                </c:pt>
                <c:pt idx="391" formatCode="0.0">
                  <c:v>0.27885986759478043</c:v>
                </c:pt>
                <c:pt idx="392" formatCode="0.0">
                  <c:v>0.26395895863933411</c:v>
                </c:pt>
                <c:pt idx="393" formatCode="0.0">
                  <c:v>0.25118675096323734</c:v>
                </c:pt>
                <c:pt idx="394" formatCode="0.0">
                  <c:v>0.23841454328714054</c:v>
                </c:pt>
                <c:pt idx="395" formatCode="0.0">
                  <c:v>0.26608765991868366</c:v>
                </c:pt>
                <c:pt idx="396" formatCode="0.0">
                  <c:v>0.31930519190242046</c:v>
                </c:pt>
                <c:pt idx="397" formatCode="0.0">
                  <c:v>0.37039402260680765</c:v>
                </c:pt>
                <c:pt idx="398" formatCode="0.0">
                  <c:v>0.41935415203184534</c:v>
                </c:pt>
                <c:pt idx="399" formatCode="0.0">
                  <c:v>0.40871064563509801</c:v>
                </c:pt>
                <c:pt idx="400" formatCode="0.0">
                  <c:v>0.4150967494731464</c:v>
                </c:pt>
                <c:pt idx="401" formatCode="0.0">
                  <c:v>0.3980671392383508</c:v>
                </c:pt>
                <c:pt idx="402" formatCode="0.0">
                  <c:v>0.39380973667965191</c:v>
                </c:pt>
                <c:pt idx="403" formatCode="0.0">
                  <c:v>0.4023245417970498</c:v>
                </c:pt>
                <c:pt idx="404" formatCode="0.0">
                  <c:v>0.38742363284160342</c:v>
                </c:pt>
                <c:pt idx="405" formatCode="0.0">
                  <c:v>0.3661366200481086</c:v>
                </c:pt>
                <c:pt idx="406" formatCode="0.0">
                  <c:v>0.36400791876875926</c:v>
                </c:pt>
                <c:pt idx="407" formatCode="0.0">
                  <c:v>0.35336441237201194</c:v>
                </c:pt>
                <c:pt idx="408" formatCode="0.0">
                  <c:v>0.36187921748940982</c:v>
                </c:pt>
                <c:pt idx="409" formatCode="0.0">
                  <c:v>0.33420610085786673</c:v>
                </c:pt>
                <c:pt idx="410" formatCode="0.0">
                  <c:v>0.28737467271217837</c:v>
                </c:pt>
                <c:pt idx="411" formatCode="0.0">
                  <c:v>0.27460246503608154</c:v>
                </c:pt>
                <c:pt idx="412" formatCode="0.0">
                  <c:v>0.25331545224258678</c:v>
                </c:pt>
                <c:pt idx="413" formatCode="0.0">
                  <c:v>0.25970155608063517</c:v>
                </c:pt>
                <c:pt idx="414" formatCode="0.0">
                  <c:v>0.27034506247738255</c:v>
                </c:pt>
                <c:pt idx="415" formatCode="0.0">
                  <c:v>0.25118675096323739</c:v>
                </c:pt>
                <c:pt idx="416" formatCode="0.0">
                  <c:v>0.25118675096323734</c:v>
                </c:pt>
                <c:pt idx="417" formatCode="0.0">
                  <c:v>0.26821636119803316</c:v>
                </c:pt>
                <c:pt idx="418" formatCode="0.0">
                  <c:v>0.27673116631543093</c:v>
                </c:pt>
                <c:pt idx="419" formatCode="0.0">
                  <c:v>0.30014688038827514</c:v>
                </c:pt>
                <c:pt idx="420" formatCode="0.0">
                  <c:v>0.30440428294697414</c:v>
                </c:pt>
                <c:pt idx="421" formatCode="0.0">
                  <c:v>0.30440428294697414</c:v>
                </c:pt>
                <c:pt idx="422" formatCode="0.0">
                  <c:v>0.31079038678502247</c:v>
                </c:pt>
                <c:pt idx="423" formatCode="0.0">
                  <c:v>0.33633480213721617</c:v>
                </c:pt>
                <c:pt idx="424" formatCode="0.0">
                  <c:v>0.32781999701981834</c:v>
                </c:pt>
                <c:pt idx="425" formatCode="0.0">
                  <c:v>0.37465142516550659</c:v>
                </c:pt>
                <c:pt idx="426" formatCode="0.0">
                  <c:v>0.39380973667965191</c:v>
                </c:pt>
                <c:pt idx="427" formatCode="0.0">
                  <c:v>0.4023245417970498</c:v>
                </c:pt>
                <c:pt idx="428" formatCode="0.0">
                  <c:v>0.45341337250143693</c:v>
                </c:pt>
                <c:pt idx="429" formatCode="0.0">
                  <c:v>0.54069012495476509</c:v>
                </c:pt>
                <c:pt idx="430" formatCode="0.0">
                  <c:v>0.57262064414500724</c:v>
                </c:pt>
                <c:pt idx="431" formatCode="0.0">
                  <c:v>0.65351129276028708</c:v>
                </c:pt>
                <c:pt idx="432" formatCode="0.0">
                  <c:v>0.65351129276028708</c:v>
                </c:pt>
                <c:pt idx="433" formatCode="0.0">
                  <c:v>0.64499648764288942</c:v>
                </c:pt>
                <c:pt idx="434" formatCode="0.0">
                  <c:v>0.72588713625816914</c:v>
                </c:pt>
                <c:pt idx="435" formatCode="0.0">
                  <c:v>0.8748962258126316</c:v>
                </c:pt>
                <c:pt idx="436" formatCode="0.0">
                  <c:v>0.87702492709198132</c:v>
                </c:pt>
                <c:pt idx="437" formatCode="0.0">
                  <c:v>0.93024245907571779</c:v>
                </c:pt>
                <c:pt idx="438" formatCode="0.0">
                  <c:v>1.0260340166464439</c:v>
                </c:pt>
                <c:pt idx="439" formatCode="0.0">
                  <c:v>1.0664793409540838</c:v>
                </c:pt>
                <c:pt idx="440" formatCode="0.0">
                  <c:v>1.0920237563062778</c:v>
                </c:pt>
                <c:pt idx="441" formatCode="0.0">
                  <c:v>1.1282116780552185</c:v>
                </c:pt>
                <c:pt idx="442" formatCode="0.0">
                  <c:v>1.1388551844519663</c:v>
                </c:pt>
                <c:pt idx="443" formatCode="0.0">
                  <c:v>1.2772207676096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A96-4795-8581-791AAA8989B0}"/>
            </c:ext>
          </c:extLst>
        </c:ser>
        <c:ser>
          <c:idx val="3"/>
          <c:order val="6"/>
          <c:tx>
            <c:v>Western Cape</c:v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layout>
                <c:manualLayout>
                  <c:x val="-7.1715732960244083E-2"/>
                  <c:y val="-0.3768894227864478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I$5:$CI$451</c:f>
              <c:numCache>
                <c:formatCode>General</c:formatCode>
                <c:ptCount val="447"/>
                <c:pt idx="3" formatCode="0.0">
                  <c:v>6.2620021708274191E-3</c:v>
                </c:pt>
                <c:pt idx="4" formatCode="0.0">
                  <c:v>1.8786006512482259E-2</c:v>
                </c:pt>
                <c:pt idx="5" formatCode="0.0">
                  <c:v>2.9222676797194622E-2</c:v>
                </c:pt>
                <c:pt idx="6" formatCode="0.0">
                  <c:v>3.3397344911079575E-2</c:v>
                </c:pt>
                <c:pt idx="7" formatCode="0.0">
                  <c:v>4.3834015195791935E-2</c:v>
                </c:pt>
                <c:pt idx="8" formatCode="0.0">
                  <c:v>6.2620021708274201E-2</c:v>
                </c:pt>
                <c:pt idx="9" formatCode="0.0">
                  <c:v>9.3930032562411309E-2</c:v>
                </c:pt>
                <c:pt idx="10" formatCode="0.0">
                  <c:v>0.11271603907489355</c:v>
                </c:pt>
                <c:pt idx="11" formatCode="0.0">
                  <c:v>0.13776404775820325</c:v>
                </c:pt>
                <c:pt idx="12" formatCode="0.0">
                  <c:v>0.1565500542706855</c:v>
                </c:pt>
                <c:pt idx="13" formatCode="0.0">
                  <c:v>0.17533606078316774</c:v>
                </c:pt>
                <c:pt idx="14" formatCode="0.0">
                  <c:v>0.19203473323870751</c:v>
                </c:pt>
                <c:pt idx="15" formatCode="0.0">
                  <c:v>0.31727477665525605</c:v>
                </c:pt>
                <c:pt idx="16" formatCode="0.0">
                  <c:v>0.38198213242047263</c:v>
                </c:pt>
                <c:pt idx="17" formatCode="0.0">
                  <c:v>0.40285547298989738</c:v>
                </c:pt>
                <c:pt idx="18" formatCode="0.0">
                  <c:v>0.40911747516072478</c:v>
                </c:pt>
                <c:pt idx="19" formatCode="0.0">
                  <c:v>0.46130082658428656</c:v>
                </c:pt>
                <c:pt idx="20" formatCode="0.0">
                  <c:v>0.46756282875511396</c:v>
                </c:pt>
                <c:pt idx="21" formatCode="0.0">
                  <c:v>0.44251482007180432</c:v>
                </c:pt>
                <c:pt idx="22" formatCode="0.0">
                  <c:v>0.29848877014277386</c:v>
                </c:pt>
                <c:pt idx="23" formatCode="0.0">
                  <c:v>0.25882942306086676</c:v>
                </c:pt>
                <c:pt idx="24" formatCode="0.0">
                  <c:v>0.25882942306086681</c:v>
                </c:pt>
                <c:pt idx="25" formatCode="0.0">
                  <c:v>0.3381481172246808</c:v>
                </c:pt>
                <c:pt idx="26" formatCode="0.0">
                  <c:v>0.3005761041997162</c:v>
                </c:pt>
                <c:pt idx="27" formatCode="0.0">
                  <c:v>0.28805209985806141</c:v>
                </c:pt>
                <c:pt idx="28" formatCode="0.0">
                  <c:v>0.31936211071219844</c:v>
                </c:pt>
                <c:pt idx="29" formatCode="0.0">
                  <c:v>0.35275945562327793</c:v>
                </c:pt>
                <c:pt idx="30" formatCode="0.0">
                  <c:v>0.3381481172246808</c:v>
                </c:pt>
                <c:pt idx="31" formatCode="0.0">
                  <c:v>0.34858478750939315</c:v>
                </c:pt>
                <c:pt idx="32" formatCode="0.0">
                  <c:v>0.23586874843449948</c:v>
                </c:pt>
                <c:pt idx="33" formatCode="0.0">
                  <c:v>0.27761542957334895</c:v>
                </c:pt>
                <c:pt idx="34" formatCode="0.0">
                  <c:v>0.32353677882608339</c:v>
                </c:pt>
                <c:pt idx="35" formatCode="0.0">
                  <c:v>0.3444101193955082</c:v>
                </c:pt>
                <c:pt idx="36" formatCode="0.0">
                  <c:v>0.33814811722468086</c:v>
                </c:pt>
                <c:pt idx="37" formatCode="0.0">
                  <c:v>0.33397344911079574</c:v>
                </c:pt>
                <c:pt idx="38" formatCode="0.0">
                  <c:v>0.36737079402187534</c:v>
                </c:pt>
                <c:pt idx="39" formatCode="0.0">
                  <c:v>0.60532687651331729</c:v>
                </c:pt>
                <c:pt idx="40" formatCode="0.0">
                  <c:v>0.58654087000083499</c:v>
                </c:pt>
                <c:pt idx="41" formatCode="0.0">
                  <c:v>0.67420890039241888</c:v>
                </c:pt>
                <c:pt idx="42" formatCode="0.0">
                  <c:v>0.76605159889788765</c:v>
                </c:pt>
                <c:pt idx="43" formatCode="0.0">
                  <c:v>0.88085497202972363</c:v>
                </c:pt>
                <c:pt idx="44" formatCode="0.0">
                  <c:v>1.260749770393254</c:v>
                </c:pt>
                <c:pt idx="45" formatCode="0.0">
                  <c:v>1.4527845036319615</c:v>
                </c:pt>
                <c:pt idx="46" formatCode="0.0">
                  <c:v>1.4152124906069965</c:v>
                </c:pt>
                <c:pt idx="47" formatCode="0.0">
                  <c:v>1.5446272021374297</c:v>
                </c:pt>
                <c:pt idx="48" formatCode="0.0">
                  <c:v>1.663605243383151</c:v>
                </c:pt>
                <c:pt idx="49" formatCode="0.0">
                  <c:v>1.7951072889705271</c:v>
                </c:pt>
                <c:pt idx="50" formatCode="0.0">
                  <c:v>2.204224764131252</c:v>
                </c:pt>
                <c:pt idx="51" formatCode="0.0">
                  <c:v>2.2188361025298486</c:v>
                </c:pt>
                <c:pt idx="52" formatCode="0.0">
                  <c:v>2.2835434582950658</c:v>
                </c:pt>
                <c:pt idx="53" formatCode="0.0">
                  <c:v>2.4755781915337729</c:v>
                </c:pt>
                <c:pt idx="54" formatCode="0.0">
                  <c:v>2.9974117057693919</c:v>
                </c:pt>
                <c:pt idx="55" formatCode="0.0">
                  <c:v>3.3919178425315191</c:v>
                </c:pt>
                <c:pt idx="56" formatCode="0.0">
                  <c:v>3.6298739250229604</c:v>
                </c:pt>
                <c:pt idx="57" formatCode="0.0">
                  <c:v>3.3919178425315191</c:v>
                </c:pt>
                <c:pt idx="58" formatCode="0.0">
                  <c:v>3.4482758620689657</c:v>
                </c:pt>
                <c:pt idx="59" formatCode="0.0">
                  <c:v>4.1537947733155205</c:v>
                </c:pt>
                <c:pt idx="60" formatCode="0.0">
                  <c:v>4.4021875260916756</c:v>
                </c:pt>
                <c:pt idx="61" formatCode="0.0">
                  <c:v>4.4334975369458123</c:v>
                </c:pt>
                <c:pt idx="62" formatCode="0.0">
                  <c:v>4.7152876346330483</c:v>
                </c:pt>
                <c:pt idx="63" formatCode="0.0">
                  <c:v>5.2099858061284108</c:v>
                </c:pt>
                <c:pt idx="64" formatCode="0.0">
                  <c:v>6.1638974701511229</c:v>
                </c:pt>
                <c:pt idx="65" formatCode="0.0">
                  <c:v>6.7650496785505556</c:v>
                </c:pt>
                <c:pt idx="66" formatCode="0.0">
                  <c:v>6.8902897219671058</c:v>
                </c:pt>
                <c:pt idx="67" formatCode="0.0">
                  <c:v>7.5039659347081917</c:v>
                </c:pt>
                <c:pt idx="68" formatCode="0.0">
                  <c:v>8.6123403189446464</c:v>
                </c:pt>
                <c:pt idx="69" formatCode="0.0">
                  <c:v>9.2134925273440764</c:v>
                </c:pt>
                <c:pt idx="70" formatCode="0.0">
                  <c:v>9.4639726141771714</c:v>
                </c:pt>
                <c:pt idx="71" formatCode="0.0">
                  <c:v>9.4952826250313098</c:v>
                </c:pt>
                <c:pt idx="72" formatCode="0.0">
                  <c:v>10.265508892043085</c:v>
                </c:pt>
                <c:pt idx="73" formatCode="0.0">
                  <c:v>10.624530349837187</c:v>
                </c:pt>
                <c:pt idx="74" formatCode="0.0">
                  <c:v>11.317525256742091</c:v>
                </c:pt>
                <c:pt idx="75" formatCode="0.0">
                  <c:v>11.367621274108711</c:v>
                </c:pt>
                <c:pt idx="76" formatCode="0.0">
                  <c:v>11.190197879268601</c:v>
                </c:pt>
                <c:pt idx="77" formatCode="0.0">
                  <c:v>10.833263755531432</c:v>
                </c:pt>
                <c:pt idx="78" formatCode="0.0">
                  <c:v>11.753778074643066</c:v>
                </c:pt>
                <c:pt idx="79" formatCode="0.0">
                  <c:v>11.69115805293479</c:v>
                </c:pt>
                <c:pt idx="80" formatCode="0.0">
                  <c:v>12.561576354679802</c:v>
                </c:pt>
                <c:pt idx="81" formatCode="0.0">
                  <c:v>13.221173916673621</c:v>
                </c:pt>
                <c:pt idx="82" formatCode="0.0">
                  <c:v>13.86407280621191</c:v>
                </c:pt>
                <c:pt idx="83" formatCode="0.0">
                  <c:v>14.968272522334473</c:v>
                </c:pt>
                <c:pt idx="84" formatCode="0.0">
                  <c:v>16.185188277531925</c:v>
                </c:pt>
                <c:pt idx="85" formatCode="0.0">
                  <c:v>16.206061618101362</c:v>
                </c:pt>
                <c:pt idx="86" formatCode="0.0">
                  <c:v>19.31201469483176</c:v>
                </c:pt>
                <c:pt idx="87" formatCode="0.0">
                  <c:v>20.666694497787432</c:v>
                </c:pt>
                <c:pt idx="88" formatCode="0.0">
                  <c:v>21.330466727895136</c:v>
                </c:pt>
                <c:pt idx="89" formatCode="0.0">
                  <c:v>21.7959422225933</c:v>
                </c:pt>
                <c:pt idx="90" formatCode="0.0">
                  <c:v>22.962761960424146</c:v>
                </c:pt>
                <c:pt idx="91" formatCode="0.0">
                  <c:v>23.453285463805631</c:v>
                </c:pt>
                <c:pt idx="92" formatCode="0.0">
                  <c:v>23.720464223094265</c:v>
                </c:pt>
                <c:pt idx="93" formatCode="0.0">
                  <c:v>21.741671537112797</c:v>
                </c:pt>
                <c:pt idx="94" formatCode="0.0">
                  <c:v>19.034399265258415</c:v>
                </c:pt>
                <c:pt idx="95" formatCode="0.0">
                  <c:v>21.345078066293731</c:v>
                </c:pt>
                <c:pt idx="96" formatCode="0.0">
                  <c:v>22.365784420138596</c:v>
                </c:pt>
                <c:pt idx="97" formatCode="0.0">
                  <c:v>22.073557652166652</c:v>
                </c:pt>
                <c:pt idx="98" formatCode="0.0">
                  <c:v>21.996326292059781</c:v>
                </c:pt>
                <c:pt idx="99" formatCode="0.0">
                  <c:v>21.987976955832014</c:v>
                </c:pt>
                <c:pt idx="100" formatCode="0.0">
                  <c:v>21.082073975118977</c:v>
                </c:pt>
                <c:pt idx="101" formatCode="0.0">
                  <c:v>22.501461133839857</c:v>
                </c:pt>
                <c:pt idx="102" formatCode="0.0">
                  <c:v>19.971612256825576</c:v>
                </c:pt>
                <c:pt idx="103" formatCode="0.0">
                  <c:v>18.581447774901889</c:v>
                </c:pt>
                <c:pt idx="104" formatCode="0.0">
                  <c:v>17.556566752943134</c:v>
                </c:pt>
                <c:pt idx="105" formatCode="0.0">
                  <c:v>17.022209234365857</c:v>
                </c:pt>
                <c:pt idx="106" formatCode="0.0">
                  <c:v>17.965684228103861</c:v>
                </c:pt>
                <c:pt idx="107" formatCode="0.0">
                  <c:v>19.324538699173416</c:v>
                </c:pt>
                <c:pt idx="108" formatCode="0.0">
                  <c:v>19.276530015863727</c:v>
                </c:pt>
                <c:pt idx="109" formatCode="0.0">
                  <c:v>19.082407948568083</c:v>
                </c:pt>
                <c:pt idx="110" formatCode="0.0">
                  <c:v>18.79435584871003</c:v>
                </c:pt>
                <c:pt idx="111" formatCode="0.0">
                  <c:v>18.412373716289554</c:v>
                </c:pt>
                <c:pt idx="112" formatCode="0.0">
                  <c:v>18.721299156717038</c:v>
                </c:pt>
                <c:pt idx="113" formatCode="0.0">
                  <c:v>19.234783334724884</c:v>
                </c:pt>
                <c:pt idx="114" formatCode="0.0">
                  <c:v>18.913333889955741</c:v>
                </c:pt>
                <c:pt idx="115" formatCode="0.0">
                  <c:v>18.775569842197537</c:v>
                </c:pt>
                <c:pt idx="116" formatCode="0.0">
                  <c:v>18.913333889955741</c:v>
                </c:pt>
                <c:pt idx="117" formatCode="0.0">
                  <c:v>18.965517241379295</c:v>
                </c:pt>
                <c:pt idx="118" formatCode="0.0">
                  <c:v>19.961175586540865</c:v>
                </c:pt>
                <c:pt idx="119" formatCode="0.0">
                  <c:v>20.194957000918432</c:v>
                </c:pt>
                <c:pt idx="120" formatCode="0.0">
                  <c:v>18.608583117642151</c:v>
                </c:pt>
                <c:pt idx="121" formatCode="0.0">
                  <c:v>18.731735827001756</c:v>
                </c:pt>
                <c:pt idx="122" formatCode="0.0">
                  <c:v>19.059447273941714</c:v>
                </c:pt>
                <c:pt idx="123" formatCode="0.0">
                  <c:v>18.70251315020456</c:v>
                </c:pt>
                <c:pt idx="124" formatCode="0.0">
                  <c:v>18.510478416965849</c:v>
                </c:pt>
                <c:pt idx="125" formatCode="0.0">
                  <c:v>17.546130082658433</c:v>
                </c:pt>
                <c:pt idx="126" formatCode="0.0">
                  <c:v>16.788427819988303</c:v>
                </c:pt>
                <c:pt idx="127" formatCode="0.0">
                  <c:v>17.249728646572592</c:v>
                </c:pt>
                <c:pt idx="128" formatCode="0.0">
                  <c:v>17.05560657927694</c:v>
                </c:pt>
                <c:pt idx="129" formatCode="0.0">
                  <c:v>17.089003924188027</c:v>
                </c:pt>
                <c:pt idx="130" formatCode="0.0">
                  <c:v>16.855222509810471</c:v>
                </c:pt>
                <c:pt idx="131" formatCode="0.0">
                  <c:v>15.711363446605995</c:v>
                </c:pt>
                <c:pt idx="132" formatCode="0.0">
                  <c:v>13.417383318026218</c:v>
                </c:pt>
                <c:pt idx="133" formatCode="0.0">
                  <c:v>12.795357769057357</c:v>
                </c:pt>
                <c:pt idx="134" formatCode="0.0">
                  <c:v>13.131418552225099</c:v>
                </c:pt>
                <c:pt idx="135" formatCode="0.0">
                  <c:v>12.402938966352178</c:v>
                </c:pt>
                <c:pt idx="136" formatCode="0.0">
                  <c:v>12.016782165817817</c:v>
                </c:pt>
                <c:pt idx="137" formatCode="0.0">
                  <c:v>11.73499206813058</c:v>
                </c:pt>
                <c:pt idx="138" formatCode="0.0">
                  <c:v>12.843366452367039</c:v>
                </c:pt>
                <c:pt idx="139" formatCode="0.0">
                  <c:v>14.252316940803206</c:v>
                </c:pt>
                <c:pt idx="140" formatCode="0.0">
                  <c:v>13.889120814895218</c:v>
                </c:pt>
                <c:pt idx="141" formatCode="0.0">
                  <c:v>12.294397595391167</c:v>
                </c:pt>
                <c:pt idx="142" formatCode="0.0">
                  <c:v>11.505385321866914</c:v>
                </c:pt>
                <c:pt idx="143" formatCode="0.0">
                  <c:v>10.87918510478417</c:v>
                </c:pt>
                <c:pt idx="144" formatCode="0.0">
                  <c:v>10.762294397595394</c:v>
                </c:pt>
                <c:pt idx="145" formatCode="0.0">
                  <c:v>9.93362277698923</c:v>
                </c:pt>
                <c:pt idx="146" formatCode="0.0">
                  <c:v>9.3429072388745098</c:v>
                </c:pt>
                <c:pt idx="147" formatCode="0.0">
                  <c:v>8.9296150955998996</c:v>
                </c:pt>
                <c:pt idx="148" formatCode="0.0">
                  <c:v>8.9630124405109779</c:v>
                </c:pt>
                <c:pt idx="149" formatCode="0.0">
                  <c:v>8.6812223428237427</c:v>
                </c:pt>
                <c:pt idx="150" formatCode="0.0">
                  <c:v>7.9402187526091694</c:v>
                </c:pt>
                <c:pt idx="151" formatCode="0.0">
                  <c:v>7.0948484595474657</c:v>
                </c:pt>
                <c:pt idx="152" formatCode="0.0">
                  <c:v>6.514569591717458</c:v>
                </c:pt>
                <c:pt idx="153" formatCode="0.0">
                  <c:v>6.5479669366285371</c:v>
                </c:pt>
                <c:pt idx="154" formatCode="0.0">
                  <c:v>6.3768055439592555</c:v>
                </c:pt>
                <c:pt idx="155" formatCode="0.0">
                  <c:v>5.2287718126408951</c:v>
                </c:pt>
                <c:pt idx="156" formatCode="0.0">
                  <c:v>4.9615930533522592</c:v>
                </c:pt>
                <c:pt idx="157" formatCode="0.0">
                  <c:v>5.32687651331719</c:v>
                </c:pt>
                <c:pt idx="158" formatCode="0.0">
                  <c:v>5.0116890707188784</c:v>
                </c:pt>
                <c:pt idx="159" formatCode="0.0">
                  <c:v>5.1974618017867567</c:v>
                </c:pt>
                <c:pt idx="160" formatCode="0.0">
                  <c:v>5.0012524004341685</c:v>
                </c:pt>
                <c:pt idx="161" formatCode="0.0">
                  <c:v>5.0576104199716116</c:v>
                </c:pt>
                <c:pt idx="162" formatCode="0.0">
                  <c:v>5.5815312682641727</c:v>
                </c:pt>
                <c:pt idx="163" formatCode="0.0">
                  <c:v>5.5105619103281294</c:v>
                </c:pt>
                <c:pt idx="164" formatCode="0.0">
                  <c:v>4.9323703765550642</c:v>
                </c:pt>
                <c:pt idx="165" formatCode="0.0">
                  <c:v>4.7925189947399183</c:v>
                </c:pt>
                <c:pt idx="166" formatCode="0.0">
                  <c:v>4.4648075477999489</c:v>
                </c:pt>
                <c:pt idx="167" formatCode="0.0">
                  <c:v>4.2957334891876107</c:v>
                </c:pt>
                <c:pt idx="168" formatCode="0.0">
                  <c:v>4.2623361442765306</c:v>
                </c:pt>
                <c:pt idx="169" formatCode="0.0">
                  <c:v>3.7300659597561996</c:v>
                </c:pt>
                <c:pt idx="170" formatCode="0.0">
                  <c:v>3.4587125323536783</c:v>
                </c:pt>
                <c:pt idx="171" formatCode="0.0">
                  <c:v>3.2666777991149702</c:v>
                </c:pt>
                <c:pt idx="172" formatCode="0.0">
                  <c:v>2.9034816732069801</c:v>
                </c:pt>
                <c:pt idx="173" formatCode="0.0">
                  <c:v>2.7552809551640647</c:v>
                </c:pt>
                <c:pt idx="174" formatCode="0.0">
                  <c:v>2.8262503131001075</c:v>
                </c:pt>
                <c:pt idx="175" formatCode="0.0">
                  <c:v>2.7824162979043172</c:v>
                </c:pt>
                <c:pt idx="176" formatCode="0.0">
                  <c:v>2.8304249812139934</c:v>
                </c:pt>
                <c:pt idx="177" formatCode="0.0">
                  <c:v>2.7323202805376976</c:v>
                </c:pt>
                <c:pt idx="178" formatCode="0.0">
                  <c:v>2.6717875928863659</c:v>
                </c:pt>
                <c:pt idx="179" formatCode="0.0">
                  <c:v>2.7260582783668701</c:v>
                </c:pt>
                <c:pt idx="180" formatCode="0.0">
                  <c:v>2.6697002588294239</c:v>
                </c:pt>
                <c:pt idx="181" formatCode="0.0">
                  <c:v>2.5528095516406442</c:v>
                </c:pt>
                <c:pt idx="182" formatCode="0.0">
                  <c:v>2.5402855472989896</c:v>
                </c:pt>
                <c:pt idx="183" formatCode="0.0">
                  <c:v>2.6530015863738834</c:v>
                </c:pt>
                <c:pt idx="184" formatCode="0.0">
                  <c:v>2.6822242631710784</c:v>
                </c:pt>
                <c:pt idx="185" formatCode="0.0">
                  <c:v>2.6321282458044593</c:v>
                </c:pt>
                <c:pt idx="186" formatCode="0.0">
                  <c:v>2.7072722718543876</c:v>
                </c:pt>
                <c:pt idx="187" formatCode="0.0">
                  <c:v>2.5966435668364372</c:v>
                </c:pt>
                <c:pt idx="188" formatCode="0.0">
                  <c:v>2.5924688987225513</c:v>
                </c:pt>
                <c:pt idx="189" formatCode="0.0">
                  <c:v>2.5194122067295646</c:v>
                </c:pt>
                <c:pt idx="190" formatCode="0.0">
                  <c:v>2.3858228270852466</c:v>
                </c:pt>
                <c:pt idx="191" formatCode="0.0">
                  <c:v>2.3545128162311091</c:v>
                </c:pt>
                <c:pt idx="192" formatCode="0.0">
                  <c:v>2.3148534691492015</c:v>
                </c:pt>
                <c:pt idx="193" formatCode="0.0">
                  <c:v>2.2522334474409282</c:v>
                </c:pt>
                <c:pt idx="194" formatCode="0.0">
                  <c:v>2.2459714452701012</c:v>
                </c:pt>
                <c:pt idx="195" formatCode="0.0">
                  <c:v>2.170827419220172</c:v>
                </c:pt>
                <c:pt idx="196" formatCode="0.0">
                  <c:v>2.2501461133839857</c:v>
                </c:pt>
                <c:pt idx="197" formatCode="0.0">
                  <c:v>2.2188361025298482</c:v>
                </c:pt>
                <c:pt idx="198" formatCode="0.0">
                  <c:v>2.2647574517825841</c:v>
                </c:pt>
                <c:pt idx="199" formatCode="0.0">
                  <c:v>2.2271854387576195</c:v>
                </c:pt>
                <c:pt idx="200" formatCode="0.0">
                  <c:v>1.9558320113550971</c:v>
                </c:pt>
                <c:pt idx="201" formatCode="0.0">
                  <c:v>1.9266093345579025</c:v>
                </c:pt>
                <c:pt idx="202" formatCode="0.0">
                  <c:v>2.0184520330633706</c:v>
                </c:pt>
                <c:pt idx="203" formatCode="0.0">
                  <c:v>1.9307840026717875</c:v>
                </c:pt>
                <c:pt idx="204" formatCode="0.0">
                  <c:v>1.8973866577607077</c:v>
                </c:pt>
                <c:pt idx="205" formatCode="0.0">
                  <c:v>1.6865659180095183</c:v>
                </c:pt>
                <c:pt idx="206" formatCode="0.0">
                  <c:v>1.7450112716039075</c:v>
                </c:pt>
                <c:pt idx="207" formatCode="0.0">
                  <c:v>1.9996660265508894</c:v>
                </c:pt>
                <c:pt idx="208" formatCode="0.0">
                  <c:v>2.1249060699674387</c:v>
                </c:pt>
                <c:pt idx="209" formatCode="0.0">
                  <c:v>2.1374300743090933</c:v>
                </c:pt>
                <c:pt idx="210" formatCode="0.0">
                  <c:v>2.2021374300743086</c:v>
                </c:pt>
                <c:pt idx="211" formatCode="0.0">
                  <c:v>2.2689321198964687</c:v>
                </c:pt>
                <c:pt idx="212" formatCode="0.0">
                  <c:v>2.3461634800033395</c:v>
                </c:pt>
                <c:pt idx="213" formatCode="0.0">
                  <c:v>2.5131502045587375</c:v>
                </c:pt>
                <c:pt idx="214" formatCode="0.0">
                  <c:v>2.9514903565166581</c:v>
                </c:pt>
                <c:pt idx="215" formatCode="0.0">
                  <c:v>3.1101277448442852</c:v>
                </c:pt>
                <c:pt idx="216" formatCode="0.0">
                  <c:v>3.1623110962678473</c:v>
                </c:pt>
                <c:pt idx="217" formatCode="0.0">
                  <c:v>3.1372630875845373</c:v>
                </c:pt>
                <c:pt idx="218" formatCode="0.0">
                  <c:v>3.3355598229940715</c:v>
                </c:pt>
                <c:pt idx="219" formatCode="0.0">
                  <c:v>3.3731318360190374</c:v>
                </c:pt>
                <c:pt idx="220" formatCode="0.0">
                  <c:v>3.5275945562327808</c:v>
                </c:pt>
                <c:pt idx="221" formatCode="0.0">
                  <c:v>3.1602237622109053</c:v>
                </c:pt>
                <c:pt idx="222" formatCode="0.0">
                  <c:v>3.0662937296484931</c:v>
                </c:pt>
                <c:pt idx="223" formatCode="0.0">
                  <c:v>3.1351757535275953</c:v>
                </c:pt>
                <c:pt idx="224" formatCode="0.0">
                  <c:v>3.2729398012857982</c:v>
                </c:pt>
                <c:pt idx="225" formatCode="0.0">
                  <c:v>3.214494447691409</c:v>
                </c:pt>
                <c:pt idx="226" formatCode="0.0">
                  <c:v>3.4774985388661608</c:v>
                </c:pt>
                <c:pt idx="227" formatCode="0.0">
                  <c:v>3.3063371461968782</c:v>
                </c:pt>
                <c:pt idx="228" formatCode="0.0">
                  <c:v>3.5693412373716291</c:v>
                </c:pt>
                <c:pt idx="229" formatCode="0.0">
                  <c:v>3.6382232612507308</c:v>
                </c:pt>
                <c:pt idx="230" formatCode="0.0">
                  <c:v>3.5651665692577441</c:v>
                </c:pt>
                <c:pt idx="231" formatCode="0.0">
                  <c:v>3.4461885280120232</c:v>
                </c:pt>
                <c:pt idx="232" formatCode="0.0">
                  <c:v>3.3480838273357274</c:v>
                </c:pt>
                <c:pt idx="233" formatCode="0.0">
                  <c:v>3.2520664607163732</c:v>
                </c:pt>
                <c:pt idx="234" formatCode="0.0">
                  <c:v>3.2708524672288548</c:v>
                </c:pt>
                <c:pt idx="235" formatCode="0.0">
                  <c:v>2.9953243717124494</c:v>
                </c:pt>
                <c:pt idx="236" formatCode="0.0">
                  <c:v>3.0099357101110469</c:v>
                </c:pt>
                <c:pt idx="237" formatCode="0.0">
                  <c:v>2.9347916840611172</c:v>
                </c:pt>
                <c:pt idx="238" formatCode="0.0">
                  <c:v>2.9431410202888868</c:v>
                </c:pt>
                <c:pt idx="239" formatCode="0.0">
                  <c:v>3.0078483760541026</c:v>
                </c:pt>
                <c:pt idx="240" formatCode="0.0">
                  <c:v>3.1080404107873432</c:v>
                </c:pt>
                <c:pt idx="241" formatCode="0.0">
                  <c:v>3.1915337730650415</c:v>
                </c:pt>
                <c:pt idx="242" formatCode="0.0">
                  <c:v>3.5255072221758379</c:v>
                </c:pt>
                <c:pt idx="243" formatCode="0.0">
                  <c:v>3.4441011939550807</c:v>
                </c:pt>
                <c:pt idx="244" formatCode="0.0">
                  <c:v>3.6215245887951926</c:v>
                </c:pt>
                <c:pt idx="245" formatCode="0.0">
                  <c:v>3.7446772981547976</c:v>
                </c:pt>
                <c:pt idx="246" formatCode="0.0">
                  <c:v>4.1141354262336138</c:v>
                </c:pt>
                <c:pt idx="247" formatCode="0.0">
                  <c:v>4.3646155130667097</c:v>
                </c:pt>
                <c:pt idx="248" formatCode="0.0">
                  <c:v>4.8113050012524008</c:v>
                </c:pt>
                <c:pt idx="249" formatCode="0.0">
                  <c:v>4.8259163396509948</c:v>
                </c:pt>
                <c:pt idx="250" formatCode="0.0">
                  <c:v>5.3707105285129835</c:v>
                </c:pt>
                <c:pt idx="251" formatCode="0.0">
                  <c:v>5.685897971111296</c:v>
                </c:pt>
                <c:pt idx="252" formatCode="0.0">
                  <c:v>5.8821073724638895</c:v>
                </c:pt>
                <c:pt idx="253" formatCode="0.0">
                  <c:v>5.9447273941721654</c:v>
                </c:pt>
                <c:pt idx="254" formatCode="0.0">
                  <c:v>6.5563162728563071</c:v>
                </c:pt>
                <c:pt idx="255" formatCode="0.0">
                  <c:v>6.6857309843867405</c:v>
                </c:pt>
                <c:pt idx="256" formatCode="0.0">
                  <c:v>7.3578525507222166</c:v>
                </c:pt>
                <c:pt idx="257" formatCode="0.0">
                  <c:v>7.5853719629289476</c:v>
                </c:pt>
                <c:pt idx="258" formatCode="0.0">
                  <c:v>7.9569174250647086</c:v>
                </c:pt>
                <c:pt idx="259" formatCode="0.0">
                  <c:v>8.8315103949236047</c:v>
                </c:pt>
                <c:pt idx="260" formatCode="0.0">
                  <c:v>10.056775486348837</c:v>
                </c:pt>
                <c:pt idx="261" formatCode="0.0">
                  <c:v>10.708023712114885</c:v>
                </c:pt>
                <c:pt idx="262" formatCode="0.0">
                  <c:v>11.655673373966771</c:v>
                </c:pt>
                <c:pt idx="263" formatCode="0.0">
                  <c:v>12.377890957668871</c:v>
                </c:pt>
                <c:pt idx="264" formatCode="0.0">
                  <c:v>13.110545211655674</c:v>
                </c:pt>
                <c:pt idx="265" formatCode="0.0">
                  <c:v>13.632378725891293</c:v>
                </c:pt>
                <c:pt idx="266" formatCode="0.0">
                  <c:v>13.13768055439593</c:v>
                </c:pt>
                <c:pt idx="267" formatCode="0.0">
                  <c:v>13.749269433080071</c:v>
                </c:pt>
                <c:pt idx="268" formatCode="0.0">
                  <c:v>14.490273023294648</c:v>
                </c:pt>
                <c:pt idx="269" formatCode="0.0">
                  <c:v>15.64039408866995</c:v>
                </c:pt>
                <c:pt idx="270" formatCode="0.0">
                  <c:v>17.051431911163057</c:v>
                </c:pt>
                <c:pt idx="271" formatCode="0.0">
                  <c:v>17.798697503548464</c:v>
                </c:pt>
                <c:pt idx="272" formatCode="0.0">
                  <c:v>18.464557067713116</c:v>
                </c:pt>
                <c:pt idx="273" formatCode="0.0">
                  <c:v>19.852634215579858</c:v>
                </c:pt>
                <c:pt idx="274" formatCode="0.0">
                  <c:v>21.26158470401603</c:v>
                </c:pt>
                <c:pt idx="275" formatCode="0.0">
                  <c:v>23.879101611421891</c:v>
                </c:pt>
                <c:pt idx="276" formatCode="0.0">
                  <c:v>25.966435668364365</c:v>
                </c:pt>
                <c:pt idx="277" formatCode="0.0">
                  <c:v>27.680136929114134</c:v>
                </c:pt>
                <c:pt idx="278" formatCode="0.0">
                  <c:v>30.462553227018454</c:v>
                </c:pt>
                <c:pt idx="279" formatCode="0.0">
                  <c:v>31.848543040828247</c:v>
                </c:pt>
                <c:pt idx="280" formatCode="0.0">
                  <c:v>35.409534941972112</c:v>
                </c:pt>
                <c:pt idx="281" formatCode="0.0">
                  <c:v>37.895549803790594</c:v>
                </c:pt>
                <c:pt idx="282" formatCode="0.0">
                  <c:v>38.118894547883436</c:v>
                </c:pt>
                <c:pt idx="283" formatCode="0.0">
                  <c:v>39.498622359522422</c:v>
                </c:pt>
                <c:pt idx="284" formatCode="0.0">
                  <c:v>41.435668364365036</c:v>
                </c:pt>
                <c:pt idx="285" formatCode="0.0">
                  <c:v>41.356349670201205</c:v>
                </c:pt>
                <c:pt idx="286" formatCode="0.0">
                  <c:v>43.105535609919023</c:v>
                </c:pt>
                <c:pt idx="287" formatCode="0.0">
                  <c:v>43.493779744510327</c:v>
                </c:pt>
                <c:pt idx="288" formatCode="0.0">
                  <c:v>44.913166903231186</c:v>
                </c:pt>
                <c:pt idx="289" formatCode="0.0">
                  <c:v>46.860649578358505</c:v>
                </c:pt>
                <c:pt idx="290" formatCode="0.0">
                  <c:v>47.572430491775911</c:v>
                </c:pt>
                <c:pt idx="291" formatCode="0.0">
                  <c:v>46.153043333055017</c:v>
                </c:pt>
                <c:pt idx="292" formatCode="0.0">
                  <c:v>46.274108708357687</c:v>
                </c:pt>
                <c:pt idx="293" formatCode="0.0">
                  <c:v>45.551891124655583</c:v>
                </c:pt>
                <c:pt idx="294" formatCode="0.0">
                  <c:v>44.071971278283371</c:v>
                </c:pt>
                <c:pt idx="295" formatCode="0.0">
                  <c:v>44.228521332554074</c:v>
                </c:pt>
                <c:pt idx="296" formatCode="0.0">
                  <c:v>45.345245053018274</c:v>
                </c:pt>
                <c:pt idx="297" formatCode="0.0">
                  <c:v>44.700258829423063</c:v>
                </c:pt>
                <c:pt idx="298" formatCode="0.0">
                  <c:v>45.07180429155882</c:v>
                </c:pt>
                <c:pt idx="299" formatCode="0.0">
                  <c:v>45.599899807965265</c:v>
                </c:pt>
                <c:pt idx="300" formatCode="0.0">
                  <c:v>47.234282374551235</c:v>
                </c:pt>
                <c:pt idx="301" formatCode="0.0">
                  <c:v>47.163313016615184</c:v>
                </c:pt>
                <c:pt idx="302" formatCode="0.0">
                  <c:v>46.702012190030906</c:v>
                </c:pt>
                <c:pt idx="303" formatCode="0.0">
                  <c:v>44.959088252483916</c:v>
                </c:pt>
                <c:pt idx="304" formatCode="0.0">
                  <c:v>45.412039742840456</c:v>
                </c:pt>
                <c:pt idx="305" formatCode="0.0">
                  <c:v>46.125907990314786</c:v>
                </c:pt>
                <c:pt idx="306" formatCode="0.0">
                  <c:v>46.593470819069893</c:v>
                </c:pt>
                <c:pt idx="307" formatCode="0.0">
                  <c:v>44.929865575686719</c:v>
                </c:pt>
                <c:pt idx="308" formatCode="0.0">
                  <c:v>44.961175586540868</c:v>
                </c:pt>
                <c:pt idx="309" formatCode="0.0">
                  <c:v>43.17650496785506</c:v>
                </c:pt>
                <c:pt idx="310" formatCode="0.0">
                  <c:v>41.844785839525763</c:v>
                </c:pt>
                <c:pt idx="311" formatCode="0.0">
                  <c:v>39.385906320447525</c:v>
                </c:pt>
                <c:pt idx="312" formatCode="0.0">
                  <c:v>36.866494113717948</c:v>
                </c:pt>
                <c:pt idx="313" formatCode="0.0">
                  <c:v>33.885781080404101</c:v>
                </c:pt>
                <c:pt idx="314" formatCode="0.0">
                  <c:v>31.188945478834434</c:v>
                </c:pt>
                <c:pt idx="315" formatCode="0.0">
                  <c:v>28.538031226517493</c:v>
                </c:pt>
                <c:pt idx="316" formatCode="0.0">
                  <c:v>25.367370794021877</c:v>
                </c:pt>
                <c:pt idx="317" formatCode="0.0">
                  <c:v>22.610002504800867</c:v>
                </c:pt>
                <c:pt idx="318" formatCode="0.0">
                  <c:v>20.816982549887285</c:v>
                </c:pt>
                <c:pt idx="319" formatCode="0.0">
                  <c:v>19.038573933372291</c:v>
                </c:pt>
                <c:pt idx="320" formatCode="0.0">
                  <c:v>17.101527928529681</c:v>
                </c:pt>
                <c:pt idx="321" formatCode="0.0">
                  <c:v>15.736411455289305</c:v>
                </c:pt>
                <c:pt idx="322" formatCode="0.0">
                  <c:v>14.467312348668285</c:v>
                </c:pt>
                <c:pt idx="323" formatCode="0.0">
                  <c:v>13.632378725891289</c:v>
                </c:pt>
                <c:pt idx="324" formatCode="0.0">
                  <c:v>12.294397595391167</c:v>
                </c:pt>
                <c:pt idx="325" formatCode="0.0">
                  <c:v>10.689237705602405</c:v>
                </c:pt>
                <c:pt idx="326" formatCode="0.0">
                  <c:v>9.4284879352091533</c:v>
                </c:pt>
                <c:pt idx="327" formatCode="0.0">
                  <c:v>8.7772397094430996</c:v>
                </c:pt>
                <c:pt idx="328" formatCode="0.0">
                  <c:v>8.6749603406529179</c:v>
                </c:pt>
                <c:pt idx="329" formatCode="0.0">
                  <c:v>8.4411789262753594</c:v>
                </c:pt>
                <c:pt idx="330" formatCode="0.0">
                  <c:v>7.6584286549219343</c:v>
                </c:pt>
                <c:pt idx="331" formatCode="0.0">
                  <c:v>7.0092677632128275</c:v>
                </c:pt>
                <c:pt idx="332" formatCode="0.0">
                  <c:v>6.5584036069132505</c:v>
                </c:pt>
                <c:pt idx="333" formatCode="0.0">
                  <c:v>5.9447273941721654</c:v>
                </c:pt>
                <c:pt idx="334" formatCode="0.0">
                  <c:v>5.7819153377306503</c:v>
                </c:pt>
                <c:pt idx="335" formatCode="0.0">
                  <c:v>5.6504132921432753</c:v>
                </c:pt>
                <c:pt idx="336" formatCode="0.0">
                  <c:v>5.5084745762711851</c:v>
                </c:pt>
                <c:pt idx="337" formatCode="0.0">
                  <c:v>5.2037238039575868</c:v>
                </c:pt>
                <c:pt idx="338" formatCode="0.0">
                  <c:v>4.8864490273023318</c:v>
                </c:pt>
                <c:pt idx="339" formatCode="0.0">
                  <c:v>4.72572430491776</c:v>
                </c:pt>
                <c:pt idx="340" formatCode="0.0">
                  <c:v>4.5462135760207065</c:v>
                </c:pt>
                <c:pt idx="341" formatCode="0.0">
                  <c:v>4.4042748601486181</c:v>
                </c:pt>
                <c:pt idx="342" formatCode="0.0">
                  <c:v>4.375052183351424</c:v>
                </c:pt>
                <c:pt idx="343" formatCode="0.0">
                  <c:v>4.2268514653085081</c:v>
                </c:pt>
                <c:pt idx="344" formatCode="0.0">
                  <c:v>3.9951573849878934</c:v>
                </c:pt>
                <c:pt idx="345" formatCode="0.0">
                  <c:v>3.9763713784754122</c:v>
                </c:pt>
                <c:pt idx="346" formatCode="0.0">
                  <c:v>3.7780746430658758</c:v>
                </c:pt>
                <c:pt idx="347" formatCode="0.0">
                  <c:v>3.7405026300409125</c:v>
                </c:pt>
                <c:pt idx="348" formatCode="0.0">
                  <c:v>3.6173499206813062</c:v>
                </c:pt>
                <c:pt idx="349" formatCode="0.0">
                  <c:v>3.5568172330299737</c:v>
                </c:pt>
                <c:pt idx="350" formatCode="0.0">
                  <c:v>3.5463805627452625</c:v>
                </c:pt>
                <c:pt idx="351" formatCode="0.0">
                  <c:v>3.4378391917842528</c:v>
                </c:pt>
                <c:pt idx="352" formatCode="0.0">
                  <c:v>3.2833764715705112</c:v>
                </c:pt>
                <c:pt idx="353" formatCode="0.0">
                  <c:v>3.1643984303247885</c:v>
                </c:pt>
                <c:pt idx="354" formatCode="0.0">
                  <c:v>3.1038657426734582</c:v>
                </c:pt>
                <c:pt idx="355" formatCode="0.0">
                  <c:v>2.9681890289721977</c:v>
                </c:pt>
                <c:pt idx="356" formatCode="0.0">
                  <c:v>2.9786256992569089</c:v>
                </c:pt>
                <c:pt idx="357" formatCode="0.0">
                  <c:v>2.9410536862319447</c:v>
                </c:pt>
                <c:pt idx="358" formatCode="0.0">
                  <c:v>2.8095516406445689</c:v>
                </c:pt>
                <c:pt idx="359" formatCode="0.0">
                  <c:v>2.7051849377974455</c:v>
                </c:pt>
                <c:pt idx="360" formatCode="0.0">
                  <c:v>2.6509142523169418</c:v>
                </c:pt>
                <c:pt idx="361" formatCode="0.0">
                  <c:v>2.5882942306086671</c:v>
                </c:pt>
                <c:pt idx="362" formatCode="0.0">
                  <c:v>2.5361108791851046</c:v>
                </c:pt>
                <c:pt idx="363" formatCode="0.0">
                  <c:v>2.5423728813559325</c:v>
                </c:pt>
                <c:pt idx="364" formatCode="0.0">
                  <c:v>2.53193621107122</c:v>
                </c:pt>
                <c:pt idx="365" formatCode="0.0">
                  <c:v>2.4087835017116146</c:v>
                </c:pt>
                <c:pt idx="366" formatCode="0.0">
                  <c:v>2.4734908574768308</c:v>
                </c:pt>
                <c:pt idx="367" formatCode="0.0">
                  <c:v>2.3879101611421896</c:v>
                </c:pt>
                <c:pt idx="368" formatCode="0.0">
                  <c:v>2.4839275277615442</c:v>
                </c:pt>
                <c:pt idx="369" formatCode="0.0">
                  <c:v>2.3962594973699587</c:v>
                </c:pt>
                <c:pt idx="370" formatCode="0.0">
                  <c:v>2.3106788010353179</c:v>
                </c:pt>
                <c:pt idx="371" formatCode="0.0">
                  <c:v>2.4004341654838437</c:v>
                </c:pt>
                <c:pt idx="372" formatCode="0.0">
                  <c:v>2.4755781915337725</c:v>
                </c:pt>
                <c:pt idx="373" formatCode="0.0">
                  <c:v>2.4776655255907154</c:v>
                </c:pt>
                <c:pt idx="374" formatCode="0.0">
                  <c:v>2.5486348835267596</c:v>
                </c:pt>
                <c:pt idx="375" formatCode="0.0">
                  <c:v>2.4922768639893134</c:v>
                </c:pt>
                <c:pt idx="376" formatCode="0.0">
                  <c:v>2.4881021958754279</c:v>
                </c:pt>
                <c:pt idx="377" formatCode="0.0">
                  <c:v>2.5653335559822996</c:v>
                </c:pt>
                <c:pt idx="378" formatCode="0.0">
                  <c:v>2.4066961676546712</c:v>
                </c:pt>
                <c:pt idx="379" formatCode="0.0">
                  <c:v>2.2939801285797787</c:v>
                </c:pt>
                <c:pt idx="380" formatCode="0.0">
                  <c:v>2.3962594973699582</c:v>
                </c:pt>
                <c:pt idx="381" formatCode="0.0">
                  <c:v>2.4066961676546712</c:v>
                </c:pt>
                <c:pt idx="382" formatCode="0.0">
                  <c:v>2.544460215412875</c:v>
                </c:pt>
                <c:pt idx="383" formatCode="0.0">
                  <c:v>2.5402855472989896</c:v>
                </c:pt>
                <c:pt idx="384" formatCode="0.0">
                  <c:v>2.49853886616014</c:v>
                </c:pt>
                <c:pt idx="385" formatCode="0.0">
                  <c:v>2.5778575603239546</c:v>
                </c:pt>
                <c:pt idx="386" formatCode="0.0">
                  <c:v>2.7114469399682721</c:v>
                </c:pt>
                <c:pt idx="387" formatCode="0.0">
                  <c:v>2.5486348835267596</c:v>
                </c:pt>
                <c:pt idx="388" formatCode="0.0">
                  <c:v>2.4588795190782333</c:v>
                </c:pt>
                <c:pt idx="389" formatCode="0.0">
                  <c:v>2.1061200634549557</c:v>
                </c:pt>
                <c:pt idx="390" formatCode="0.0">
                  <c:v>1.9370460048426155</c:v>
                </c:pt>
                <c:pt idx="391" formatCode="0.0">
                  <c:v>1.9787926859814644</c:v>
                </c:pt>
                <c:pt idx="392" formatCode="0.0">
                  <c:v>1.9140853302162482</c:v>
                </c:pt>
                <c:pt idx="393" formatCode="0.0">
                  <c:v>1.6385572346998416</c:v>
                </c:pt>
                <c:pt idx="394" formatCode="0.0">
                  <c:v>1.6740419136678637</c:v>
                </c:pt>
                <c:pt idx="395" formatCode="0.0">
                  <c:v>1.6719545796109212</c:v>
                </c:pt>
                <c:pt idx="396" formatCode="0.0">
                  <c:v>1.7387492694330802</c:v>
                </c:pt>
                <c:pt idx="397" formatCode="0.0">
                  <c:v>1.8786006512482258</c:v>
                </c:pt>
                <c:pt idx="398" formatCode="0.0">
                  <c:v>1.8138932954830085</c:v>
                </c:pt>
                <c:pt idx="399" formatCode="0.0">
                  <c:v>1.8598146447357435</c:v>
                </c:pt>
                <c:pt idx="400" formatCode="0.0">
                  <c:v>2.0685480504299902</c:v>
                </c:pt>
                <c:pt idx="401" formatCode="0.0">
                  <c:v>1.8744259831343411</c:v>
                </c:pt>
                <c:pt idx="402" formatCode="0.0">
                  <c:v>1.9600066794689823</c:v>
                </c:pt>
                <c:pt idx="403" formatCode="0.0">
                  <c:v>1.9954913584370042</c:v>
                </c:pt>
                <c:pt idx="404" formatCode="0.0">
                  <c:v>2.043500041746682</c:v>
                </c:pt>
                <c:pt idx="405" formatCode="0.0">
                  <c:v>2.0601987142022211</c:v>
                </c:pt>
                <c:pt idx="406" formatCode="0.0">
                  <c:v>2.0539367120313941</c:v>
                </c:pt>
                <c:pt idx="407" formatCode="0.0">
                  <c:v>1.945395341070385</c:v>
                </c:pt>
                <c:pt idx="408" formatCode="0.0">
                  <c:v>1.9683560156967523</c:v>
                </c:pt>
                <c:pt idx="409" formatCode="0.0">
                  <c:v>1.9266093345579027</c:v>
                </c:pt>
                <c:pt idx="410" formatCode="0.0">
                  <c:v>1.859814644735744</c:v>
                </c:pt>
                <c:pt idx="411" formatCode="0.0">
                  <c:v>1.7992819570844116</c:v>
                </c:pt>
                <c:pt idx="412" formatCode="0.0">
                  <c:v>1.7679719462302743</c:v>
                </c:pt>
                <c:pt idx="413" formatCode="0.0">
                  <c:v>1.8138932954830087</c:v>
                </c:pt>
                <c:pt idx="414" formatCode="0.0">
                  <c:v>1.8243299657677219</c:v>
                </c:pt>
                <c:pt idx="415" formatCode="0.0">
                  <c:v>1.7137012607497701</c:v>
                </c:pt>
                <c:pt idx="416" formatCode="0.0">
                  <c:v>1.7262252650914252</c:v>
                </c:pt>
                <c:pt idx="417" formatCode="0.0">
                  <c:v>1.7429239375469652</c:v>
                </c:pt>
                <c:pt idx="418" formatCode="0.0">
                  <c:v>1.8347666360524337</c:v>
                </c:pt>
                <c:pt idx="419" formatCode="0.0">
                  <c:v>1.8786006512482261</c:v>
                </c:pt>
                <c:pt idx="420" formatCode="0.0">
                  <c:v>1.8326793019954912</c:v>
                </c:pt>
                <c:pt idx="421" formatCode="0.0">
                  <c:v>1.9913166903231196</c:v>
                </c:pt>
                <c:pt idx="422" formatCode="0.0">
                  <c:v>2.2209234365867916</c:v>
                </c:pt>
                <c:pt idx="423" formatCode="0.0">
                  <c:v>2.2960674626367208</c:v>
                </c:pt>
                <c:pt idx="424" formatCode="0.0">
                  <c:v>2.5361108791851046</c:v>
                </c:pt>
                <c:pt idx="425" formatCode="0.0">
                  <c:v>2.5569842197545292</c:v>
                </c:pt>
                <c:pt idx="426" formatCode="0.0">
                  <c:v>2.5966435668364367</c:v>
                </c:pt>
                <c:pt idx="427" formatCode="0.0">
                  <c:v>2.6947482675127334</c:v>
                </c:pt>
                <c:pt idx="428" formatCode="0.0">
                  <c:v>2.7448442848793526</c:v>
                </c:pt>
                <c:pt idx="429" formatCode="0.0">
                  <c:v>3.0099357101110469</c:v>
                </c:pt>
                <c:pt idx="430" formatCode="0.0">
                  <c:v>3.2583284628872002</c:v>
                </c:pt>
                <c:pt idx="431" formatCode="0.0">
                  <c:v>3.1706604324956165</c:v>
                </c:pt>
                <c:pt idx="432" formatCode="0.0">
                  <c:v>3.2833764715705116</c:v>
                </c:pt>
                <c:pt idx="433" formatCode="0.0">
                  <c:v>3.2792018034566253</c:v>
                </c:pt>
                <c:pt idx="434" formatCode="0.0">
                  <c:v>3.3000751440260494</c:v>
                </c:pt>
                <c:pt idx="435" formatCode="0.0">
                  <c:v>3.4733238707522758</c:v>
                </c:pt>
                <c:pt idx="436" formatCode="0.0">
                  <c:v>3.4628872004675633</c:v>
                </c:pt>
                <c:pt idx="437" formatCode="0.0">
                  <c:v>3.2666777991149702</c:v>
                </c:pt>
                <c:pt idx="438" formatCode="0.0">
                  <c:v>3.4169658512148282</c:v>
                </c:pt>
                <c:pt idx="439" formatCode="0.0">
                  <c:v>3.4879352091508729</c:v>
                </c:pt>
                <c:pt idx="440" formatCode="0.0">
                  <c:v>3.5776905735993991</c:v>
                </c:pt>
                <c:pt idx="441" formatCode="0.0">
                  <c:v>3.7551139684395092</c:v>
                </c:pt>
                <c:pt idx="442" formatCode="0.0">
                  <c:v>3.9304500292226767</c:v>
                </c:pt>
                <c:pt idx="443" formatCode="0.0">
                  <c:v>4.0264673958420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FA96-4795-8581-791AAA8989B0}"/>
            </c:ext>
          </c:extLst>
        </c:ser>
        <c:ser>
          <c:idx val="4"/>
          <c:order val="7"/>
          <c:tx>
            <c:v>Free State</c:v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O$5:$CO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3.4638032559750613E-2</c:v>
                </c:pt>
                <c:pt idx="11" formatCode="0.0">
                  <c:v>3.4638032559750613E-2</c:v>
                </c:pt>
                <c:pt idx="12" formatCode="0.0">
                  <c:v>4.4534613291107923E-2</c:v>
                </c:pt>
                <c:pt idx="13" formatCode="0.0">
                  <c:v>6.4327774753822564E-2</c:v>
                </c:pt>
                <c:pt idx="14" formatCode="0.0">
                  <c:v>8.9069226582215846E-2</c:v>
                </c:pt>
                <c:pt idx="15" formatCode="0.0">
                  <c:v>0.14844871097035978</c:v>
                </c:pt>
                <c:pt idx="16" formatCode="0.0">
                  <c:v>0.2424662279182542</c:v>
                </c:pt>
                <c:pt idx="17" formatCode="0.0">
                  <c:v>0.20782819535850364</c:v>
                </c:pt>
                <c:pt idx="18" formatCode="0.0">
                  <c:v>0.30184571230639812</c:v>
                </c:pt>
                <c:pt idx="19" formatCode="0.0">
                  <c:v>0.31174229303775552</c:v>
                </c:pt>
                <c:pt idx="20" formatCode="0.0">
                  <c:v>0.29194913157504082</c:v>
                </c:pt>
                <c:pt idx="21" formatCode="0.0">
                  <c:v>0.27710426047800485</c:v>
                </c:pt>
                <c:pt idx="22" formatCode="0.0">
                  <c:v>0.22762135682121826</c:v>
                </c:pt>
                <c:pt idx="23" formatCode="0.0">
                  <c:v>0.17319016279875302</c:v>
                </c:pt>
                <c:pt idx="24" formatCode="0.0">
                  <c:v>0.17319016279875302</c:v>
                </c:pt>
                <c:pt idx="25" formatCode="0.0">
                  <c:v>8.4120936216537198E-2</c:v>
                </c:pt>
                <c:pt idx="26" formatCode="0.0">
                  <c:v>7.422435548517986E-2</c:v>
                </c:pt>
                <c:pt idx="27" formatCode="0.0">
                  <c:v>8.4120936216537198E-2</c:v>
                </c:pt>
                <c:pt idx="28" formatCode="0.0">
                  <c:v>-0.36617348706022074</c:v>
                </c:pt>
                <c:pt idx="29" formatCode="0.0">
                  <c:v>5.937948438814393E-2</c:v>
                </c:pt>
                <c:pt idx="30" formatCode="0.0">
                  <c:v>4.4534613291107923E-2</c:v>
                </c:pt>
                <c:pt idx="31" formatCode="0.0">
                  <c:v>4.9482903656786606E-2</c:v>
                </c:pt>
                <c:pt idx="32" formatCode="0.0">
                  <c:v>4.4534613291107923E-2</c:v>
                </c:pt>
                <c:pt idx="33" formatCode="0.0">
                  <c:v>4.4534613291107923E-2</c:v>
                </c:pt>
                <c:pt idx="34" formatCode="0.0">
                  <c:v>3.4638032559750606E-2</c:v>
                </c:pt>
                <c:pt idx="35" formatCode="0.0">
                  <c:v>0.48493245583650851</c:v>
                </c:pt>
                <c:pt idx="36" formatCode="0.0">
                  <c:v>4.4534613291107923E-2</c:v>
                </c:pt>
                <c:pt idx="37" formatCode="0.0">
                  <c:v>2.4741451828393293E-2</c:v>
                </c:pt>
                <c:pt idx="38" formatCode="0.0">
                  <c:v>2.9689742194071958E-2</c:v>
                </c:pt>
                <c:pt idx="39" formatCode="0.0">
                  <c:v>2.9689742194071958E-2</c:v>
                </c:pt>
                <c:pt idx="40" formatCode="0.0">
                  <c:v>1.9793161462714634E-2</c:v>
                </c:pt>
                <c:pt idx="41" formatCode="0.0">
                  <c:v>4.4534613291107923E-2</c:v>
                </c:pt>
                <c:pt idx="42" formatCode="0.0">
                  <c:v>3.9586322925429268E-2</c:v>
                </c:pt>
                <c:pt idx="43" formatCode="0.0">
                  <c:v>4.4534613291107923E-2</c:v>
                </c:pt>
                <c:pt idx="44" formatCode="0.0">
                  <c:v>3.9586322925429268E-2</c:v>
                </c:pt>
                <c:pt idx="45" formatCode="0.0">
                  <c:v>5.443119402246524E-2</c:v>
                </c:pt>
                <c:pt idx="46" formatCode="0.0">
                  <c:v>5.443119402246524E-2</c:v>
                </c:pt>
                <c:pt idx="47" formatCode="0.0">
                  <c:v>4.9482903656786585E-2</c:v>
                </c:pt>
                <c:pt idx="48" formatCode="0.0">
                  <c:v>2.9689742194071951E-2</c:v>
                </c:pt>
                <c:pt idx="49" formatCode="0.0">
                  <c:v>3.4638032559750613E-2</c:v>
                </c:pt>
                <c:pt idx="50" formatCode="0.0">
                  <c:v>3.4638032559750613E-2</c:v>
                </c:pt>
                <c:pt idx="51" formatCode="0.0">
                  <c:v>4.9482903656786606E-2</c:v>
                </c:pt>
                <c:pt idx="52" formatCode="0.0">
                  <c:v>3.4638032559750613E-2</c:v>
                </c:pt>
                <c:pt idx="53" formatCode="0.0">
                  <c:v>4.9482903656786606E-2</c:v>
                </c:pt>
                <c:pt idx="54" formatCode="0.0">
                  <c:v>5.9379484388143916E-2</c:v>
                </c:pt>
                <c:pt idx="55" formatCode="0.0">
                  <c:v>6.9276065119501226E-2</c:v>
                </c:pt>
                <c:pt idx="56" formatCode="0.0">
                  <c:v>7.422435548517986E-2</c:v>
                </c:pt>
                <c:pt idx="57" formatCode="0.0">
                  <c:v>8.4120936216537198E-2</c:v>
                </c:pt>
                <c:pt idx="58" formatCode="0.0">
                  <c:v>8.9069226582215846E-2</c:v>
                </c:pt>
                <c:pt idx="59" formatCode="0.0">
                  <c:v>7.422435548517986E-2</c:v>
                </c:pt>
                <c:pt idx="60" formatCode="0.0">
                  <c:v>6.4327774753822564E-2</c:v>
                </c:pt>
                <c:pt idx="61" formatCode="0.0">
                  <c:v>6.4327774753822564E-2</c:v>
                </c:pt>
                <c:pt idx="62" formatCode="0.0">
                  <c:v>4.9482903656786606E-2</c:v>
                </c:pt>
                <c:pt idx="63" formatCode="0.0">
                  <c:v>3.463803255975062E-2</c:v>
                </c:pt>
                <c:pt idx="64" formatCode="0.0">
                  <c:v>3.9586322925429268E-2</c:v>
                </c:pt>
                <c:pt idx="65" formatCode="0.0">
                  <c:v>5.443119402246524E-2</c:v>
                </c:pt>
                <c:pt idx="66" formatCode="0.0">
                  <c:v>8.9069226582215846E-2</c:v>
                </c:pt>
                <c:pt idx="67" formatCode="0.0">
                  <c:v>9.4017516947894508E-2</c:v>
                </c:pt>
                <c:pt idx="68" formatCode="0.0">
                  <c:v>0.11381067841060914</c:v>
                </c:pt>
                <c:pt idx="69" formatCode="0.0">
                  <c:v>0.13855213023900242</c:v>
                </c:pt>
                <c:pt idx="70" formatCode="0.0">
                  <c:v>0.16329358206739578</c:v>
                </c:pt>
                <c:pt idx="71" formatCode="0.0">
                  <c:v>0.20782819535850364</c:v>
                </c:pt>
                <c:pt idx="72" formatCode="0.0">
                  <c:v>0.19298332426146766</c:v>
                </c:pt>
                <c:pt idx="73" formatCode="0.0">
                  <c:v>0.1682418724330744</c:v>
                </c:pt>
                <c:pt idx="74" formatCode="0.0">
                  <c:v>0.21277648572418231</c:v>
                </c:pt>
                <c:pt idx="75" formatCode="0.0">
                  <c:v>0.21772477608986093</c:v>
                </c:pt>
                <c:pt idx="76" formatCode="0.0">
                  <c:v>0.22267306645553961</c:v>
                </c:pt>
                <c:pt idx="77" formatCode="0.0">
                  <c:v>0.18803503389578907</c:v>
                </c:pt>
                <c:pt idx="78" formatCode="0.0">
                  <c:v>0.20287990499282496</c:v>
                </c:pt>
                <c:pt idx="79" formatCode="0.0">
                  <c:v>0.20287990499282499</c:v>
                </c:pt>
                <c:pt idx="80" formatCode="0.0">
                  <c:v>0.22762135682121828</c:v>
                </c:pt>
                <c:pt idx="81" formatCode="0.0">
                  <c:v>0.32163887376911288</c:v>
                </c:pt>
                <c:pt idx="82" formatCode="0.0">
                  <c:v>0.37607006779157814</c:v>
                </c:pt>
                <c:pt idx="83" formatCode="0.0">
                  <c:v>0.38101835815725682</c:v>
                </c:pt>
                <c:pt idx="84" formatCode="0.0">
                  <c:v>0.46019100400811519</c:v>
                </c:pt>
                <c:pt idx="85" formatCode="0.0">
                  <c:v>0.48493245583650851</c:v>
                </c:pt>
                <c:pt idx="86" formatCode="0.0">
                  <c:v>0.47998416547082995</c:v>
                </c:pt>
                <c:pt idx="87" formatCode="0.0">
                  <c:v>0.51957048839625897</c:v>
                </c:pt>
                <c:pt idx="88" formatCode="0.0">
                  <c:v>0.43050126181404341</c:v>
                </c:pt>
                <c:pt idx="89" formatCode="0.0">
                  <c:v>0.41070810035132865</c:v>
                </c:pt>
                <c:pt idx="90" formatCode="0.0">
                  <c:v>0.43544955217972198</c:v>
                </c:pt>
                <c:pt idx="91" formatCode="0.0">
                  <c:v>0.45524271364243657</c:v>
                </c:pt>
                <c:pt idx="92" formatCode="0.0">
                  <c:v>0.40575980998565003</c:v>
                </c:pt>
                <c:pt idx="93" formatCode="0.0">
                  <c:v>0.41565639071700738</c:v>
                </c:pt>
                <c:pt idx="94" formatCode="0.0">
                  <c:v>0.48988074620218724</c:v>
                </c:pt>
                <c:pt idx="95" formatCode="0.0">
                  <c:v>0.53936364985897356</c:v>
                </c:pt>
                <c:pt idx="96" formatCode="0.0">
                  <c:v>0.66307090900094023</c:v>
                </c:pt>
                <c:pt idx="97" formatCode="0.0">
                  <c:v>0.68781236082933339</c:v>
                </c:pt>
                <c:pt idx="98" formatCode="0.0">
                  <c:v>0.92533029838190906</c:v>
                </c:pt>
                <c:pt idx="99" formatCode="0.0">
                  <c:v>1.024296105695482</c:v>
                </c:pt>
                <c:pt idx="100" formatCode="0.0">
                  <c:v>1.2024345588599135</c:v>
                </c:pt>
                <c:pt idx="101" formatCode="0.0">
                  <c:v>1.1034687515463406</c:v>
                </c:pt>
                <c:pt idx="102" formatCode="0.0">
                  <c:v>1.2024345588599135</c:v>
                </c:pt>
                <c:pt idx="103" formatCode="0.0">
                  <c:v>1.1776931070315206</c:v>
                </c:pt>
                <c:pt idx="104" formatCode="0.0">
                  <c:v>1.2865554950764511</c:v>
                </c:pt>
                <c:pt idx="105" formatCode="0.0">
                  <c:v>1.1677965263001633</c:v>
                </c:pt>
                <c:pt idx="106" formatCode="0.0">
                  <c:v>1.3904695927557025</c:v>
                </c:pt>
                <c:pt idx="107" formatCode="0.0">
                  <c:v>1.6180909495769213</c:v>
                </c:pt>
                <c:pt idx="108" formatCode="0.0">
                  <c:v>2.0337473402939286</c:v>
                </c:pt>
                <c:pt idx="109" formatCode="0.0">
                  <c:v>2.2762135682121833</c:v>
                </c:pt>
                <c:pt idx="110" formatCode="0.0">
                  <c:v>2.701766539660547</c:v>
                </c:pt>
                <c:pt idx="111" formatCode="0.0">
                  <c:v>2.9937156712355879</c:v>
                </c:pt>
                <c:pt idx="112" formatCode="0.0">
                  <c:v>3.4638032559750611</c:v>
                </c:pt>
                <c:pt idx="113" formatCode="0.0">
                  <c:v>3.8745113563263898</c:v>
                </c:pt>
                <c:pt idx="114" formatCode="0.0">
                  <c:v>4.502944232767577</c:v>
                </c:pt>
                <c:pt idx="115" formatCode="0.0">
                  <c:v>5.2501360779850543</c:v>
                </c:pt>
                <c:pt idx="116" formatCode="0.0">
                  <c:v>6.0171210846652485</c:v>
                </c:pt>
                <c:pt idx="117" formatCode="0.0">
                  <c:v>6.3041219258746102</c:v>
                </c:pt>
                <c:pt idx="118" formatCode="0.0">
                  <c:v>7.0612103518234459</c:v>
                </c:pt>
                <c:pt idx="119" formatCode="0.0">
                  <c:v>7.5214013558315589</c:v>
                </c:pt>
                <c:pt idx="120" formatCode="0.0">
                  <c:v>7.8529368103320296</c:v>
                </c:pt>
                <c:pt idx="121" formatCode="0.0">
                  <c:v>9.0949576921173723</c:v>
                </c:pt>
                <c:pt idx="122" formatCode="0.0">
                  <c:v>10.346875154634072</c:v>
                </c:pt>
                <c:pt idx="123" formatCode="0.0">
                  <c:v>11.395912712157951</c:v>
                </c:pt>
                <c:pt idx="124" formatCode="0.0">
                  <c:v>13.216883566727695</c:v>
                </c:pt>
                <c:pt idx="125" formatCode="0.0">
                  <c:v>13.993765154139245</c:v>
                </c:pt>
                <c:pt idx="126" formatCode="0.0">
                  <c:v>14.543025384729573</c:v>
                </c:pt>
                <c:pt idx="127" formatCode="0.0">
                  <c:v>16.339254787470932</c:v>
                </c:pt>
                <c:pt idx="128" formatCode="0.0">
                  <c:v>17.754465832055025</c:v>
                </c:pt>
                <c:pt idx="129" formatCode="0.0">
                  <c:v>20.134593497946469</c:v>
                </c:pt>
                <c:pt idx="130" formatCode="0.0">
                  <c:v>21.401355831560195</c:v>
                </c:pt>
                <c:pt idx="131" formatCode="0.0">
                  <c:v>23.598396753921516</c:v>
                </c:pt>
                <c:pt idx="132" formatCode="0.0">
                  <c:v>25.211539413132762</c:v>
                </c:pt>
                <c:pt idx="133" formatCode="0.0">
                  <c:v>26.616853876985505</c:v>
                </c:pt>
                <c:pt idx="134" formatCode="0.0">
                  <c:v>28.556583700331533</c:v>
                </c:pt>
                <c:pt idx="135" formatCode="0.0">
                  <c:v>30.337968231975847</c:v>
                </c:pt>
                <c:pt idx="136" formatCode="0.0">
                  <c:v>30.936711366222966</c:v>
                </c:pt>
                <c:pt idx="137" formatCode="0.0">
                  <c:v>32.203473699836692</c:v>
                </c:pt>
                <c:pt idx="138" formatCode="0.0">
                  <c:v>32.109456182888813</c:v>
                </c:pt>
                <c:pt idx="139" formatCode="0.0">
                  <c:v>32.139145925082886</c:v>
                </c:pt>
                <c:pt idx="140" formatCode="0.0">
                  <c:v>33.559305260032652</c:v>
                </c:pt>
                <c:pt idx="141" formatCode="0.0">
                  <c:v>34.019496264040761</c:v>
                </c:pt>
                <c:pt idx="142" formatCode="0.0">
                  <c:v>34.415359493295057</c:v>
                </c:pt>
                <c:pt idx="143" formatCode="0.0">
                  <c:v>33.252511257360574</c:v>
                </c:pt>
                <c:pt idx="144" formatCode="0.0">
                  <c:v>33.628581325152162</c:v>
                </c:pt>
                <c:pt idx="145" formatCode="0.0">
                  <c:v>32.742837349695677</c:v>
                </c:pt>
                <c:pt idx="146" formatCode="0.0">
                  <c:v>32.07976644069474</c:v>
                </c:pt>
                <c:pt idx="147" formatCode="0.0">
                  <c:v>30.674451976841997</c:v>
                </c:pt>
                <c:pt idx="148" formatCode="0.0">
                  <c:v>29.813449453213916</c:v>
                </c:pt>
                <c:pt idx="149" formatCode="0.0">
                  <c:v>28.328962343510319</c:v>
                </c:pt>
                <c:pt idx="150" formatCode="0.0">
                  <c:v>27.784650403285664</c:v>
                </c:pt>
                <c:pt idx="151" formatCode="0.0">
                  <c:v>26.889009847097824</c:v>
                </c:pt>
                <c:pt idx="152" formatCode="0.0">
                  <c:v>26.0824385174922</c:v>
                </c:pt>
                <c:pt idx="153" formatCode="0.0">
                  <c:v>25.750903062991732</c:v>
                </c:pt>
                <c:pt idx="154" formatCode="0.0">
                  <c:v>24.127863823049136</c:v>
                </c:pt>
                <c:pt idx="155" formatCode="0.0">
                  <c:v>21.50526992923945</c:v>
                </c:pt>
                <c:pt idx="156" formatCode="0.0">
                  <c:v>19.426987975654413</c:v>
                </c:pt>
                <c:pt idx="157" formatCode="0.0">
                  <c:v>19.595229848087481</c:v>
                </c:pt>
                <c:pt idx="158" formatCode="0.0">
                  <c:v>18.422485031421633</c:v>
                </c:pt>
                <c:pt idx="159" formatCode="0.0">
                  <c:v>17.319016279875299</c:v>
                </c:pt>
                <c:pt idx="160" formatCode="0.0">
                  <c:v>16.799445791479037</c:v>
                </c:pt>
                <c:pt idx="161" formatCode="0.0">
                  <c:v>16.745014597456578</c:v>
                </c:pt>
                <c:pt idx="162" formatCode="0.0">
                  <c:v>17.739620960957986</c:v>
                </c:pt>
                <c:pt idx="163" formatCode="0.0">
                  <c:v>17.893017962294032</c:v>
                </c:pt>
                <c:pt idx="164" formatCode="0.0">
                  <c:v>16.324409916373888</c:v>
                </c:pt>
                <c:pt idx="165" formatCode="0.0">
                  <c:v>15.616804394081845</c:v>
                </c:pt>
                <c:pt idx="166" formatCode="0.0">
                  <c:v>15.389183037260626</c:v>
                </c:pt>
                <c:pt idx="167" formatCode="0.0">
                  <c:v>15.156613390073728</c:v>
                </c:pt>
                <c:pt idx="168" formatCode="0.0">
                  <c:v>14.894354000692758</c:v>
                </c:pt>
                <c:pt idx="169" formatCode="0.0">
                  <c:v>13.939333960116778</c:v>
                </c:pt>
                <c:pt idx="170" formatCode="0.0">
                  <c:v>13.62759166707902</c:v>
                </c:pt>
                <c:pt idx="171" formatCode="0.0">
                  <c:v>12.895244692958585</c:v>
                </c:pt>
                <c:pt idx="172" formatCode="0.0">
                  <c:v>12.548864367361075</c:v>
                </c:pt>
                <c:pt idx="173" formatCode="0.0">
                  <c:v>12.751744272353903</c:v>
                </c:pt>
                <c:pt idx="174" formatCode="0.0">
                  <c:v>12.474640011875898</c:v>
                </c:pt>
                <c:pt idx="175" formatCode="0.0">
                  <c:v>12.479588302241577</c:v>
                </c:pt>
                <c:pt idx="176" formatCode="0.0">
                  <c:v>12.336087881636896</c:v>
                </c:pt>
                <c:pt idx="177" formatCode="0.0">
                  <c:v>12.123311395912708</c:v>
                </c:pt>
                <c:pt idx="178" formatCode="0.0">
                  <c:v>12.12331139591271</c:v>
                </c:pt>
                <c:pt idx="179" formatCode="0.0">
                  <c:v>11.524568261665593</c:v>
                </c:pt>
                <c:pt idx="180" formatCode="0.0">
                  <c:v>11.00499777326934</c:v>
                </c:pt>
                <c:pt idx="181" formatCode="0.0">
                  <c:v>10.381513187193825</c:v>
                </c:pt>
                <c:pt idx="182" formatCode="0.0">
                  <c:v>10.040081151961997</c:v>
                </c:pt>
                <c:pt idx="183" formatCode="0.0">
                  <c:v>9.8124597951407821</c:v>
                </c:pt>
                <c:pt idx="184" formatCode="0.0">
                  <c:v>9.7134939878272064</c:v>
                </c:pt>
                <c:pt idx="185" formatCode="0.0">
                  <c:v>10.183581572566681</c:v>
                </c:pt>
                <c:pt idx="186" formatCode="0.0">
                  <c:v>10.480478994507399</c:v>
                </c:pt>
                <c:pt idx="187" formatCode="0.0">
                  <c:v>10.361720025731112</c:v>
                </c:pt>
                <c:pt idx="188" formatCode="0.0">
                  <c:v>10.559651640358254</c:v>
                </c:pt>
                <c:pt idx="189" formatCode="0.0">
                  <c:v>10.396358058290861</c:v>
                </c:pt>
                <c:pt idx="190" formatCode="0.0">
                  <c:v>10.6190311247464</c:v>
                </c:pt>
                <c:pt idx="191" formatCode="0.0">
                  <c:v>10.930773417784152</c:v>
                </c:pt>
                <c:pt idx="192" formatCode="0.0">
                  <c:v>10.51511702706715</c:v>
                </c:pt>
                <c:pt idx="193" formatCode="0.0">
                  <c:v>10.747686674254044</c:v>
                </c:pt>
                <c:pt idx="194" formatCode="0.0">
                  <c:v>10.698203770597257</c:v>
                </c:pt>
                <c:pt idx="195" formatCode="0.0">
                  <c:v>10.742738383888366</c:v>
                </c:pt>
                <c:pt idx="196" formatCode="0.0">
                  <c:v>11.682913553367312</c:v>
                </c:pt>
                <c:pt idx="197" formatCode="0.0">
                  <c:v>11.58394774605374</c:v>
                </c:pt>
                <c:pt idx="198" formatCode="0.0">
                  <c:v>11.44044732544906</c:v>
                </c:pt>
                <c:pt idx="199" formatCode="0.0">
                  <c:v>11.395912712157951</c:v>
                </c:pt>
                <c:pt idx="200" formatCode="0.0">
                  <c:v>10.396358058290861</c:v>
                </c:pt>
                <c:pt idx="201" formatCode="0.0">
                  <c:v>10.346875154634072</c:v>
                </c:pt>
                <c:pt idx="202" formatCode="0.0">
                  <c:v>10.183581572566681</c:v>
                </c:pt>
                <c:pt idx="203" formatCode="0.0">
                  <c:v>9.6095798901479554</c:v>
                </c:pt>
                <c:pt idx="204" formatCode="0.0">
                  <c:v>9.9163738928200278</c:v>
                </c:pt>
                <c:pt idx="205" formatCode="0.0">
                  <c:v>9.7134939878272046</c:v>
                </c:pt>
                <c:pt idx="206" formatCode="0.0">
                  <c:v>9.8866841506259586</c:v>
                </c:pt>
                <c:pt idx="207" formatCode="0.0">
                  <c:v>10.940669998515514</c:v>
                </c:pt>
                <c:pt idx="208" formatCode="0.0">
                  <c:v>11.257360581918945</c:v>
                </c:pt>
                <c:pt idx="209" formatCode="0.0">
                  <c:v>11.445395615814736</c:v>
                </c:pt>
                <c:pt idx="210" formatCode="0.0">
                  <c:v>11.415705873620668</c:v>
                </c:pt>
                <c:pt idx="211" formatCode="0.0">
                  <c:v>11.494878519471522</c:v>
                </c:pt>
                <c:pt idx="212" formatCode="0.0">
                  <c:v>11.712603295561387</c:v>
                </c:pt>
                <c:pt idx="213" formatCode="0.0">
                  <c:v>11.331584937404129</c:v>
                </c:pt>
                <c:pt idx="214" formatCode="0.0">
                  <c:v>12.192587461032215</c:v>
                </c:pt>
                <c:pt idx="215" formatCode="0.0">
                  <c:v>12.113414815181356</c:v>
                </c:pt>
                <c:pt idx="216" formatCode="0.0">
                  <c:v>11.955069523479638</c:v>
                </c:pt>
                <c:pt idx="217" formatCode="0.0">
                  <c:v>12.736899401256863</c:v>
                </c:pt>
                <c:pt idx="218" formatCode="0.0">
                  <c:v>12.46969172151022</c:v>
                </c:pt>
                <c:pt idx="219" formatCode="0.0">
                  <c:v>12.291553268345789</c:v>
                </c:pt>
                <c:pt idx="220" formatCode="0.0">
                  <c:v>13.004107081003513</c:v>
                </c:pt>
                <c:pt idx="221" formatCode="0.0">
                  <c:v>12.573605819189472</c:v>
                </c:pt>
                <c:pt idx="222" formatCode="0.0">
                  <c:v>12.534019496264039</c:v>
                </c:pt>
                <c:pt idx="223" formatCode="0.0">
                  <c:v>12.870503241130193</c:v>
                </c:pt>
                <c:pt idx="224" formatCode="0.0">
                  <c:v>12.167846009203821</c:v>
                </c:pt>
                <c:pt idx="225" formatCode="0.0">
                  <c:v>12.113414815181354</c:v>
                </c:pt>
                <c:pt idx="226" formatCode="0.0">
                  <c:v>12.489484882972935</c:v>
                </c:pt>
                <c:pt idx="227" formatCode="0.0">
                  <c:v>11.979810975308032</c:v>
                </c:pt>
                <c:pt idx="228" formatCode="0.0">
                  <c:v>10.945618288881192</c:v>
                </c:pt>
                <c:pt idx="229" formatCode="0.0">
                  <c:v>11.039635805829091</c:v>
                </c:pt>
                <c:pt idx="230" formatCode="0.0">
                  <c:v>10.708100351328616</c:v>
                </c:pt>
                <c:pt idx="231" formatCode="0.0">
                  <c:v>10.490375575238755</c:v>
                </c:pt>
                <c:pt idx="232" formatCode="0.0">
                  <c:v>9.6887525359988125</c:v>
                </c:pt>
                <c:pt idx="233" formatCode="0.0">
                  <c:v>9.1741303379682346</c:v>
                </c:pt>
                <c:pt idx="234" formatCode="0.0">
                  <c:v>8.5654906229897581</c:v>
                </c:pt>
                <c:pt idx="235" formatCode="0.0">
                  <c:v>7.9964372309367109</c:v>
                </c:pt>
                <c:pt idx="236" formatCode="0.0">
                  <c:v>7.140382997674303</c:v>
                </c:pt>
                <c:pt idx="237" formatCode="0.0">
                  <c:v>6.6059676381810073</c:v>
                </c:pt>
                <c:pt idx="238" formatCode="0.0">
                  <c:v>6.1606215052699298</c:v>
                </c:pt>
                <c:pt idx="239" formatCode="0.0">
                  <c:v>6.106190311247464</c:v>
                </c:pt>
                <c:pt idx="240" formatCode="0.0">
                  <c:v>5.3095155623731989</c:v>
                </c:pt>
                <c:pt idx="241" formatCode="0.0">
                  <c:v>4.8394279776337275</c:v>
                </c:pt>
                <c:pt idx="242" formatCode="0.0">
                  <c:v>4.5524271364243658</c:v>
                </c:pt>
                <c:pt idx="243" formatCode="0.0">
                  <c:v>4.3396506507001833</c:v>
                </c:pt>
                <c:pt idx="244" formatCode="0.0">
                  <c:v>4.0427532287594623</c:v>
                </c:pt>
                <c:pt idx="245" formatCode="0.0">
                  <c:v>3.8101835815725669</c:v>
                </c:pt>
                <c:pt idx="246" formatCode="0.0">
                  <c:v>3.4143203523182741</c:v>
                </c:pt>
                <c:pt idx="247" formatCode="0.0">
                  <c:v>2.9640259290415152</c:v>
                </c:pt>
                <c:pt idx="248" formatCode="0.0">
                  <c:v>2.7908357662427639</c:v>
                </c:pt>
                <c:pt idx="249" formatCode="0.0">
                  <c:v>2.6225938938096887</c:v>
                </c:pt>
                <c:pt idx="250" formatCode="0.0">
                  <c:v>2.3900242466227932</c:v>
                </c:pt>
                <c:pt idx="251" formatCode="0.0">
                  <c:v>2.2663169874808253</c:v>
                </c:pt>
                <c:pt idx="252" formatCode="0.0">
                  <c:v>2.3059033104062543</c:v>
                </c:pt>
                <c:pt idx="253" formatCode="0.0">
                  <c:v>2.21188579345836</c:v>
                </c:pt>
                <c:pt idx="254" formatCode="0.0">
                  <c:v>1.9694195655401061</c:v>
                </c:pt>
                <c:pt idx="255" formatCode="0.0">
                  <c:v>1.8754020485922118</c:v>
                </c:pt>
                <c:pt idx="256" formatCode="0.0">
                  <c:v>1.7764362412786381</c:v>
                </c:pt>
                <c:pt idx="257" formatCode="0.0">
                  <c:v>1.7220050472561732</c:v>
                </c:pt>
                <c:pt idx="258" formatCode="0.0">
                  <c:v>1.6972635954277797</c:v>
                </c:pt>
                <c:pt idx="259" formatCode="0.0">
                  <c:v>1.5488148844574199</c:v>
                </c:pt>
                <c:pt idx="260" formatCode="0.0">
                  <c:v>1.3805730120243458</c:v>
                </c:pt>
                <c:pt idx="261" formatCode="0.0">
                  <c:v>1.4696422386065617</c:v>
                </c:pt>
                <c:pt idx="262" formatCode="0.0">
                  <c:v>1.3805730120243458</c:v>
                </c:pt>
                <c:pt idx="263" formatCode="0.0">
                  <c:v>1.2519174625167007</c:v>
                </c:pt>
                <c:pt idx="264" formatCode="0.0">
                  <c:v>1.2271760106883072</c:v>
                </c:pt>
                <c:pt idx="265" formatCode="0.0">
                  <c:v>1.1578999455688059</c:v>
                </c:pt>
                <c:pt idx="266" formatCode="0.0">
                  <c:v>1.21727942995695</c:v>
                </c:pt>
                <c:pt idx="267" formatCode="0.0">
                  <c:v>1.3310901083675593</c:v>
                </c:pt>
                <c:pt idx="268" formatCode="0.0">
                  <c:v>1.2915037854421296</c:v>
                </c:pt>
                <c:pt idx="269" formatCode="0.0">
                  <c:v>1.4894354000692758</c:v>
                </c:pt>
                <c:pt idx="270" formatCode="0.0">
                  <c:v>1.5884012073828491</c:v>
                </c:pt>
                <c:pt idx="271" formatCode="0.0">
                  <c:v>1.6675738532337077</c:v>
                </c:pt>
                <c:pt idx="272" formatCode="0.0">
                  <c:v>1.7615913701816017</c:v>
                </c:pt>
                <c:pt idx="273" formatCode="0.0">
                  <c:v>1.7764362412786379</c:v>
                </c:pt>
                <c:pt idx="274" formatCode="0.0">
                  <c:v>1.9100400811519622</c:v>
                </c:pt>
                <c:pt idx="275" formatCode="0.0">
                  <c:v>1.9842644366371418</c:v>
                </c:pt>
                <c:pt idx="276" formatCode="0.0">
                  <c:v>1.9397298233460338</c:v>
                </c:pt>
                <c:pt idx="277" formatCode="0.0">
                  <c:v>2.1624028898015735</c:v>
                </c:pt>
                <c:pt idx="278" formatCode="0.0">
                  <c:v>2.3108516007719331</c:v>
                </c:pt>
                <c:pt idx="279" formatCode="0.0">
                  <c:v>2.2762135682121833</c:v>
                </c:pt>
                <c:pt idx="280" formatCode="0.0">
                  <c:v>2.4543520213766143</c:v>
                </c:pt>
                <c:pt idx="281" formatCode="0.0">
                  <c:v>2.4741451828393286</c:v>
                </c:pt>
                <c:pt idx="282" formatCode="0.0">
                  <c:v>2.5731109901529026</c:v>
                </c:pt>
                <c:pt idx="283" formatCode="0.0">
                  <c:v>2.6077490227126536</c:v>
                </c:pt>
                <c:pt idx="284" formatCode="0.0">
                  <c:v>2.9244396061160871</c:v>
                </c:pt>
                <c:pt idx="285" formatCode="0.0">
                  <c:v>3.1619575436686631</c:v>
                </c:pt>
                <c:pt idx="286" formatCode="0.0">
                  <c:v>3.4143203523182741</c:v>
                </c:pt>
                <c:pt idx="287" formatCode="0.0">
                  <c:v>4.4138750061853624</c:v>
                </c:pt>
                <c:pt idx="288" formatCode="0.0">
                  <c:v>5.4233262407838092</c:v>
                </c:pt>
                <c:pt idx="289" formatCode="0.0">
                  <c:v>6.432777475382256</c:v>
                </c:pt>
                <c:pt idx="290" formatCode="0.0">
                  <c:v>7.0018308674352996</c:v>
                </c:pt>
                <c:pt idx="291" formatCode="0.0">
                  <c:v>6.6950368647632246</c:v>
                </c:pt>
                <c:pt idx="292" formatCode="0.0">
                  <c:v>6.5020535405017563</c:v>
                </c:pt>
                <c:pt idx="293" formatCode="0.0">
                  <c:v>6.6208125092780437</c:v>
                </c:pt>
                <c:pt idx="294" formatCode="0.0">
                  <c:v>5.78455143747835</c:v>
                </c:pt>
                <c:pt idx="295" formatCode="0.0">
                  <c:v>5.8884655351576027</c:v>
                </c:pt>
                <c:pt idx="296" formatCode="0.0">
                  <c:v>6.314018506605966</c:v>
                </c:pt>
                <c:pt idx="297" formatCode="0.0">
                  <c:v>7.1354347073086251</c:v>
                </c:pt>
                <c:pt idx="298" formatCode="0.0">
                  <c:v>8.2240585877579289</c:v>
                </c:pt>
                <c:pt idx="299" formatCode="0.0">
                  <c:v>8.7238359146914739</c:v>
                </c:pt>
                <c:pt idx="300" formatCode="0.0">
                  <c:v>9.2335098223563747</c:v>
                </c:pt>
                <c:pt idx="301" formatCode="0.0">
                  <c:v>9.9312187639170642</c:v>
                </c:pt>
                <c:pt idx="302" formatCode="0.0">
                  <c:v>10.50027215597011</c:v>
                </c:pt>
                <c:pt idx="303" formatCode="0.0">
                  <c:v>11.158394774605373</c:v>
                </c:pt>
                <c:pt idx="304" formatCode="0.0">
                  <c:v>12.336087881636894</c:v>
                </c:pt>
                <c:pt idx="305" formatCode="0.0">
                  <c:v>13.785936958780743</c:v>
                </c:pt>
                <c:pt idx="306" formatCode="0.0">
                  <c:v>15.963184719679353</c:v>
                </c:pt>
                <c:pt idx="307" formatCode="0.0">
                  <c:v>17.799000445346127</c:v>
                </c:pt>
                <c:pt idx="308" formatCode="0.0">
                  <c:v>17.813845316443174</c:v>
                </c:pt>
                <c:pt idx="309" formatCode="0.0">
                  <c:v>18.471967935078432</c:v>
                </c:pt>
                <c:pt idx="310" formatCode="0.0">
                  <c:v>18.966796971646289</c:v>
                </c:pt>
                <c:pt idx="311" formatCode="0.0">
                  <c:v>19.11524568261666</c:v>
                </c:pt>
                <c:pt idx="312" formatCode="0.0">
                  <c:v>19.332970458706523</c:v>
                </c:pt>
                <c:pt idx="313" formatCode="0.0">
                  <c:v>18.561037161660643</c:v>
                </c:pt>
                <c:pt idx="314" formatCode="0.0">
                  <c:v>17.586223959621943</c:v>
                </c:pt>
                <c:pt idx="315" formatCode="0.0">
                  <c:v>18.090949576921165</c:v>
                </c:pt>
                <c:pt idx="316" formatCode="0.0">
                  <c:v>17.774258993517737</c:v>
                </c:pt>
                <c:pt idx="317" formatCode="0.0">
                  <c:v>17.1804641496363</c:v>
                </c:pt>
                <c:pt idx="318" formatCode="0.0">
                  <c:v>16.487703498441284</c:v>
                </c:pt>
                <c:pt idx="319" formatCode="0.0">
                  <c:v>16.250185560888717</c:v>
                </c:pt>
                <c:pt idx="320" formatCode="0.0">
                  <c:v>16.235340689791673</c:v>
                </c:pt>
                <c:pt idx="321" formatCode="0.0">
                  <c:v>15.96813301004503</c:v>
                </c:pt>
                <c:pt idx="322" formatCode="0.0">
                  <c:v>15.715770201395417</c:v>
                </c:pt>
                <c:pt idx="323" formatCode="0.0">
                  <c:v>15.493097134939879</c:v>
                </c:pt>
                <c:pt idx="324" formatCode="0.0">
                  <c:v>15.220941164827549</c:v>
                </c:pt>
                <c:pt idx="325" formatCode="0.0">
                  <c:v>14.57766341728933</c:v>
                </c:pt>
                <c:pt idx="326" formatCode="0.0">
                  <c:v>13.23172843782473</c:v>
                </c:pt>
                <c:pt idx="327" formatCode="0.0">
                  <c:v>12.306398139442821</c:v>
                </c:pt>
                <c:pt idx="328" formatCode="0.0">
                  <c:v>11.628482359344849</c:v>
                </c:pt>
                <c:pt idx="329" formatCode="0.0">
                  <c:v>10.88623880449305</c:v>
                </c:pt>
                <c:pt idx="330" formatCode="0.0">
                  <c:v>9.7085456974615258</c:v>
                </c:pt>
                <c:pt idx="331" formatCode="0.0">
                  <c:v>8.3675590083626137</c:v>
                </c:pt>
                <c:pt idx="332" formatCode="0.0">
                  <c:v>7.8479885199663499</c:v>
                </c:pt>
                <c:pt idx="333" formatCode="0.0">
                  <c:v>7.1997624820624484</c:v>
                </c:pt>
                <c:pt idx="334" formatCode="0.0">
                  <c:v>6.5911227670839718</c:v>
                </c:pt>
                <c:pt idx="335" formatCode="0.0">
                  <c:v>6.0913454401504286</c:v>
                </c:pt>
                <c:pt idx="336" formatCode="0.0">
                  <c:v>5.8587757929635327</c:v>
                </c:pt>
                <c:pt idx="337" formatCode="0.0">
                  <c:v>5.9577416002771049</c:v>
                </c:pt>
                <c:pt idx="338" formatCode="0.0">
                  <c:v>6.185362957098322</c:v>
                </c:pt>
                <c:pt idx="339" formatCode="0.0">
                  <c:v>5.7697065663813145</c:v>
                </c:pt>
                <c:pt idx="340" formatCode="0.0">
                  <c:v>5.502498886634668</c:v>
                </c:pt>
                <c:pt idx="341" formatCode="0.0">
                  <c:v>5.1808600128655558</c:v>
                </c:pt>
                <c:pt idx="342" formatCode="0.0">
                  <c:v>5.0670493344549454</c:v>
                </c:pt>
                <c:pt idx="343" formatCode="0.0">
                  <c:v>4.7454104606858314</c:v>
                </c:pt>
                <c:pt idx="344" formatCode="0.0">
                  <c:v>4.1813053589984657</c:v>
                </c:pt>
                <c:pt idx="345" formatCode="0.0">
                  <c:v>3.9685288732742836</c:v>
                </c:pt>
                <c:pt idx="346" formatCode="0.0">
                  <c:v>3.7211143549903514</c:v>
                </c:pt>
                <c:pt idx="347" formatCode="0.0">
                  <c:v>3.7013211935276362</c:v>
                </c:pt>
                <c:pt idx="348" formatCode="0.0">
                  <c:v>3.6716314513335639</c:v>
                </c:pt>
                <c:pt idx="349" formatCode="0.0">
                  <c:v>3.5924588054827056</c:v>
                </c:pt>
                <c:pt idx="350" formatCode="0.0">
                  <c:v>3.7062694838933146</c:v>
                </c:pt>
                <c:pt idx="351" formatCode="0.0">
                  <c:v>3.7854421297441734</c:v>
                </c:pt>
                <c:pt idx="352" formatCode="0.0">
                  <c:v>3.6518382898708492</c:v>
                </c:pt>
                <c:pt idx="353" formatCode="0.0">
                  <c:v>3.6864763224306003</c:v>
                </c:pt>
                <c:pt idx="354" formatCode="0.0">
                  <c:v>3.3796823197585226</c:v>
                </c:pt>
                <c:pt idx="355" formatCode="0.0">
                  <c:v>3.2906130931763076</c:v>
                </c:pt>
                <c:pt idx="356" formatCode="0.0">
                  <c:v>3.2856648028106292</c:v>
                </c:pt>
                <c:pt idx="357" formatCode="0.0">
                  <c:v>3.3104062546390227</c:v>
                </c:pt>
                <c:pt idx="358" formatCode="0.0">
                  <c:v>3.0877331881834831</c:v>
                </c:pt>
                <c:pt idx="359" formatCode="0.0">
                  <c:v>2.9788708001385524</c:v>
                </c:pt>
                <c:pt idx="360" formatCode="0.0">
                  <c:v>2.9145430253847286</c:v>
                </c:pt>
                <c:pt idx="361" formatCode="0.0">
                  <c:v>2.8502152506309066</c:v>
                </c:pt>
                <c:pt idx="362" formatCode="0.0">
                  <c:v>2.9541293483101589</c:v>
                </c:pt>
                <c:pt idx="363" formatCode="0.0">
                  <c:v>2.8056806373397984</c:v>
                </c:pt>
                <c:pt idx="364" formatCode="0.0">
                  <c:v>3.0333019941610178</c:v>
                </c:pt>
                <c:pt idx="365" formatCode="0.0">
                  <c:v>3.2609233509822362</c:v>
                </c:pt>
                <c:pt idx="366" formatCode="0.0">
                  <c:v>3.3697857390271655</c:v>
                </c:pt>
                <c:pt idx="367" formatCode="0.0">
                  <c:v>3.3945271908555594</c:v>
                </c:pt>
                <c:pt idx="368" formatCode="0.0">
                  <c:v>3.7359592260873877</c:v>
                </c:pt>
                <c:pt idx="369" formatCode="0.0">
                  <c:v>3.7211143549903518</c:v>
                </c:pt>
                <c:pt idx="370" formatCode="0.0">
                  <c:v>3.9140976792518183</c:v>
                </c:pt>
                <c:pt idx="371" formatCode="0.0">
                  <c:v>3.7260626453560297</c:v>
                </c:pt>
                <c:pt idx="372" formatCode="0.0">
                  <c:v>3.7260626453560297</c:v>
                </c:pt>
                <c:pt idx="373" formatCode="0.0">
                  <c:v>3.7161660646246721</c:v>
                </c:pt>
                <c:pt idx="374" formatCode="0.0">
                  <c:v>3.9289425503488542</c:v>
                </c:pt>
                <c:pt idx="375" formatCode="0.0">
                  <c:v>3.7804938393784946</c:v>
                </c:pt>
                <c:pt idx="376" formatCode="0.0">
                  <c:v>3.7161660646246717</c:v>
                </c:pt>
                <c:pt idx="377" formatCode="0.0">
                  <c:v>3.8101835815725669</c:v>
                </c:pt>
                <c:pt idx="378" formatCode="0.0">
                  <c:v>3.8002870008412097</c:v>
                </c:pt>
                <c:pt idx="379" formatCode="0.0">
                  <c:v>3.5974070958483848</c:v>
                </c:pt>
                <c:pt idx="380" formatCode="0.0">
                  <c:v>3.7607006779157799</c:v>
                </c:pt>
                <c:pt idx="381" formatCode="0.0">
                  <c:v>3.8398733237666383</c:v>
                </c:pt>
                <c:pt idx="382" formatCode="0.0">
                  <c:v>3.9289425503488542</c:v>
                </c:pt>
                <c:pt idx="383" formatCode="0.0">
                  <c:v>4.1615121975357496</c:v>
                </c:pt>
                <c:pt idx="384" formatCode="0.0">
                  <c:v>4.1417190360730363</c:v>
                </c:pt>
                <c:pt idx="385" formatCode="0.0">
                  <c:v>4.1912019397298232</c:v>
                </c:pt>
                <c:pt idx="386" formatCode="0.0">
                  <c:v>4.5672720075214004</c:v>
                </c:pt>
                <c:pt idx="387" formatCode="0.0">
                  <c:v>3.9685288732742832</c:v>
                </c:pt>
                <c:pt idx="388" formatCode="0.0">
                  <c:v>3.7607006779157812</c:v>
                </c:pt>
                <c:pt idx="389" formatCode="0.0">
                  <c:v>3.6320451284081341</c:v>
                </c:pt>
                <c:pt idx="390" formatCode="0.0">
                  <c:v>3.3005096739076643</c:v>
                </c:pt>
                <c:pt idx="391" formatCode="0.0">
                  <c:v>3.2708199317135924</c:v>
                </c:pt>
                <c:pt idx="392" formatCode="0.0">
                  <c:v>3.1372160918402687</c:v>
                </c:pt>
                <c:pt idx="393" formatCode="0.0">
                  <c:v>2.8007323469741201</c:v>
                </c:pt>
                <c:pt idx="394" formatCode="0.0">
                  <c:v>3.3450442871987724</c:v>
                </c:pt>
                <c:pt idx="395" formatCode="0.0">
                  <c:v>3.5281310307288831</c:v>
                </c:pt>
                <c:pt idx="396" formatCode="0.0">
                  <c:v>3.9685288732742832</c:v>
                </c:pt>
                <c:pt idx="397" formatCode="0.0">
                  <c:v>4.42377158691672</c:v>
                </c:pt>
                <c:pt idx="398" formatCode="0.0">
                  <c:v>4.527685684595971</c:v>
                </c:pt>
                <c:pt idx="399" formatCode="0.0">
                  <c:v>5.0274630115295169</c:v>
                </c:pt>
                <c:pt idx="400" formatCode="0.0">
                  <c:v>5.7796031471126748</c:v>
                </c:pt>
                <c:pt idx="401" formatCode="0.0">
                  <c:v>6.0319659557622849</c:v>
                </c:pt>
                <c:pt idx="402" formatCode="0.0">
                  <c:v>6.2942253451432526</c:v>
                </c:pt>
                <c:pt idx="403" formatCode="0.0">
                  <c:v>6.4624672175763269</c:v>
                </c:pt>
                <c:pt idx="404" formatCode="0.0">
                  <c:v>6.5366915730615069</c:v>
                </c:pt>
                <c:pt idx="405" formatCode="0.0">
                  <c:v>7.0067791578009793</c:v>
                </c:pt>
                <c:pt idx="406" formatCode="0.0">
                  <c:v>6.9127616408530859</c:v>
                </c:pt>
                <c:pt idx="407" formatCode="0.0">
                  <c:v>6.8137958335395101</c:v>
                </c:pt>
                <c:pt idx="408" formatCode="0.0">
                  <c:v>6.8385372853679058</c:v>
                </c:pt>
                <c:pt idx="409" formatCode="0.0">
                  <c:v>7.5461428076599528</c:v>
                </c:pt>
                <c:pt idx="410" formatCode="0.0">
                  <c:v>7.9321094561828884</c:v>
                </c:pt>
                <c:pt idx="411" formatCode="0.0">
                  <c:v>8.313127814340147</c:v>
                </c:pt>
                <c:pt idx="412" formatCode="0.0">
                  <c:v>8.6793013014003648</c:v>
                </c:pt>
                <c:pt idx="413" formatCode="0.0">
                  <c:v>8.9267158196843024</c:v>
                </c:pt>
                <c:pt idx="414" formatCode="0.0">
                  <c:v>9.0454747884605844</c:v>
                </c:pt>
                <c:pt idx="415" formatCode="0.0">
                  <c:v>9.1394923054084831</c:v>
                </c:pt>
                <c:pt idx="416" formatCode="0.0">
                  <c:v>9.0009401751694806</c:v>
                </c:pt>
                <c:pt idx="417" formatCode="0.0">
                  <c:v>9.203820080162302</c:v>
                </c:pt>
                <c:pt idx="418" formatCode="0.0">
                  <c:v>9.3374239200356257</c:v>
                </c:pt>
                <c:pt idx="419" formatCode="0.0">
                  <c:v>8.92176752931862</c:v>
                </c:pt>
                <c:pt idx="420" formatCode="0.0">
                  <c:v>9.3374239200356275</c:v>
                </c:pt>
                <c:pt idx="421" formatCode="0.0">
                  <c:v>10.163788411103965</c:v>
                </c:pt>
                <c:pt idx="422" formatCode="0.0">
                  <c:v>11.17818793606809</c:v>
                </c:pt>
                <c:pt idx="423" formatCode="0.0">
                  <c:v>11.583947746053738</c:v>
                </c:pt>
                <c:pt idx="424" formatCode="0.0">
                  <c:v>11.712603295561383</c:v>
                </c:pt>
                <c:pt idx="425" formatCode="0.0">
                  <c:v>11.856103716166066</c:v>
                </c:pt>
                <c:pt idx="426" formatCode="0.0">
                  <c:v>12.039190459696172</c:v>
                </c:pt>
                <c:pt idx="427" formatCode="0.0">
                  <c:v>12.232173783957638</c:v>
                </c:pt>
                <c:pt idx="428" formatCode="0.0">
                  <c:v>12.697313078331435</c:v>
                </c:pt>
                <c:pt idx="429" formatCode="0.0">
                  <c:v>12.984313919540799</c:v>
                </c:pt>
                <c:pt idx="430" formatCode="0.0">
                  <c:v>13.137710920876836</c:v>
                </c:pt>
                <c:pt idx="431" formatCode="0.0">
                  <c:v>13.444504923548916</c:v>
                </c:pt>
                <c:pt idx="432" formatCode="0.0">
                  <c:v>13.706764312929884</c:v>
                </c:pt>
                <c:pt idx="433" formatCode="0.0">
                  <c:v>14.350042060468111</c:v>
                </c:pt>
                <c:pt idx="434" formatCode="0.0">
                  <c:v>14.731060418625365</c:v>
                </c:pt>
                <c:pt idx="435" formatCode="0.0">
                  <c:v>14.186748478400714</c:v>
                </c:pt>
                <c:pt idx="436" formatCode="0.0">
                  <c:v>14.12242070364689</c:v>
                </c:pt>
                <c:pt idx="437" formatCode="0.0">
                  <c:v>14.330248899005396</c:v>
                </c:pt>
                <c:pt idx="438" formatCode="0.0">
                  <c:v>14.750853580088078</c:v>
                </c:pt>
                <c:pt idx="439" formatCode="0.0">
                  <c:v>14.706318966796969</c:v>
                </c:pt>
                <c:pt idx="440" formatCode="0.0">
                  <c:v>14.587559998020685</c:v>
                </c:pt>
                <c:pt idx="441" formatCode="0.0">
                  <c:v>14.849819387401652</c:v>
                </c:pt>
                <c:pt idx="442" formatCode="0.0">
                  <c:v>15.740511653223811</c:v>
                </c:pt>
                <c:pt idx="443" formatCode="0.0">
                  <c:v>16.195754366866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FA96-4795-8581-791AAA8989B0}"/>
            </c:ext>
          </c:extLst>
        </c:ser>
        <c:ser>
          <c:idx val="7"/>
          <c:order val="8"/>
          <c:tx>
            <c:v>Northern Cape</c:v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CM$5:$CM$451</c:f>
              <c:numCache>
                <c:formatCode>General</c:formatCode>
                <c:ptCount val="447"/>
                <c:pt idx="3" formatCode="0.0">
                  <c:v>0</c:v>
                </c:pt>
                <c:pt idx="4" formatCode="0.0">
                  <c:v>0</c:v>
                </c:pt>
                <c:pt idx="5" formatCode="0.0">
                  <c:v>0</c:v>
                </c:pt>
                <c:pt idx="6" formatCode="0.0">
                  <c:v>0</c:v>
                </c:pt>
                <c:pt idx="7" formatCode="0.0">
                  <c:v>0</c:v>
                </c:pt>
                <c:pt idx="8" formatCode="0.0">
                  <c:v>0</c:v>
                </c:pt>
                <c:pt idx="9" formatCode="0.0">
                  <c:v>0</c:v>
                </c:pt>
                <c:pt idx="10" formatCode="0.0">
                  <c:v>0</c:v>
                </c:pt>
                <c:pt idx="11" formatCode="0.0">
                  <c:v>0</c:v>
                </c:pt>
                <c:pt idx="12" formatCode="0.0">
                  <c:v>0</c:v>
                </c:pt>
                <c:pt idx="13" formatCode="0.0">
                  <c:v>2.2603978300180835E-2</c:v>
                </c:pt>
                <c:pt idx="14" formatCode="0.0">
                  <c:v>2.2603978300180835E-2</c:v>
                </c:pt>
                <c:pt idx="15" formatCode="0.0">
                  <c:v>2.2603978300180835E-2</c:v>
                </c:pt>
                <c:pt idx="16" formatCode="0.0">
                  <c:v>2.2603978300180835E-2</c:v>
                </c:pt>
                <c:pt idx="17" formatCode="0.0">
                  <c:v>2.2603978300180835E-2</c:v>
                </c:pt>
                <c:pt idx="18" formatCode="0.0">
                  <c:v>5.6509945750452067E-2</c:v>
                </c:pt>
                <c:pt idx="19" formatCode="0.0">
                  <c:v>6.781193490054252E-2</c:v>
                </c:pt>
                <c:pt idx="20" formatCode="0.0">
                  <c:v>1.1301989150090414E-2</c:v>
                </c:pt>
                <c:pt idx="21" formatCode="0.0">
                  <c:v>4.5207956600361664E-2</c:v>
                </c:pt>
                <c:pt idx="22" formatCode="0.0">
                  <c:v>5.6509945750452061E-2</c:v>
                </c:pt>
                <c:pt idx="23" formatCode="0.0">
                  <c:v>5.6509945750452061E-2</c:v>
                </c:pt>
                <c:pt idx="24" formatCode="0.0">
                  <c:v>5.6509945750452061E-2</c:v>
                </c:pt>
                <c:pt idx="25" formatCode="0.0">
                  <c:v>2.2603978300180832E-2</c:v>
                </c:pt>
                <c:pt idx="26" formatCode="0.0">
                  <c:v>2.2603978300180835E-2</c:v>
                </c:pt>
                <c:pt idx="27" formatCode="0.0">
                  <c:v>5.6509945750452061E-2</c:v>
                </c:pt>
                <c:pt idx="28" formatCode="0.0">
                  <c:v>-6.781193490054252E-2</c:v>
                </c:pt>
                <c:pt idx="29" formatCode="0.0">
                  <c:v>6.781193490054252E-2</c:v>
                </c:pt>
                <c:pt idx="30" formatCode="0.0">
                  <c:v>9.0415913200723314E-2</c:v>
                </c:pt>
                <c:pt idx="31" formatCode="0.0">
                  <c:v>9.0415913200723314E-2</c:v>
                </c:pt>
                <c:pt idx="32" formatCode="0.0">
                  <c:v>0.10171790235081371</c:v>
                </c:pt>
                <c:pt idx="33" formatCode="0.0">
                  <c:v>9.0415913200723314E-2</c:v>
                </c:pt>
                <c:pt idx="34" formatCode="0.0">
                  <c:v>9.0415913200723314E-2</c:v>
                </c:pt>
                <c:pt idx="35" formatCode="0.0">
                  <c:v>0.18083182640144665</c:v>
                </c:pt>
                <c:pt idx="36" formatCode="0.0">
                  <c:v>3.3905967450271253E-2</c:v>
                </c:pt>
                <c:pt idx="37" formatCode="0.0">
                  <c:v>1.1301989150090416E-2</c:v>
                </c:pt>
                <c:pt idx="38" formatCode="0.0">
                  <c:v>1.1301989150090416E-2</c:v>
                </c:pt>
                <c:pt idx="39" formatCode="0.0">
                  <c:v>0</c:v>
                </c:pt>
                <c:pt idx="40" formatCode="0.0">
                  <c:v>0</c:v>
                </c:pt>
                <c:pt idx="41" formatCode="0.0">
                  <c:v>2.2603978300180835E-2</c:v>
                </c:pt>
                <c:pt idx="42" formatCode="0.0">
                  <c:v>0</c:v>
                </c:pt>
                <c:pt idx="43" formatCode="0.0">
                  <c:v>0</c:v>
                </c:pt>
                <c:pt idx="44" formatCode="0.0">
                  <c:v>0</c:v>
                </c:pt>
                <c:pt idx="45" formatCode="0.0">
                  <c:v>0</c:v>
                </c:pt>
                <c:pt idx="46" formatCode="0.0">
                  <c:v>0</c:v>
                </c:pt>
                <c:pt idx="47" formatCode="0.0">
                  <c:v>1.1301989150090416E-2</c:v>
                </c:pt>
                <c:pt idx="48" formatCode="0.0">
                  <c:v>-1.1301989150090416E-2</c:v>
                </c:pt>
                <c:pt idx="49" formatCode="0.0">
                  <c:v>1.1301989150090416E-2</c:v>
                </c:pt>
                <c:pt idx="50" formatCode="0.0">
                  <c:v>1.1301989150090416E-2</c:v>
                </c:pt>
                <c:pt idx="51" formatCode="0.0">
                  <c:v>1.1301989150090416E-2</c:v>
                </c:pt>
                <c:pt idx="52" formatCode="0.0">
                  <c:v>2.2603978300180835E-2</c:v>
                </c:pt>
                <c:pt idx="53" formatCode="0.0">
                  <c:v>7.9113924050632931E-2</c:v>
                </c:pt>
                <c:pt idx="54" formatCode="0.0">
                  <c:v>7.9113924050632931E-2</c:v>
                </c:pt>
                <c:pt idx="55" formatCode="0.0">
                  <c:v>9.0415913200723314E-2</c:v>
                </c:pt>
                <c:pt idx="56" formatCode="0.0">
                  <c:v>0.10171790235081371</c:v>
                </c:pt>
                <c:pt idx="57" formatCode="0.0">
                  <c:v>0.10171790235081371</c:v>
                </c:pt>
                <c:pt idx="58" formatCode="0.0">
                  <c:v>0.11301989150090413</c:v>
                </c:pt>
                <c:pt idx="59" formatCode="0.0">
                  <c:v>0.10171790235081371</c:v>
                </c:pt>
                <c:pt idx="60" formatCode="0.0">
                  <c:v>5.6509945750452061E-2</c:v>
                </c:pt>
                <c:pt idx="61" formatCode="0.0">
                  <c:v>5.6509945750452061E-2</c:v>
                </c:pt>
                <c:pt idx="62" formatCode="0.0">
                  <c:v>5.6509945750452061E-2</c:v>
                </c:pt>
                <c:pt idx="63" formatCode="0.0">
                  <c:v>4.5207956600361664E-2</c:v>
                </c:pt>
                <c:pt idx="64" formatCode="0.0">
                  <c:v>4.5207956600361664E-2</c:v>
                </c:pt>
                <c:pt idx="65" formatCode="0.0">
                  <c:v>4.5207956600361664E-2</c:v>
                </c:pt>
                <c:pt idx="66" formatCode="0.0">
                  <c:v>7.9113924050632931E-2</c:v>
                </c:pt>
                <c:pt idx="67" formatCode="0.0">
                  <c:v>7.9113924050632931E-2</c:v>
                </c:pt>
                <c:pt idx="68" formatCode="0.0">
                  <c:v>9.0415913200723314E-2</c:v>
                </c:pt>
                <c:pt idx="69" formatCode="0.0">
                  <c:v>7.9113924050632931E-2</c:v>
                </c:pt>
                <c:pt idx="70" formatCode="0.0">
                  <c:v>7.9113924050632931E-2</c:v>
                </c:pt>
                <c:pt idx="71" formatCode="0.0">
                  <c:v>9.0415913200723314E-2</c:v>
                </c:pt>
                <c:pt idx="72" formatCode="0.0">
                  <c:v>6.781193490054252E-2</c:v>
                </c:pt>
                <c:pt idx="73" formatCode="0.0">
                  <c:v>5.6509945750452067E-2</c:v>
                </c:pt>
                <c:pt idx="74" formatCode="0.0">
                  <c:v>5.6509945750452067E-2</c:v>
                </c:pt>
                <c:pt idx="75" formatCode="0.0">
                  <c:v>3.3905967450271253E-2</c:v>
                </c:pt>
                <c:pt idx="76" formatCode="0.0">
                  <c:v>9.0415913200723314E-2</c:v>
                </c:pt>
                <c:pt idx="77" formatCode="0.0">
                  <c:v>9.0415913200723314E-2</c:v>
                </c:pt>
                <c:pt idx="78" formatCode="0.0">
                  <c:v>0.11301989150090413</c:v>
                </c:pt>
                <c:pt idx="79" formatCode="0.0">
                  <c:v>0.15822784810126586</c:v>
                </c:pt>
                <c:pt idx="80" formatCode="0.0">
                  <c:v>0.14692585895117541</c:v>
                </c:pt>
                <c:pt idx="81" formatCode="0.0">
                  <c:v>0.19213381555153708</c:v>
                </c:pt>
                <c:pt idx="82" formatCode="0.0">
                  <c:v>0.32775768535262223</c:v>
                </c:pt>
                <c:pt idx="83" formatCode="0.0">
                  <c:v>0.4181735985533454</c:v>
                </c:pt>
                <c:pt idx="84" formatCode="0.0">
                  <c:v>0.51989150090415914</c:v>
                </c:pt>
                <c:pt idx="85" formatCode="0.0">
                  <c:v>0.50858951175406852</c:v>
                </c:pt>
                <c:pt idx="86" formatCode="0.0">
                  <c:v>0.49728752260397835</c:v>
                </c:pt>
                <c:pt idx="87" formatCode="0.0">
                  <c:v>0.56509945750452095</c:v>
                </c:pt>
                <c:pt idx="88" formatCode="0.0">
                  <c:v>0.54249547920433994</c:v>
                </c:pt>
                <c:pt idx="89" formatCode="0.0">
                  <c:v>0.50858951175406852</c:v>
                </c:pt>
                <c:pt idx="90" formatCode="0.0">
                  <c:v>0.40687160940325506</c:v>
                </c:pt>
                <c:pt idx="91" formatCode="0.0">
                  <c:v>0.35036166365280297</c:v>
                </c:pt>
                <c:pt idx="92" formatCode="0.0">
                  <c:v>0.36166365280289331</c:v>
                </c:pt>
                <c:pt idx="93" formatCode="0.0">
                  <c:v>0.41817359855334535</c:v>
                </c:pt>
                <c:pt idx="94" formatCode="0.0">
                  <c:v>0.40687160940325495</c:v>
                </c:pt>
                <c:pt idx="95" formatCode="0.0">
                  <c:v>0.44077757685352614</c:v>
                </c:pt>
                <c:pt idx="96" formatCode="0.0">
                  <c:v>0.47468354430379744</c:v>
                </c:pt>
                <c:pt idx="97" formatCode="0.0">
                  <c:v>0.98327305605786619</c:v>
                </c:pt>
                <c:pt idx="98" formatCode="0.0">
                  <c:v>1.0058770343580472</c:v>
                </c:pt>
                <c:pt idx="99" formatCode="0.0">
                  <c:v>0.9719710669077759</c:v>
                </c:pt>
                <c:pt idx="100" formatCode="0.0">
                  <c:v>0.9267631103074141</c:v>
                </c:pt>
                <c:pt idx="101" formatCode="0.0">
                  <c:v>0.9041591320072333</c:v>
                </c:pt>
                <c:pt idx="102" formatCode="0.0">
                  <c:v>0.99457504520795637</c:v>
                </c:pt>
                <c:pt idx="103" formatCode="0.0">
                  <c:v>0.91546112115732348</c:v>
                </c:pt>
                <c:pt idx="104" formatCode="0.0">
                  <c:v>0.55379746835443044</c:v>
                </c:pt>
                <c:pt idx="105" formatCode="0.0">
                  <c:v>0.66681735985533452</c:v>
                </c:pt>
                <c:pt idx="106" formatCode="0.0">
                  <c:v>0.99457504520795648</c:v>
                </c:pt>
                <c:pt idx="107" formatCode="0.0">
                  <c:v>1.1754068716094033</c:v>
                </c:pt>
                <c:pt idx="108" formatCode="0.0">
                  <c:v>1.3449367088607593</c:v>
                </c:pt>
                <c:pt idx="109" formatCode="0.0">
                  <c:v>1.3901446654611209</c:v>
                </c:pt>
                <c:pt idx="110" formatCode="0.0">
                  <c:v>1.446654611211573</c:v>
                </c:pt>
                <c:pt idx="111" formatCode="0.0">
                  <c:v>1.6952983725135624</c:v>
                </c:pt>
                <c:pt idx="112" formatCode="0.0">
                  <c:v>2.2038878842676315</c:v>
                </c:pt>
                <c:pt idx="113" formatCode="0.0">
                  <c:v>2.2038878842676315</c:v>
                </c:pt>
                <c:pt idx="114" formatCode="0.0">
                  <c:v>2.8820072332730549</c:v>
                </c:pt>
                <c:pt idx="115" formatCode="0.0">
                  <c:v>3.2662748643761308</c:v>
                </c:pt>
                <c:pt idx="116" formatCode="0.0">
                  <c:v>3.7409584086799272</c:v>
                </c:pt>
                <c:pt idx="117" formatCode="0.0">
                  <c:v>4.1704339963833634</c:v>
                </c:pt>
                <c:pt idx="118" formatCode="0.0">
                  <c:v>4.701627486437614</c:v>
                </c:pt>
                <c:pt idx="119" formatCode="0.0">
                  <c:v>4.780741410488246</c:v>
                </c:pt>
                <c:pt idx="120" formatCode="0.0">
                  <c:v>5.4249547920433985</c:v>
                </c:pt>
                <c:pt idx="121" formatCode="0.0">
                  <c:v>5.2667269439421336</c:v>
                </c:pt>
                <c:pt idx="122" formatCode="0.0">
                  <c:v>6.1256781193490042</c:v>
                </c:pt>
                <c:pt idx="123" formatCode="0.0">
                  <c:v>6.5551537070524404</c:v>
                </c:pt>
                <c:pt idx="124" formatCode="0.0">
                  <c:v>7.5384267631103086</c:v>
                </c:pt>
                <c:pt idx="125" formatCode="0.0">
                  <c:v>7.933996383363473</c:v>
                </c:pt>
                <c:pt idx="126" formatCode="0.0">
                  <c:v>7.8096745027124763</c:v>
                </c:pt>
                <c:pt idx="127" formatCode="0.0">
                  <c:v>7.8322784810126587</c:v>
                </c:pt>
                <c:pt idx="128" formatCode="0.0">
                  <c:v>8.9511754068716076</c:v>
                </c:pt>
                <c:pt idx="129" formatCode="0.0">
                  <c:v>9.9005424954792058</c:v>
                </c:pt>
                <c:pt idx="130" formatCode="0.0">
                  <c:v>10.522151898734174</c:v>
                </c:pt>
                <c:pt idx="131" formatCode="0.0">
                  <c:v>9.77622061482821</c:v>
                </c:pt>
                <c:pt idx="132" formatCode="0.0">
                  <c:v>9.3693490054249562</c:v>
                </c:pt>
                <c:pt idx="133" formatCode="0.0">
                  <c:v>10.849909584086802</c:v>
                </c:pt>
                <c:pt idx="134" formatCode="0.0">
                  <c:v>11.98010849909584</c:v>
                </c:pt>
                <c:pt idx="135" formatCode="0.0">
                  <c:v>12.872965641952986</c:v>
                </c:pt>
                <c:pt idx="136" formatCode="0.0">
                  <c:v>12.782549728752262</c:v>
                </c:pt>
                <c:pt idx="137" formatCode="0.0">
                  <c:v>13.471971066907773</c:v>
                </c:pt>
                <c:pt idx="138" formatCode="0.0">
                  <c:v>15.076853526220617</c:v>
                </c:pt>
                <c:pt idx="139" formatCode="0.0">
                  <c:v>17.224231464737791</c:v>
                </c:pt>
                <c:pt idx="140" formatCode="0.0">
                  <c:v>16.478300180831823</c:v>
                </c:pt>
                <c:pt idx="141" formatCode="0.0">
                  <c:v>15.913200723327305</c:v>
                </c:pt>
                <c:pt idx="142" formatCode="0.0">
                  <c:v>16.184448462929474</c:v>
                </c:pt>
                <c:pt idx="143" formatCode="0.0">
                  <c:v>17.698915009041595</c:v>
                </c:pt>
                <c:pt idx="144" formatCode="0.0">
                  <c:v>17.766726943942125</c:v>
                </c:pt>
                <c:pt idx="145" formatCode="0.0">
                  <c:v>17.303345388788429</c:v>
                </c:pt>
                <c:pt idx="146" formatCode="0.0">
                  <c:v>16.127938517179025</c:v>
                </c:pt>
                <c:pt idx="147" formatCode="0.0">
                  <c:v>15.619349005424956</c:v>
                </c:pt>
                <c:pt idx="148" formatCode="0.0">
                  <c:v>16.986889692585891</c:v>
                </c:pt>
                <c:pt idx="149" formatCode="0.0">
                  <c:v>17.292043399638331</c:v>
                </c:pt>
                <c:pt idx="150" formatCode="0.0">
                  <c:v>16.320072332730557</c:v>
                </c:pt>
                <c:pt idx="151" formatCode="0.0">
                  <c:v>15.879294755877037</c:v>
                </c:pt>
                <c:pt idx="152" formatCode="0.0">
                  <c:v>16.839963833634723</c:v>
                </c:pt>
                <c:pt idx="153" formatCode="0.0">
                  <c:v>16.952983725135624</c:v>
                </c:pt>
                <c:pt idx="154" formatCode="0.0">
                  <c:v>16.749547920433987</c:v>
                </c:pt>
                <c:pt idx="155" formatCode="0.0">
                  <c:v>14.907323688969257</c:v>
                </c:pt>
                <c:pt idx="156" formatCode="0.0">
                  <c:v>13.449367088607593</c:v>
                </c:pt>
                <c:pt idx="157" formatCode="0.0">
                  <c:v>14.217902350813741</c:v>
                </c:pt>
                <c:pt idx="158" formatCode="0.0">
                  <c:v>15.472423146473778</c:v>
                </c:pt>
                <c:pt idx="159" formatCode="0.0">
                  <c:v>13.777124773960216</c:v>
                </c:pt>
                <c:pt idx="160" formatCode="0.0">
                  <c:v>13.777124773960216</c:v>
                </c:pt>
                <c:pt idx="161" formatCode="0.0">
                  <c:v>14.330922242314646</c:v>
                </c:pt>
                <c:pt idx="162" formatCode="0.0">
                  <c:v>15.641952983725135</c:v>
                </c:pt>
                <c:pt idx="163" formatCode="0.0">
                  <c:v>16.421790235081367</c:v>
                </c:pt>
                <c:pt idx="164" formatCode="0.0">
                  <c:v>15.540235081374318</c:v>
                </c:pt>
                <c:pt idx="165" formatCode="0.0">
                  <c:v>14.251808318264017</c:v>
                </c:pt>
                <c:pt idx="166" formatCode="0.0">
                  <c:v>14.568264014466546</c:v>
                </c:pt>
                <c:pt idx="167" formatCode="0.0">
                  <c:v>14.703887884267633</c:v>
                </c:pt>
                <c:pt idx="168" formatCode="0.0">
                  <c:v>14.082278481012658</c:v>
                </c:pt>
                <c:pt idx="169" formatCode="0.0">
                  <c:v>13.099005424954791</c:v>
                </c:pt>
                <c:pt idx="170" formatCode="0.0">
                  <c:v>14.172694394213382</c:v>
                </c:pt>
                <c:pt idx="171" formatCode="0.0">
                  <c:v>13.844936708860759</c:v>
                </c:pt>
                <c:pt idx="172" formatCode="0.0">
                  <c:v>14.556962025316453</c:v>
                </c:pt>
                <c:pt idx="173" formatCode="0.0">
                  <c:v>16.263562386980105</c:v>
                </c:pt>
                <c:pt idx="174" formatCode="0.0">
                  <c:v>15.867992766726946</c:v>
                </c:pt>
                <c:pt idx="175" formatCode="0.0">
                  <c:v>16.523508137432184</c:v>
                </c:pt>
                <c:pt idx="176" formatCode="0.0">
                  <c:v>17.179023508137426</c:v>
                </c:pt>
                <c:pt idx="177" formatCode="0.0">
                  <c:v>16.772151898734176</c:v>
                </c:pt>
                <c:pt idx="178" formatCode="0.0">
                  <c:v>16.704339963833633</c:v>
                </c:pt>
                <c:pt idx="179" formatCode="0.0">
                  <c:v>16.207052441229656</c:v>
                </c:pt>
                <c:pt idx="180" formatCode="0.0">
                  <c:v>15.314195298372512</c:v>
                </c:pt>
                <c:pt idx="181" formatCode="0.0">
                  <c:v>15.359403254972877</c:v>
                </c:pt>
                <c:pt idx="182" formatCode="0.0">
                  <c:v>15.653254972875226</c:v>
                </c:pt>
                <c:pt idx="183" formatCode="0.0">
                  <c:v>15.675858951175403</c:v>
                </c:pt>
                <c:pt idx="184" formatCode="0.0">
                  <c:v>14.884719710669076</c:v>
                </c:pt>
                <c:pt idx="185" formatCode="0.0">
                  <c:v>15.800180831826403</c:v>
                </c:pt>
                <c:pt idx="186" formatCode="0.0">
                  <c:v>15.879294755877037</c:v>
                </c:pt>
                <c:pt idx="187" formatCode="0.0">
                  <c:v>16.591320072332724</c:v>
                </c:pt>
                <c:pt idx="188" formatCode="0.0">
                  <c:v>16.715641952983724</c:v>
                </c:pt>
                <c:pt idx="189" formatCode="0.0">
                  <c:v>15.754972875226043</c:v>
                </c:pt>
                <c:pt idx="190" formatCode="0.0">
                  <c:v>14.918625678119351</c:v>
                </c:pt>
                <c:pt idx="191" formatCode="0.0">
                  <c:v>15.517631103074141</c:v>
                </c:pt>
                <c:pt idx="192" formatCode="0.0">
                  <c:v>16.466998191681736</c:v>
                </c:pt>
                <c:pt idx="193" formatCode="0.0">
                  <c:v>18.173598553345389</c:v>
                </c:pt>
                <c:pt idx="194" formatCode="0.0">
                  <c:v>18.603074141048829</c:v>
                </c:pt>
                <c:pt idx="195" formatCode="0.0">
                  <c:v>18.071880650994583</c:v>
                </c:pt>
                <c:pt idx="196" formatCode="0.0">
                  <c:v>18.806509945750452</c:v>
                </c:pt>
                <c:pt idx="197" formatCode="0.0">
                  <c:v>20.716546112115729</c:v>
                </c:pt>
                <c:pt idx="198" formatCode="0.0">
                  <c:v>19.688065099457507</c:v>
                </c:pt>
                <c:pt idx="199" formatCode="0.0">
                  <c:v>17.744122965641946</c:v>
                </c:pt>
                <c:pt idx="200" formatCode="0.0">
                  <c:v>15.076853526220614</c:v>
                </c:pt>
                <c:pt idx="201" formatCode="0.0">
                  <c:v>13.630198915009043</c:v>
                </c:pt>
                <c:pt idx="202" formatCode="0.0">
                  <c:v>13.946654611211573</c:v>
                </c:pt>
                <c:pt idx="203" formatCode="0.0">
                  <c:v>13.438065099457503</c:v>
                </c:pt>
                <c:pt idx="204" formatCode="0.0">
                  <c:v>12.443490054249551</c:v>
                </c:pt>
                <c:pt idx="205" formatCode="0.0">
                  <c:v>12.974683544303799</c:v>
                </c:pt>
                <c:pt idx="206" formatCode="0.0">
                  <c:v>13.279837251356241</c:v>
                </c:pt>
                <c:pt idx="207" formatCode="0.0">
                  <c:v>15.223779385171788</c:v>
                </c:pt>
                <c:pt idx="208" formatCode="0.0">
                  <c:v>16.986889692585887</c:v>
                </c:pt>
                <c:pt idx="209" formatCode="0.0">
                  <c:v>16.71564195298372</c:v>
                </c:pt>
                <c:pt idx="210" formatCode="0.0">
                  <c:v>17.303345388788429</c:v>
                </c:pt>
                <c:pt idx="211" formatCode="0.0">
                  <c:v>17.472875226039786</c:v>
                </c:pt>
                <c:pt idx="212" formatCode="0.0">
                  <c:v>16.896473779385172</c:v>
                </c:pt>
                <c:pt idx="213" formatCode="0.0">
                  <c:v>17.032097649186252</c:v>
                </c:pt>
                <c:pt idx="214" formatCode="0.0">
                  <c:v>16.68173598553345</c:v>
                </c:pt>
                <c:pt idx="215" formatCode="0.0">
                  <c:v>15.054249547920435</c:v>
                </c:pt>
                <c:pt idx="216" formatCode="0.0">
                  <c:v>14.647377938517176</c:v>
                </c:pt>
                <c:pt idx="217" formatCode="0.0">
                  <c:v>14.297016274864376</c:v>
                </c:pt>
                <c:pt idx="218" formatCode="0.0">
                  <c:v>13.279837251356241</c:v>
                </c:pt>
                <c:pt idx="219" formatCode="0.0">
                  <c:v>14.037070524412297</c:v>
                </c:pt>
                <c:pt idx="220" formatCode="0.0">
                  <c:v>13.404159132007235</c:v>
                </c:pt>
                <c:pt idx="221" formatCode="0.0">
                  <c:v>12.00271247739602</c:v>
                </c:pt>
                <c:pt idx="222" formatCode="0.0">
                  <c:v>12.21745027124774</c:v>
                </c:pt>
                <c:pt idx="223" formatCode="0.0">
                  <c:v>13.664104882459313</c:v>
                </c:pt>
                <c:pt idx="224" formatCode="0.0">
                  <c:v>13.370253164556958</c:v>
                </c:pt>
                <c:pt idx="225" formatCode="0.0">
                  <c:v>14.783001808318263</c:v>
                </c:pt>
                <c:pt idx="226" formatCode="0.0">
                  <c:v>14.206600361663652</c:v>
                </c:pt>
                <c:pt idx="227" formatCode="0.0">
                  <c:v>15.110759493670882</c:v>
                </c:pt>
                <c:pt idx="228" formatCode="0.0">
                  <c:v>14.771699819168173</c:v>
                </c:pt>
                <c:pt idx="229" formatCode="0.0">
                  <c:v>13.743218806509944</c:v>
                </c:pt>
                <c:pt idx="230" formatCode="0.0">
                  <c:v>11.889692585895117</c:v>
                </c:pt>
                <c:pt idx="231" formatCode="0.0">
                  <c:v>11.41500904159132</c:v>
                </c:pt>
                <c:pt idx="232" formatCode="0.0">
                  <c:v>9.8327305605786641</c:v>
                </c:pt>
                <c:pt idx="233" formatCode="0.0">
                  <c:v>9.0867992766726964</c:v>
                </c:pt>
                <c:pt idx="234" formatCode="0.0">
                  <c:v>7.7418625678119355</c:v>
                </c:pt>
                <c:pt idx="235" formatCode="0.0">
                  <c:v>7.4028028933092234</c:v>
                </c:pt>
                <c:pt idx="236" formatCode="0.0">
                  <c:v>7.1428571428571423</c:v>
                </c:pt>
                <c:pt idx="237" formatCode="0.0">
                  <c:v>6.8490054249547914</c:v>
                </c:pt>
                <c:pt idx="238" formatCode="0.0">
                  <c:v>6.8264014466546117</c:v>
                </c:pt>
                <c:pt idx="239" formatCode="0.0">
                  <c:v>6.4873417721518996</c:v>
                </c:pt>
                <c:pt idx="240" formatCode="0.0">
                  <c:v>5.865732368896925</c:v>
                </c:pt>
                <c:pt idx="241" formatCode="0.0">
                  <c:v>5.0632911392405076</c:v>
                </c:pt>
                <c:pt idx="242" formatCode="0.0">
                  <c:v>4.8824593128390585</c:v>
                </c:pt>
                <c:pt idx="243" formatCode="0.0">
                  <c:v>4.3964737793851709</c:v>
                </c:pt>
                <c:pt idx="244" formatCode="0.0">
                  <c:v>4.3738698010849903</c:v>
                </c:pt>
                <c:pt idx="245" formatCode="0.0">
                  <c:v>4.5320976491862552</c:v>
                </c:pt>
                <c:pt idx="246" formatCode="0.0">
                  <c:v>4.1591320072332723</c:v>
                </c:pt>
                <c:pt idx="247" formatCode="0.0">
                  <c:v>4.1252260397830014</c:v>
                </c:pt>
                <c:pt idx="248" formatCode="0.0">
                  <c:v>3.8765822784810129</c:v>
                </c:pt>
                <c:pt idx="249" formatCode="0.0">
                  <c:v>3.6731464737793846</c:v>
                </c:pt>
                <c:pt idx="250" formatCode="0.0">
                  <c:v>3.7183544303797467</c:v>
                </c:pt>
                <c:pt idx="251" formatCode="0.0">
                  <c:v>3.6731464737793846</c:v>
                </c:pt>
                <c:pt idx="252" formatCode="0.0">
                  <c:v>3.4810126582278476</c:v>
                </c:pt>
                <c:pt idx="253" formatCode="0.0">
                  <c:v>3.3227848101265818</c:v>
                </c:pt>
                <c:pt idx="254" formatCode="0.0">
                  <c:v>2.9385171790235081</c:v>
                </c:pt>
                <c:pt idx="255" formatCode="0.0">
                  <c:v>3.141952983725135</c:v>
                </c:pt>
                <c:pt idx="256" formatCode="0.0">
                  <c:v>2.9385171790235072</c:v>
                </c:pt>
                <c:pt idx="257" formatCode="0.0">
                  <c:v>2.5655515370705246</c:v>
                </c:pt>
                <c:pt idx="258" formatCode="0.0">
                  <c:v>2.4525316455696204</c:v>
                </c:pt>
                <c:pt idx="259" formatCode="0.0">
                  <c:v>2.6220614828209765</c:v>
                </c:pt>
                <c:pt idx="260" formatCode="0.0">
                  <c:v>2.8028933092224229</c:v>
                </c:pt>
                <c:pt idx="261" formatCode="0.0">
                  <c:v>2.9385171790235072</c:v>
                </c:pt>
                <c:pt idx="262" formatCode="0.0">
                  <c:v>2.4073236889692593</c:v>
                </c:pt>
                <c:pt idx="263" formatCode="0.0">
                  <c:v>2.5655515370705246</c:v>
                </c:pt>
                <c:pt idx="264" formatCode="0.0">
                  <c:v>2.6333634719710672</c:v>
                </c:pt>
                <c:pt idx="265" formatCode="0.0">
                  <c:v>2.5994575045207955</c:v>
                </c:pt>
                <c:pt idx="266" formatCode="0.0">
                  <c:v>2.3734177215189871</c:v>
                </c:pt>
                <c:pt idx="267" formatCode="0.0">
                  <c:v>2.3621157323688968</c:v>
                </c:pt>
                <c:pt idx="268" formatCode="0.0">
                  <c:v>2.4073236889692593</c:v>
                </c:pt>
                <c:pt idx="269" formatCode="0.0">
                  <c:v>2.9272151898734178</c:v>
                </c:pt>
                <c:pt idx="270" formatCode="0.0">
                  <c:v>2.9159132007233275</c:v>
                </c:pt>
                <c:pt idx="271" formatCode="0.0">
                  <c:v>2.9950271247739595</c:v>
                </c:pt>
                <c:pt idx="272" formatCode="0.0">
                  <c:v>2.9837251356238692</c:v>
                </c:pt>
                <c:pt idx="273" formatCode="0.0">
                  <c:v>3.1080470162748637</c:v>
                </c:pt>
                <c:pt idx="274" formatCode="0.0">
                  <c:v>2.9837251356238692</c:v>
                </c:pt>
                <c:pt idx="275" formatCode="0.0">
                  <c:v>3.0289330922242321</c:v>
                </c:pt>
                <c:pt idx="276" formatCode="0.0">
                  <c:v>2.9272151898734173</c:v>
                </c:pt>
                <c:pt idx="277" formatCode="0.0">
                  <c:v>3.1532549728752257</c:v>
                </c:pt>
                <c:pt idx="278" formatCode="0.0">
                  <c:v>3.1871609403254983</c:v>
                </c:pt>
                <c:pt idx="279" formatCode="0.0">
                  <c:v>3.356690777576854</c:v>
                </c:pt>
                <c:pt idx="280" formatCode="0.0">
                  <c:v>3.4697106690777582</c:v>
                </c:pt>
                <c:pt idx="281" formatCode="0.0">
                  <c:v>3.7635623869801091</c:v>
                </c:pt>
                <c:pt idx="282" formatCode="0.0">
                  <c:v>4.0461121157323703</c:v>
                </c:pt>
                <c:pt idx="283" formatCode="0.0">
                  <c:v>4.1139240506329093</c:v>
                </c:pt>
                <c:pt idx="284" formatCode="0.0">
                  <c:v>4.6564195298372493</c:v>
                </c:pt>
                <c:pt idx="285" formatCode="0.0">
                  <c:v>4.8824593128390585</c:v>
                </c:pt>
                <c:pt idx="286" formatCode="0.0">
                  <c:v>5.5492766726943952</c:v>
                </c:pt>
                <c:pt idx="287" formatCode="0.0">
                  <c:v>5.7075045207956592</c:v>
                </c:pt>
                <c:pt idx="288" formatCode="0.0">
                  <c:v>6.1708860759493671</c:v>
                </c:pt>
                <c:pt idx="289" formatCode="0.0">
                  <c:v>7.0072332730560571</c:v>
                </c:pt>
                <c:pt idx="290" formatCode="0.0">
                  <c:v>7.6966546112115726</c:v>
                </c:pt>
                <c:pt idx="291" formatCode="0.0">
                  <c:v>7.7531645569620249</c:v>
                </c:pt>
                <c:pt idx="292" formatCode="0.0">
                  <c:v>7.9792043399638359</c:v>
                </c:pt>
                <c:pt idx="293" formatCode="0.0">
                  <c:v>7.5723327305605794</c:v>
                </c:pt>
                <c:pt idx="294" formatCode="0.0">
                  <c:v>7.6175406871609397</c:v>
                </c:pt>
                <c:pt idx="295" formatCode="0.0">
                  <c:v>8.6799276672694408</c:v>
                </c:pt>
                <c:pt idx="296" formatCode="0.0">
                  <c:v>8.5895117540687167</c:v>
                </c:pt>
                <c:pt idx="297" formatCode="0.0">
                  <c:v>10.115280289330922</c:v>
                </c:pt>
                <c:pt idx="298" formatCode="0.0">
                  <c:v>10.838607594936709</c:v>
                </c:pt>
                <c:pt idx="299" formatCode="0.0">
                  <c:v>11.787974683544302</c:v>
                </c:pt>
                <c:pt idx="300" formatCode="0.0">
                  <c:v>12.420886075949371</c:v>
                </c:pt>
                <c:pt idx="301" formatCode="0.0">
                  <c:v>12.669529837251359</c:v>
                </c:pt>
                <c:pt idx="302" formatCode="0.0">
                  <c:v>13.438065099457502</c:v>
                </c:pt>
                <c:pt idx="303" formatCode="0.0">
                  <c:v>15.675858951175405</c:v>
                </c:pt>
                <c:pt idx="304" formatCode="0.0">
                  <c:v>16.760849909584081</c:v>
                </c:pt>
                <c:pt idx="305" formatCode="0.0">
                  <c:v>18.456148282097644</c:v>
                </c:pt>
                <c:pt idx="306" formatCode="0.0">
                  <c:v>19.608951175406879</c:v>
                </c:pt>
                <c:pt idx="307" formatCode="0.0">
                  <c:v>22.084086799276676</c:v>
                </c:pt>
                <c:pt idx="308" formatCode="0.0">
                  <c:v>22.547468354430375</c:v>
                </c:pt>
                <c:pt idx="309" formatCode="0.0">
                  <c:v>22.931735985533443</c:v>
                </c:pt>
                <c:pt idx="310" formatCode="0.0">
                  <c:v>22.400542495479201</c:v>
                </c:pt>
                <c:pt idx="311" formatCode="0.0">
                  <c:v>21.541591320072332</c:v>
                </c:pt>
                <c:pt idx="312" formatCode="0.0">
                  <c:v>22.18580470162749</c:v>
                </c:pt>
                <c:pt idx="313" formatCode="0.0">
                  <c:v>21.586799276672689</c:v>
                </c:pt>
                <c:pt idx="314" formatCode="0.0">
                  <c:v>20.16274864376129</c:v>
                </c:pt>
                <c:pt idx="315" formatCode="0.0">
                  <c:v>20.38878842676311</c:v>
                </c:pt>
                <c:pt idx="316" formatCode="0.0">
                  <c:v>19.631555153707055</c:v>
                </c:pt>
                <c:pt idx="317" formatCode="0.0">
                  <c:v>19.235985533453892</c:v>
                </c:pt>
                <c:pt idx="318" formatCode="0.0">
                  <c:v>18.11708860759494</c:v>
                </c:pt>
                <c:pt idx="319" formatCode="0.0">
                  <c:v>16.297468354430382</c:v>
                </c:pt>
                <c:pt idx="320" formatCode="0.0">
                  <c:v>15.845388788426762</c:v>
                </c:pt>
                <c:pt idx="321" formatCode="0.0">
                  <c:v>14.997739602169984</c:v>
                </c:pt>
                <c:pt idx="322" formatCode="0.0">
                  <c:v>14.240506329113925</c:v>
                </c:pt>
                <c:pt idx="323" formatCode="0.0">
                  <c:v>14.330922242314646</c:v>
                </c:pt>
                <c:pt idx="324" formatCode="0.0">
                  <c:v>13.720614828209767</c:v>
                </c:pt>
                <c:pt idx="325" formatCode="0.0">
                  <c:v>13.370253164556962</c:v>
                </c:pt>
                <c:pt idx="326" formatCode="0.0">
                  <c:v>12.014014466546113</c:v>
                </c:pt>
                <c:pt idx="327" formatCode="0.0">
                  <c:v>11.867088607594939</c:v>
                </c:pt>
                <c:pt idx="328" formatCode="0.0">
                  <c:v>10.996835443037975</c:v>
                </c:pt>
                <c:pt idx="329" formatCode="0.0">
                  <c:v>10.375226039783005</c:v>
                </c:pt>
                <c:pt idx="330" formatCode="0.0">
                  <c:v>9.0076853526220617</c:v>
                </c:pt>
                <c:pt idx="331" formatCode="0.0">
                  <c:v>7.9452983725135633</c:v>
                </c:pt>
                <c:pt idx="332" formatCode="0.0">
                  <c:v>7.6175406871609397</c:v>
                </c:pt>
                <c:pt idx="333" formatCode="0.0">
                  <c:v>7.6627486437613017</c:v>
                </c:pt>
                <c:pt idx="334" formatCode="0.0">
                  <c:v>6.9846292947558783</c:v>
                </c:pt>
                <c:pt idx="335" formatCode="0.0">
                  <c:v>6.7924954792043399</c:v>
                </c:pt>
                <c:pt idx="336" formatCode="0.0">
                  <c:v>6.9168173598553349</c:v>
                </c:pt>
                <c:pt idx="337" formatCode="0.0">
                  <c:v>6.6568716094032556</c:v>
                </c:pt>
                <c:pt idx="338" formatCode="0.0">
                  <c:v>6.3291139240506311</c:v>
                </c:pt>
                <c:pt idx="339" formatCode="0.0">
                  <c:v>5.9561482820976499</c:v>
                </c:pt>
                <c:pt idx="340" formatCode="0.0">
                  <c:v>5.8770343580470152</c:v>
                </c:pt>
                <c:pt idx="341" formatCode="0.0">
                  <c:v>5.3910488245931294</c:v>
                </c:pt>
                <c:pt idx="342" formatCode="0.0">
                  <c:v>5.4475587703435808</c:v>
                </c:pt>
                <c:pt idx="343" formatCode="0.0">
                  <c:v>5.4023508137432197</c:v>
                </c:pt>
                <c:pt idx="344" formatCode="0.0">
                  <c:v>4.950271247739602</c:v>
                </c:pt>
                <c:pt idx="345" formatCode="0.0">
                  <c:v>5.3684448462929453</c:v>
                </c:pt>
                <c:pt idx="346" formatCode="0.0">
                  <c:v>5.4475587703435808</c:v>
                </c:pt>
                <c:pt idx="347" formatCode="0.0">
                  <c:v>5.1424050632911387</c:v>
                </c:pt>
                <c:pt idx="348" formatCode="0.0">
                  <c:v>5.4249547920433985</c:v>
                </c:pt>
                <c:pt idx="349" formatCode="0.0">
                  <c:v>5.3684448462929453</c:v>
                </c:pt>
                <c:pt idx="350" formatCode="0.0">
                  <c:v>5.3458408679927656</c:v>
                </c:pt>
                <c:pt idx="351" formatCode="0.0">
                  <c:v>5.583182640144666</c:v>
                </c:pt>
                <c:pt idx="352" formatCode="0.0">
                  <c:v>5.1424050632911378</c:v>
                </c:pt>
                <c:pt idx="353" formatCode="0.0">
                  <c:v>5.1763110307414095</c:v>
                </c:pt>
                <c:pt idx="354" formatCode="0.0">
                  <c:v>4.9841772151898729</c:v>
                </c:pt>
                <c:pt idx="355" formatCode="0.0">
                  <c:v>4.7129294755877025</c:v>
                </c:pt>
                <c:pt idx="356" formatCode="0.0">
                  <c:v>4.7920433996383371</c:v>
                </c:pt>
                <c:pt idx="357" formatCode="0.0">
                  <c:v>4.7694394213381566</c:v>
                </c:pt>
                <c:pt idx="358" formatCode="0.0">
                  <c:v>4.6677215189873396</c:v>
                </c:pt>
                <c:pt idx="359" formatCode="0.0">
                  <c:v>4.6451175406871599</c:v>
                </c:pt>
                <c:pt idx="360" formatCode="0.0">
                  <c:v>4.1591320072332723</c:v>
                </c:pt>
                <c:pt idx="361" formatCode="0.0">
                  <c:v>4.1478300180831811</c:v>
                </c:pt>
                <c:pt idx="362" formatCode="0.0">
                  <c:v>4.0800180831826411</c:v>
                </c:pt>
                <c:pt idx="363" formatCode="0.0">
                  <c:v>3.8426763110307403</c:v>
                </c:pt>
                <c:pt idx="364" formatCode="0.0">
                  <c:v>3.9556962025316453</c:v>
                </c:pt>
                <c:pt idx="365" formatCode="0.0">
                  <c:v>4.1252260397830005</c:v>
                </c:pt>
                <c:pt idx="366" formatCode="0.0">
                  <c:v>4.0913200723327314</c:v>
                </c:pt>
                <c:pt idx="367" formatCode="0.0">
                  <c:v>4.2269439421338166</c:v>
                </c:pt>
                <c:pt idx="368" formatCode="0.0">
                  <c:v>4.5886075949367093</c:v>
                </c:pt>
                <c:pt idx="369" formatCode="0.0">
                  <c:v>6.0013562386980093</c:v>
                </c:pt>
                <c:pt idx="370" formatCode="0.0">
                  <c:v>6.2386980108499097</c:v>
                </c:pt>
                <c:pt idx="371" formatCode="0.0">
                  <c:v>6.3065099457504523</c:v>
                </c:pt>
                <c:pt idx="372" formatCode="0.0">
                  <c:v>6.9507233273056066</c:v>
                </c:pt>
                <c:pt idx="373" formatCode="0.0">
                  <c:v>7.3236889692585878</c:v>
                </c:pt>
                <c:pt idx="374" formatCode="0.0">
                  <c:v>7.8096745027124772</c:v>
                </c:pt>
                <c:pt idx="375" formatCode="0.0">
                  <c:v>8.3182640144665463</c:v>
                </c:pt>
                <c:pt idx="376" formatCode="0.0">
                  <c:v>8.2278481012658187</c:v>
                </c:pt>
                <c:pt idx="377" formatCode="0.0">
                  <c:v>8.1261301989150088</c:v>
                </c:pt>
                <c:pt idx="378" formatCode="0.0">
                  <c:v>7.9679023508137421</c:v>
                </c:pt>
                <c:pt idx="379" formatCode="0.0">
                  <c:v>6.6229656419529812</c:v>
                </c:pt>
                <c:pt idx="380" formatCode="0.0">
                  <c:v>6.4421338155515384</c:v>
                </c:pt>
                <c:pt idx="381" formatCode="0.0">
                  <c:v>6.9846292947558783</c:v>
                </c:pt>
                <c:pt idx="382" formatCode="0.0">
                  <c:v>6.5664556962025316</c:v>
                </c:pt>
                <c:pt idx="383" formatCode="0.0">
                  <c:v>4.6677215189873396</c:v>
                </c:pt>
                <c:pt idx="384" formatCode="0.0">
                  <c:v>5.4701627486437623</c:v>
                </c:pt>
                <c:pt idx="385" formatCode="0.0">
                  <c:v>5.6735985533453874</c:v>
                </c:pt>
                <c:pt idx="386" formatCode="0.0">
                  <c:v>6.4534358047016287</c:v>
                </c:pt>
                <c:pt idx="387" formatCode="0.0">
                  <c:v>6.3856238698010861</c:v>
                </c:pt>
                <c:pt idx="388" formatCode="0.0">
                  <c:v>6.0465641952983731</c:v>
                </c:pt>
                <c:pt idx="389" formatCode="0.0">
                  <c:v>5.9900542495479181</c:v>
                </c:pt>
                <c:pt idx="390" formatCode="0.0">
                  <c:v>6.2386980108499106</c:v>
                </c:pt>
                <c:pt idx="391" formatCode="0.0">
                  <c:v>5.4362567811934923</c:v>
                </c:pt>
                <c:pt idx="392" formatCode="0.0">
                  <c:v>5.3006329113924053</c:v>
                </c:pt>
                <c:pt idx="393" formatCode="0.0">
                  <c:v>4.6112115732368881</c:v>
                </c:pt>
                <c:pt idx="394" formatCode="0.0">
                  <c:v>4.6338155515370696</c:v>
                </c:pt>
                <c:pt idx="395" formatCode="0.0">
                  <c:v>4.4190777576853515</c:v>
                </c:pt>
                <c:pt idx="396" formatCode="0.0">
                  <c:v>4.5207956600361658</c:v>
                </c:pt>
                <c:pt idx="397" formatCode="0.0">
                  <c:v>5.2667269439421336</c:v>
                </c:pt>
                <c:pt idx="398" formatCode="0.0">
                  <c:v>5.8205244122965629</c:v>
                </c:pt>
                <c:pt idx="399" formatCode="0.0">
                  <c:v>6.0352622061482819</c:v>
                </c:pt>
                <c:pt idx="400" formatCode="0.0">
                  <c:v>7.5610307414104874</c:v>
                </c:pt>
                <c:pt idx="401" formatCode="0.0">
                  <c:v>8.3860759493670898</c:v>
                </c:pt>
                <c:pt idx="402" formatCode="0.0">
                  <c:v>8.8607594936708871</c:v>
                </c:pt>
                <c:pt idx="403" formatCode="0.0">
                  <c:v>9.1998191681735975</c:v>
                </c:pt>
                <c:pt idx="404" formatCode="0.0">
                  <c:v>10.01356238698011</c:v>
                </c:pt>
                <c:pt idx="405" formatCode="0.0">
                  <c:v>10.488245931283904</c:v>
                </c:pt>
                <c:pt idx="406" formatCode="0.0">
                  <c:v>11.392405063291141</c:v>
                </c:pt>
                <c:pt idx="407" formatCode="0.0">
                  <c:v>12.545207956600365</c:v>
                </c:pt>
                <c:pt idx="408" formatCode="0.0">
                  <c:v>12.62432188065099</c:v>
                </c:pt>
                <c:pt idx="409" formatCode="0.0">
                  <c:v>13.924050632911392</c:v>
                </c:pt>
                <c:pt idx="410" formatCode="0.0">
                  <c:v>14.726491862567812</c:v>
                </c:pt>
                <c:pt idx="411" formatCode="0.0">
                  <c:v>14.873417721518988</c:v>
                </c:pt>
                <c:pt idx="412" formatCode="0.0">
                  <c:v>15.088155515370703</c:v>
                </c:pt>
                <c:pt idx="413" formatCode="0.0">
                  <c:v>14.330922242314646</c:v>
                </c:pt>
                <c:pt idx="414" formatCode="0.0">
                  <c:v>13.166817359855335</c:v>
                </c:pt>
                <c:pt idx="415" formatCode="0.0">
                  <c:v>12.726039783001806</c:v>
                </c:pt>
                <c:pt idx="416" formatCode="0.0">
                  <c:v>11.889692585895117</c:v>
                </c:pt>
                <c:pt idx="417" formatCode="0.0">
                  <c:v>12.432188065099457</c:v>
                </c:pt>
                <c:pt idx="418" formatCode="0.0">
                  <c:v>12.319168173598552</c:v>
                </c:pt>
                <c:pt idx="419" formatCode="0.0">
                  <c:v>12.375678119349006</c:v>
                </c:pt>
                <c:pt idx="420" formatCode="0.0">
                  <c:v>12.918173598553343</c:v>
                </c:pt>
                <c:pt idx="421" formatCode="0.0">
                  <c:v>14.466546112115735</c:v>
                </c:pt>
                <c:pt idx="422" formatCode="0.0">
                  <c:v>16.071428571428569</c:v>
                </c:pt>
                <c:pt idx="423" formatCode="0.0">
                  <c:v>17.992766726943934</c:v>
                </c:pt>
                <c:pt idx="424" formatCode="0.0">
                  <c:v>18.625678119349004</c:v>
                </c:pt>
                <c:pt idx="425" formatCode="0.0">
                  <c:v>20.727848101265824</c:v>
                </c:pt>
                <c:pt idx="426" formatCode="0.0">
                  <c:v>20.784358047016276</c:v>
                </c:pt>
                <c:pt idx="427" formatCode="0.0">
                  <c:v>20.806962025316459</c:v>
                </c:pt>
                <c:pt idx="428" formatCode="0.0">
                  <c:v>20.863471971066904</c:v>
                </c:pt>
                <c:pt idx="429" formatCode="0.0">
                  <c:v>22.852622061482823</c:v>
                </c:pt>
                <c:pt idx="430" formatCode="0.0">
                  <c:v>23.327305605786623</c:v>
                </c:pt>
                <c:pt idx="431" formatCode="0.0">
                  <c:v>24.875678119349008</c:v>
                </c:pt>
                <c:pt idx="432" formatCode="0.0">
                  <c:v>27.938517179023506</c:v>
                </c:pt>
                <c:pt idx="433" formatCode="0.0">
                  <c:v>29.566003616636532</c:v>
                </c:pt>
                <c:pt idx="434" formatCode="0.0">
                  <c:v>30.877034358047016</c:v>
                </c:pt>
                <c:pt idx="435" formatCode="0.0">
                  <c:v>32.787070524412286</c:v>
                </c:pt>
                <c:pt idx="436" formatCode="0.0">
                  <c:v>32.561030741410491</c:v>
                </c:pt>
                <c:pt idx="437" formatCode="0.0">
                  <c:v>31.905515370705235</c:v>
                </c:pt>
                <c:pt idx="438" formatCode="0.0">
                  <c:v>33.89466546112115</c:v>
                </c:pt>
                <c:pt idx="439" formatCode="0.0">
                  <c:v>31.622965641952984</c:v>
                </c:pt>
                <c:pt idx="440" formatCode="0.0">
                  <c:v>33.781645569620238</c:v>
                </c:pt>
                <c:pt idx="441" formatCode="0.0">
                  <c:v>34.109403254972882</c:v>
                </c:pt>
                <c:pt idx="442" formatCode="0.0">
                  <c:v>33.691229656419523</c:v>
                </c:pt>
                <c:pt idx="443" formatCode="0.0">
                  <c:v>33.646021699819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A96-4795-8581-791AAA8989B0}"/>
            </c:ext>
          </c:extLst>
        </c:ser>
        <c:ser>
          <c:idx val="9"/>
          <c:order val="9"/>
          <c:tx>
            <c:v>National</c:v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dLbl>
              <c:idx val="264"/>
              <c:layout>
                <c:manualLayout>
                  <c:x val="0.2611737140641725"/>
                  <c:y val="3.159552047311538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A96-4795-8581-791AAA898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vincial COVID-19 data_18 May'!$A$5:$A$451</c:f>
              <c:numCache>
                <c:formatCode>d\-mmm</c:formatCode>
                <c:ptCount val="447"/>
                <c:pt idx="0">
                  <c:v>43895</c:v>
                </c:pt>
                <c:pt idx="1">
                  <c:v>43897</c:v>
                </c:pt>
                <c:pt idx="2">
                  <c:v>43898</c:v>
                </c:pt>
                <c:pt idx="3">
                  <c:v>43899</c:v>
                </c:pt>
                <c:pt idx="4">
                  <c:v>43901</c:v>
                </c:pt>
                <c:pt idx="5">
                  <c:v>43902</c:v>
                </c:pt>
                <c:pt idx="6">
                  <c:v>43903</c:v>
                </c:pt>
                <c:pt idx="7">
                  <c:v>43904</c:v>
                </c:pt>
                <c:pt idx="8">
                  <c:v>43905</c:v>
                </c:pt>
                <c:pt idx="9">
                  <c:v>43906</c:v>
                </c:pt>
                <c:pt idx="10">
                  <c:v>43907</c:v>
                </c:pt>
                <c:pt idx="11">
                  <c:v>43908</c:v>
                </c:pt>
                <c:pt idx="12">
                  <c:v>43909</c:v>
                </c:pt>
                <c:pt idx="13">
                  <c:v>43910</c:v>
                </c:pt>
                <c:pt idx="14">
                  <c:v>43911</c:v>
                </c:pt>
                <c:pt idx="15">
                  <c:v>43912</c:v>
                </c:pt>
                <c:pt idx="16">
                  <c:v>43913</c:v>
                </c:pt>
                <c:pt idx="17">
                  <c:v>43914</c:v>
                </c:pt>
                <c:pt idx="18">
                  <c:v>43915</c:v>
                </c:pt>
                <c:pt idx="19">
                  <c:v>43916</c:v>
                </c:pt>
                <c:pt idx="20">
                  <c:v>43917</c:v>
                </c:pt>
                <c:pt idx="21">
                  <c:v>43918</c:v>
                </c:pt>
                <c:pt idx="22">
                  <c:v>43919</c:v>
                </c:pt>
                <c:pt idx="23">
                  <c:v>43920</c:v>
                </c:pt>
                <c:pt idx="24">
                  <c:v>43921</c:v>
                </c:pt>
                <c:pt idx="25">
                  <c:v>43922</c:v>
                </c:pt>
                <c:pt idx="26">
                  <c:v>43923</c:v>
                </c:pt>
                <c:pt idx="27">
                  <c:v>43924</c:v>
                </c:pt>
                <c:pt idx="28">
                  <c:v>43925</c:v>
                </c:pt>
                <c:pt idx="29">
                  <c:v>43926</c:v>
                </c:pt>
                <c:pt idx="30">
                  <c:v>43927</c:v>
                </c:pt>
                <c:pt idx="31">
                  <c:v>43928</c:v>
                </c:pt>
                <c:pt idx="32">
                  <c:v>43929</c:v>
                </c:pt>
                <c:pt idx="33">
                  <c:v>43930</c:v>
                </c:pt>
                <c:pt idx="34">
                  <c:v>43931</c:v>
                </c:pt>
                <c:pt idx="35">
                  <c:v>43932</c:v>
                </c:pt>
                <c:pt idx="36">
                  <c:v>43933</c:v>
                </c:pt>
                <c:pt idx="37">
                  <c:v>43934</c:v>
                </c:pt>
                <c:pt idx="38">
                  <c:v>43935</c:v>
                </c:pt>
                <c:pt idx="39">
                  <c:v>43936</c:v>
                </c:pt>
                <c:pt idx="40">
                  <c:v>43937</c:v>
                </c:pt>
                <c:pt idx="41">
                  <c:v>43938</c:v>
                </c:pt>
                <c:pt idx="42">
                  <c:v>43939</c:v>
                </c:pt>
                <c:pt idx="43">
                  <c:v>43940</c:v>
                </c:pt>
                <c:pt idx="44">
                  <c:v>43941</c:v>
                </c:pt>
                <c:pt idx="45">
                  <c:v>43942</c:v>
                </c:pt>
                <c:pt idx="46">
                  <c:v>43943</c:v>
                </c:pt>
                <c:pt idx="47">
                  <c:v>43944</c:v>
                </c:pt>
                <c:pt idx="48">
                  <c:v>43945</c:v>
                </c:pt>
                <c:pt idx="49">
                  <c:v>43946</c:v>
                </c:pt>
                <c:pt idx="50">
                  <c:v>43947</c:v>
                </c:pt>
                <c:pt idx="51">
                  <c:v>43948</c:v>
                </c:pt>
                <c:pt idx="52">
                  <c:v>43949</c:v>
                </c:pt>
                <c:pt idx="53">
                  <c:v>43950</c:v>
                </c:pt>
                <c:pt idx="54">
                  <c:v>43951</c:v>
                </c:pt>
                <c:pt idx="55">
                  <c:v>43952</c:v>
                </c:pt>
                <c:pt idx="56">
                  <c:v>43953</c:v>
                </c:pt>
                <c:pt idx="57">
                  <c:v>43954</c:v>
                </c:pt>
                <c:pt idx="58">
                  <c:v>43955</c:v>
                </c:pt>
                <c:pt idx="59">
                  <c:v>43956</c:v>
                </c:pt>
                <c:pt idx="60">
                  <c:v>43957</c:v>
                </c:pt>
                <c:pt idx="61">
                  <c:v>43958</c:v>
                </c:pt>
                <c:pt idx="62">
                  <c:v>43959</c:v>
                </c:pt>
                <c:pt idx="63">
                  <c:v>43960</c:v>
                </c:pt>
                <c:pt idx="64">
                  <c:v>43961</c:v>
                </c:pt>
                <c:pt idx="65">
                  <c:v>43962</c:v>
                </c:pt>
                <c:pt idx="66">
                  <c:v>43963</c:v>
                </c:pt>
                <c:pt idx="67">
                  <c:v>43964</c:v>
                </c:pt>
                <c:pt idx="68">
                  <c:v>43965</c:v>
                </c:pt>
                <c:pt idx="69">
                  <c:v>43966</c:v>
                </c:pt>
                <c:pt idx="70">
                  <c:v>43967</c:v>
                </c:pt>
                <c:pt idx="71">
                  <c:v>43968</c:v>
                </c:pt>
                <c:pt idx="72">
                  <c:v>43969</c:v>
                </c:pt>
                <c:pt idx="73">
                  <c:v>43970</c:v>
                </c:pt>
                <c:pt idx="74">
                  <c:v>43971</c:v>
                </c:pt>
                <c:pt idx="75">
                  <c:v>43972</c:v>
                </c:pt>
                <c:pt idx="76">
                  <c:v>43973</c:v>
                </c:pt>
                <c:pt idx="77">
                  <c:v>43974</c:v>
                </c:pt>
                <c:pt idx="78">
                  <c:v>43975</c:v>
                </c:pt>
                <c:pt idx="79">
                  <c:v>43976</c:v>
                </c:pt>
                <c:pt idx="80">
                  <c:v>43977</c:v>
                </c:pt>
                <c:pt idx="81">
                  <c:v>43978</c:v>
                </c:pt>
                <c:pt idx="82">
                  <c:v>43979</c:v>
                </c:pt>
                <c:pt idx="83">
                  <c:v>43980</c:v>
                </c:pt>
                <c:pt idx="84">
                  <c:v>43981</c:v>
                </c:pt>
                <c:pt idx="85">
                  <c:v>43982</c:v>
                </c:pt>
                <c:pt idx="86">
                  <c:v>43983</c:v>
                </c:pt>
                <c:pt idx="87">
                  <c:v>43984</c:v>
                </c:pt>
                <c:pt idx="88">
                  <c:v>43985</c:v>
                </c:pt>
                <c:pt idx="89">
                  <c:v>43986</c:v>
                </c:pt>
                <c:pt idx="90">
                  <c:v>43987</c:v>
                </c:pt>
                <c:pt idx="91">
                  <c:v>43988</c:v>
                </c:pt>
                <c:pt idx="92">
                  <c:v>43989</c:v>
                </c:pt>
                <c:pt idx="93">
                  <c:v>43990</c:v>
                </c:pt>
                <c:pt idx="94">
                  <c:v>43991</c:v>
                </c:pt>
                <c:pt idx="95">
                  <c:v>43992</c:v>
                </c:pt>
                <c:pt idx="96">
                  <c:v>43993</c:v>
                </c:pt>
                <c:pt idx="97">
                  <c:v>43994</c:v>
                </c:pt>
                <c:pt idx="98">
                  <c:v>43995</c:v>
                </c:pt>
                <c:pt idx="99">
                  <c:v>43996</c:v>
                </c:pt>
                <c:pt idx="100">
                  <c:v>43997</c:v>
                </c:pt>
                <c:pt idx="101">
                  <c:v>43998</c:v>
                </c:pt>
                <c:pt idx="102">
                  <c:v>43999</c:v>
                </c:pt>
                <c:pt idx="103">
                  <c:v>44000</c:v>
                </c:pt>
                <c:pt idx="104">
                  <c:v>44001</c:v>
                </c:pt>
                <c:pt idx="105">
                  <c:v>44002</c:v>
                </c:pt>
                <c:pt idx="106">
                  <c:v>44003</c:v>
                </c:pt>
                <c:pt idx="107">
                  <c:v>44004</c:v>
                </c:pt>
                <c:pt idx="108">
                  <c:v>44005</c:v>
                </c:pt>
                <c:pt idx="109">
                  <c:v>44006</c:v>
                </c:pt>
                <c:pt idx="110">
                  <c:v>44007</c:v>
                </c:pt>
                <c:pt idx="111">
                  <c:v>44008</c:v>
                </c:pt>
                <c:pt idx="112">
                  <c:v>44009</c:v>
                </c:pt>
                <c:pt idx="113">
                  <c:v>44010</c:v>
                </c:pt>
                <c:pt idx="114">
                  <c:v>44011</c:v>
                </c:pt>
                <c:pt idx="115">
                  <c:v>44012</c:v>
                </c:pt>
                <c:pt idx="116">
                  <c:v>44013</c:v>
                </c:pt>
                <c:pt idx="117">
                  <c:v>44014</c:v>
                </c:pt>
                <c:pt idx="118">
                  <c:v>44015</c:v>
                </c:pt>
                <c:pt idx="119">
                  <c:v>44016</c:v>
                </c:pt>
                <c:pt idx="120">
                  <c:v>44017</c:v>
                </c:pt>
                <c:pt idx="121">
                  <c:v>44018</c:v>
                </c:pt>
                <c:pt idx="122">
                  <c:v>44019</c:v>
                </c:pt>
                <c:pt idx="123">
                  <c:v>44020</c:v>
                </c:pt>
                <c:pt idx="124">
                  <c:v>44021</c:v>
                </c:pt>
                <c:pt idx="125">
                  <c:v>44022</c:v>
                </c:pt>
                <c:pt idx="126">
                  <c:v>44023</c:v>
                </c:pt>
                <c:pt idx="127">
                  <c:v>44024</c:v>
                </c:pt>
                <c:pt idx="128">
                  <c:v>44025</c:v>
                </c:pt>
                <c:pt idx="129">
                  <c:v>44026</c:v>
                </c:pt>
                <c:pt idx="130">
                  <c:v>44027</c:v>
                </c:pt>
                <c:pt idx="131">
                  <c:v>44028</c:v>
                </c:pt>
                <c:pt idx="132">
                  <c:v>44029</c:v>
                </c:pt>
                <c:pt idx="133">
                  <c:v>44030</c:v>
                </c:pt>
                <c:pt idx="134">
                  <c:v>44031</c:v>
                </c:pt>
                <c:pt idx="135">
                  <c:v>44032</c:v>
                </c:pt>
                <c:pt idx="136">
                  <c:v>44033</c:v>
                </c:pt>
                <c:pt idx="137">
                  <c:v>44034</c:v>
                </c:pt>
                <c:pt idx="138">
                  <c:v>44035</c:v>
                </c:pt>
                <c:pt idx="139">
                  <c:v>44036</c:v>
                </c:pt>
                <c:pt idx="140">
                  <c:v>44037</c:v>
                </c:pt>
                <c:pt idx="141">
                  <c:v>44038</c:v>
                </c:pt>
                <c:pt idx="142">
                  <c:v>44039</c:v>
                </c:pt>
                <c:pt idx="143">
                  <c:v>44040</c:v>
                </c:pt>
                <c:pt idx="144">
                  <c:v>44041</c:v>
                </c:pt>
                <c:pt idx="145">
                  <c:v>44042</c:v>
                </c:pt>
                <c:pt idx="146">
                  <c:v>44043</c:v>
                </c:pt>
                <c:pt idx="147">
                  <c:v>44044</c:v>
                </c:pt>
                <c:pt idx="148">
                  <c:v>44045</c:v>
                </c:pt>
                <c:pt idx="149">
                  <c:v>44046</c:v>
                </c:pt>
                <c:pt idx="150">
                  <c:v>44047</c:v>
                </c:pt>
                <c:pt idx="151">
                  <c:v>44048</c:v>
                </c:pt>
                <c:pt idx="152">
                  <c:v>44049</c:v>
                </c:pt>
                <c:pt idx="153">
                  <c:v>44050</c:v>
                </c:pt>
                <c:pt idx="154">
                  <c:v>44051</c:v>
                </c:pt>
                <c:pt idx="155">
                  <c:v>44052</c:v>
                </c:pt>
                <c:pt idx="156">
                  <c:v>44053</c:v>
                </c:pt>
                <c:pt idx="157">
                  <c:v>44054</c:v>
                </c:pt>
                <c:pt idx="158">
                  <c:v>44055</c:v>
                </c:pt>
                <c:pt idx="159">
                  <c:v>44056</c:v>
                </c:pt>
                <c:pt idx="160">
                  <c:v>44057</c:v>
                </c:pt>
                <c:pt idx="161">
                  <c:v>44058</c:v>
                </c:pt>
                <c:pt idx="162">
                  <c:v>44059</c:v>
                </c:pt>
                <c:pt idx="163">
                  <c:v>44060</c:v>
                </c:pt>
                <c:pt idx="164">
                  <c:v>44061</c:v>
                </c:pt>
                <c:pt idx="165">
                  <c:v>44062</c:v>
                </c:pt>
                <c:pt idx="166">
                  <c:v>44063</c:v>
                </c:pt>
                <c:pt idx="167">
                  <c:v>44064</c:v>
                </c:pt>
                <c:pt idx="168">
                  <c:v>44065</c:v>
                </c:pt>
                <c:pt idx="169">
                  <c:v>44066</c:v>
                </c:pt>
                <c:pt idx="170">
                  <c:v>44067</c:v>
                </c:pt>
                <c:pt idx="171">
                  <c:v>44068</c:v>
                </c:pt>
                <c:pt idx="172">
                  <c:v>44069</c:v>
                </c:pt>
                <c:pt idx="173">
                  <c:v>44070</c:v>
                </c:pt>
                <c:pt idx="174">
                  <c:v>44071</c:v>
                </c:pt>
                <c:pt idx="175">
                  <c:v>44072</c:v>
                </c:pt>
                <c:pt idx="176">
                  <c:v>44073</c:v>
                </c:pt>
                <c:pt idx="177">
                  <c:v>44074</c:v>
                </c:pt>
                <c:pt idx="178">
                  <c:v>44075</c:v>
                </c:pt>
                <c:pt idx="179">
                  <c:v>44076</c:v>
                </c:pt>
                <c:pt idx="180">
                  <c:v>44077</c:v>
                </c:pt>
                <c:pt idx="181">
                  <c:v>44078</c:v>
                </c:pt>
                <c:pt idx="182">
                  <c:v>44079</c:v>
                </c:pt>
                <c:pt idx="183">
                  <c:v>44080</c:v>
                </c:pt>
                <c:pt idx="184">
                  <c:v>44081</c:v>
                </c:pt>
                <c:pt idx="185">
                  <c:v>44082</c:v>
                </c:pt>
                <c:pt idx="186">
                  <c:v>44083</c:v>
                </c:pt>
                <c:pt idx="187">
                  <c:v>44084</c:v>
                </c:pt>
                <c:pt idx="188">
                  <c:v>44085</c:v>
                </c:pt>
                <c:pt idx="189">
                  <c:v>44086</c:v>
                </c:pt>
                <c:pt idx="190">
                  <c:v>44087</c:v>
                </c:pt>
                <c:pt idx="191">
                  <c:v>44088</c:v>
                </c:pt>
                <c:pt idx="192">
                  <c:v>44089</c:v>
                </c:pt>
                <c:pt idx="193">
                  <c:v>44090</c:v>
                </c:pt>
                <c:pt idx="194">
                  <c:v>44091</c:v>
                </c:pt>
                <c:pt idx="195">
                  <c:v>44092</c:v>
                </c:pt>
                <c:pt idx="196">
                  <c:v>44093</c:v>
                </c:pt>
                <c:pt idx="197">
                  <c:v>44094</c:v>
                </c:pt>
                <c:pt idx="198">
                  <c:v>44095</c:v>
                </c:pt>
                <c:pt idx="199">
                  <c:v>44096</c:v>
                </c:pt>
                <c:pt idx="200">
                  <c:v>44097</c:v>
                </c:pt>
                <c:pt idx="201">
                  <c:v>44098</c:v>
                </c:pt>
                <c:pt idx="202">
                  <c:v>44099</c:v>
                </c:pt>
                <c:pt idx="203">
                  <c:v>44100</c:v>
                </c:pt>
                <c:pt idx="204">
                  <c:v>44101</c:v>
                </c:pt>
                <c:pt idx="205">
                  <c:v>44102</c:v>
                </c:pt>
                <c:pt idx="206">
                  <c:v>44103</c:v>
                </c:pt>
                <c:pt idx="207">
                  <c:v>44104</c:v>
                </c:pt>
                <c:pt idx="208">
                  <c:v>44105</c:v>
                </c:pt>
                <c:pt idx="209">
                  <c:v>44106</c:v>
                </c:pt>
                <c:pt idx="210">
                  <c:v>44107</c:v>
                </c:pt>
                <c:pt idx="211">
                  <c:v>44108</c:v>
                </c:pt>
                <c:pt idx="212">
                  <c:v>44109</c:v>
                </c:pt>
                <c:pt idx="213">
                  <c:v>44110</c:v>
                </c:pt>
                <c:pt idx="214">
                  <c:v>44111</c:v>
                </c:pt>
                <c:pt idx="215">
                  <c:v>44112</c:v>
                </c:pt>
                <c:pt idx="216">
                  <c:v>44113</c:v>
                </c:pt>
                <c:pt idx="217">
                  <c:v>44114</c:v>
                </c:pt>
                <c:pt idx="218">
                  <c:v>44115</c:v>
                </c:pt>
                <c:pt idx="219">
                  <c:v>44116</c:v>
                </c:pt>
                <c:pt idx="220">
                  <c:v>44117</c:v>
                </c:pt>
                <c:pt idx="221">
                  <c:v>44118</c:v>
                </c:pt>
                <c:pt idx="222">
                  <c:v>44119</c:v>
                </c:pt>
                <c:pt idx="223">
                  <c:v>44120</c:v>
                </c:pt>
                <c:pt idx="224">
                  <c:v>44121</c:v>
                </c:pt>
                <c:pt idx="225">
                  <c:v>44122</c:v>
                </c:pt>
                <c:pt idx="226">
                  <c:v>44123</c:v>
                </c:pt>
                <c:pt idx="227">
                  <c:v>44124</c:v>
                </c:pt>
                <c:pt idx="228">
                  <c:v>44125</c:v>
                </c:pt>
                <c:pt idx="229">
                  <c:v>44126</c:v>
                </c:pt>
                <c:pt idx="230">
                  <c:v>44127</c:v>
                </c:pt>
                <c:pt idx="231">
                  <c:v>44128</c:v>
                </c:pt>
                <c:pt idx="232">
                  <c:v>44129</c:v>
                </c:pt>
                <c:pt idx="233">
                  <c:v>44130</c:v>
                </c:pt>
                <c:pt idx="234">
                  <c:v>44131</c:v>
                </c:pt>
                <c:pt idx="235">
                  <c:v>44132</c:v>
                </c:pt>
                <c:pt idx="236">
                  <c:v>44133</c:v>
                </c:pt>
                <c:pt idx="237">
                  <c:v>44134</c:v>
                </c:pt>
                <c:pt idx="238">
                  <c:v>44135</c:v>
                </c:pt>
                <c:pt idx="239">
                  <c:v>44136</c:v>
                </c:pt>
                <c:pt idx="240">
                  <c:v>44137</c:v>
                </c:pt>
                <c:pt idx="241">
                  <c:v>44138</c:v>
                </c:pt>
                <c:pt idx="242">
                  <c:v>44139</c:v>
                </c:pt>
                <c:pt idx="243">
                  <c:v>44140</c:v>
                </c:pt>
                <c:pt idx="244">
                  <c:v>44141</c:v>
                </c:pt>
                <c:pt idx="245">
                  <c:v>44142</c:v>
                </c:pt>
                <c:pt idx="246">
                  <c:v>44143</c:v>
                </c:pt>
                <c:pt idx="247">
                  <c:v>44144</c:v>
                </c:pt>
                <c:pt idx="248">
                  <c:v>44145</c:v>
                </c:pt>
                <c:pt idx="249">
                  <c:v>44146</c:v>
                </c:pt>
                <c:pt idx="250">
                  <c:v>44147</c:v>
                </c:pt>
                <c:pt idx="251">
                  <c:v>44148</c:v>
                </c:pt>
                <c:pt idx="252">
                  <c:v>44149</c:v>
                </c:pt>
                <c:pt idx="253">
                  <c:v>44150</c:v>
                </c:pt>
                <c:pt idx="254">
                  <c:v>44151</c:v>
                </c:pt>
                <c:pt idx="255">
                  <c:v>44152</c:v>
                </c:pt>
                <c:pt idx="256">
                  <c:v>44153</c:v>
                </c:pt>
                <c:pt idx="257">
                  <c:v>44154</c:v>
                </c:pt>
                <c:pt idx="258">
                  <c:v>44155</c:v>
                </c:pt>
                <c:pt idx="259">
                  <c:v>44156</c:v>
                </c:pt>
                <c:pt idx="260">
                  <c:v>44157</c:v>
                </c:pt>
                <c:pt idx="261">
                  <c:v>44158</c:v>
                </c:pt>
                <c:pt idx="262">
                  <c:v>44159</c:v>
                </c:pt>
                <c:pt idx="263">
                  <c:v>44160</c:v>
                </c:pt>
                <c:pt idx="264">
                  <c:v>44161</c:v>
                </c:pt>
                <c:pt idx="265">
                  <c:v>44162</c:v>
                </c:pt>
                <c:pt idx="266">
                  <c:v>44163</c:v>
                </c:pt>
                <c:pt idx="267">
                  <c:v>44164</c:v>
                </c:pt>
                <c:pt idx="268">
                  <c:v>44165</c:v>
                </c:pt>
                <c:pt idx="269">
                  <c:v>44166</c:v>
                </c:pt>
                <c:pt idx="270">
                  <c:v>44167</c:v>
                </c:pt>
                <c:pt idx="271">
                  <c:v>44168</c:v>
                </c:pt>
                <c:pt idx="272">
                  <c:v>44169</c:v>
                </c:pt>
                <c:pt idx="273">
                  <c:v>44170</c:v>
                </c:pt>
                <c:pt idx="274">
                  <c:v>44171</c:v>
                </c:pt>
                <c:pt idx="275">
                  <c:v>44172</c:v>
                </c:pt>
                <c:pt idx="276">
                  <c:v>44173</c:v>
                </c:pt>
                <c:pt idx="277">
                  <c:v>44174</c:v>
                </c:pt>
                <c:pt idx="278">
                  <c:v>44175</c:v>
                </c:pt>
                <c:pt idx="279">
                  <c:v>44176</c:v>
                </c:pt>
                <c:pt idx="280">
                  <c:v>44177</c:v>
                </c:pt>
                <c:pt idx="281">
                  <c:v>44178</c:v>
                </c:pt>
                <c:pt idx="282">
                  <c:v>44179</c:v>
                </c:pt>
                <c:pt idx="283">
                  <c:v>44180</c:v>
                </c:pt>
                <c:pt idx="284">
                  <c:v>44181</c:v>
                </c:pt>
                <c:pt idx="285">
                  <c:v>44182</c:v>
                </c:pt>
                <c:pt idx="286">
                  <c:v>44183</c:v>
                </c:pt>
                <c:pt idx="287">
                  <c:v>44184</c:v>
                </c:pt>
                <c:pt idx="288">
                  <c:v>44185</c:v>
                </c:pt>
                <c:pt idx="289">
                  <c:v>44186</c:v>
                </c:pt>
                <c:pt idx="290">
                  <c:v>44187</c:v>
                </c:pt>
                <c:pt idx="291">
                  <c:v>44188</c:v>
                </c:pt>
                <c:pt idx="292">
                  <c:v>44189</c:v>
                </c:pt>
                <c:pt idx="293">
                  <c:v>44190</c:v>
                </c:pt>
                <c:pt idx="294">
                  <c:v>44191</c:v>
                </c:pt>
                <c:pt idx="295">
                  <c:v>44192</c:v>
                </c:pt>
                <c:pt idx="296">
                  <c:v>44193</c:v>
                </c:pt>
                <c:pt idx="297">
                  <c:v>44194</c:v>
                </c:pt>
                <c:pt idx="298">
                  <c:v>44195</c:v>
                </c:pt>
                <c:pt idx="299">
                  <c:v>44196</c:v>
                </c:pt>
                <c:pt idx="300">
                  <c:v>44197</c:v>
                </c:pt>
                <c:pt idx="301">
                  <c:v>44198</c:v>
                </c:pt>
                <c:pt idx="302">
                  <c:v>44199</c:v>
                </c:pt>
                <c:pt idx="303">
                  <c:v>44200</c:v>
                </c:pt>
                <c:pt idx="304">
                  <c:v>44201</c:v>
                </c:pt>
                <c:pt idx="305">
                  <c:v>44202</c:v>
                </c:pt>
                <c:pt idx="306">
                  <c:v>44203</c:v>
                </c:pt>
                <c:pt idx="307">
                  <c:v>44204</c:v>
                </c:pt>
                <c:pt idx="308">
                  <c:v>44205</c:v>
                </c:pt>
                <c:pt idx="309">
                  <c:v>44206</c:v>
                </c:pt>
                <c:pt idx="310">
                  <c:v>44207</c:v>
                </c:pt>
                <c:pt idx="311">
                  <c:v>44208</c:v>
                </c:pt>
                <c:pt idx="312">
                  <c:v>44209</c:v>
                </c:pt>
                <c:pt idx="313">
                  <c:v>44210</c:v>
                </c:pt>
                <c:pt idx="314">
                  <c:v>44211</c:v>
                </c:pt>
                <c:pt idx="315">
                  <c:v>44212</c:v>
                </c:pt>
                <c:pt idx="316">
                  <c:v>44213</c:v>
                </c:pt>
                <c:pt idx="317">
                  <c:v>44214</c:v>
                </c:pt>
                <c:pt idx="318">
                  <c:v>44215</c:v>
                </c:pt>
                <c:pt idx="319">
                  <c:v>44216</c:v>
                </c:pt>
                <c:pt idx="320">
                  <c:v>44217</c:v>
                </c:pt>
                <c:pt idx="321">
                  <c:v>44218</c:v>
                </c:pt>
                <c:pt idx="322">
                  <c:v>44219</c:v>
                </c:pt>
                <c:pt idx="323">
                  <c:v>44220</c:v>
                </c:pt>
                <c:pt idx="324">
                  <c:v>44221</c:v>
                </c:pt>
                <c:pt idx="325">
                  <c:v>44222</c:v>
                </c:pt>
                <c:pt idx="326">
                  <c:v>44223</c:v>
                </c:pt>
                <c:pt idx="327">
                  <c:v>44224</c:v>
                </c:pt>
                <c:pt idx="328">
                  <c:v>44225</c:v>
                </c:pt>
                <c:pt idx="329">
                  <c:v>44226</c:v>
                </c:pt>
                <c:pt idx="330">
                  <c:v>44227</c:v>
                </c:pt>
                <c:pt idx="331">
                  <c:v>44228</c:v>
                </c:pt>
                <c:pt idx="332">
                  <c:v>44229</c:v>
                </c:pt>
                <c:pt idx="333">
                  <c:v>44230</c:v>
                </c:pt>
                <c:pt idx="334">
                  <c:v>44231</c:v>
                </c:pt>
                <c:pt idx="335">
                  <c:v>44232</c:v>
                </c:pt>
                <c:pt idx="336">
                  <c:v>44233</c:v>
                </c:pt>
                <c:pt idx="337">
                  <c:v>44234</c:v>
                </c:pt>
                <c:pt idx="338">
                  <c:v>44235</c:v>
                </c:pt>
                <c:pt idx="339">
                  <c:v>44236</c:v>
                </c:pt>
                <c:pt idx="340">
                  <c:v>44237</c:v>
                </c:pt>
                <c:pt idx="341">
                  <c:v>44238</c:v>
                </c:pt>
                <c:pt idx="342">
                  <c:v>44239</c:v>
                </c:pt>
                <c:pt idx="343">
                  <c:v>44240</c:v>
                </c:pt>
                <c:pt idx="344">
                  <c:v>44241</c:v>
                </c:pt>
                <c:pt idx="345">
                  <c:v>44242</c:v>
                </c:pt>
                <c:pt idx="346">
                  <c:v>44243</c:v>
                </c:pt>
                <c:pt idx="347">
                  <c:v>44244</c:v>
                </c:pt>
                <c:pt idx="348">
                  <c:v>44245</c:v>
                </c:pt>
                <c:pt idx="349">
                  <c:v>44246</c:v>
                </c:pt>
                <c:pt idx="350">
                  <c:v>44247</c:v>
                </c:pt>
                <c:pt idx="351">
                  <c:v>44248</c:v>
                </c:pt>
                <c:pt idx="352">
                  <c:v>44249</c:v>
                </c:pt>
                <c:pt idx="353">
                  <c:v>44250</c:v>
                </c:pt>
                <c:pt idx="354">
                  <c:v>44251</c:v>
                </c:pt>
                <c:pt idx="355">
                  <c:v>44252</c:v>
                </c:pt>
                <c:pt idx="356">
                  <c:v>44253</c:v>
                </c:pt>
                <c:pt idx="357">
                  <c:v>44254</c:v>
                </c:pt>
                <c:pt idx="358">
                  <c:v>44255</c:v>
                </c:pt>
                <c:pt idx="359">
                  <c:v>44256</c:v>
                </c:pt>
                <c:pt idx="360">
                  <c:v>44257</c:v>
                </c:pt>
                <c:pt idx="361">
                  <c:v>44258</c:v>
                </c:pt>
                <c:pt idx="362">
                  <c:v>44259</c:v>
                </c:pt>
                <c:pt idx="363">
                  <c:v>44260</c:v>
                </c:pt>
                <c:pt idx="364">
                  <c:v>44261</c:v>
                </c:pt>
                <c:pt idx="365">
                  <c:v>44262</c:v>
                </c:pt>
                <c:pt idx="366">
                  <c:v>44263</c:v>
                </c:pt>
                <c:pt idx="367">
                  <c:v>44264</c:v>
                </c:pt>
                <c:pt idx="368">
                  <c:v>44265</c:v>
                </c:pt>
                <c:pt idx="369">
                  <c:v>44266</c:v>
                </c:pt>
                <c:pt idx="370">
                  <c:v>44267</c:v>
                </c:pt>
                <c:pt idx="371">
                  <c:v>44268</c:v>
                </c:pt>
                <c:pt idx="372">
                  <c:v>44269</c:v>
                </c:pt>
                <c:pt idx="373">
                  <c:v>44270</c:v>
                </c:pt>
                <c:pt idx="374">
                  <c:v>44271</c:v>
                </c:pt>
                <c:pt idx="375">
                  <c:v>44272</c:v>
                </c:pt>
                <c:pt idx="376">
                  <c:v>44273</c:v>
                </c:pt>
                <c:pt idx="377">
                  <c:v>44274</c:v>
                </c:pt>
                <c:pt idx="378">
                  <c:v>44275</c:v>
                </c:pt>
                <c:pt idx="379">
                  <c:v>44276</c:v>
                </c:pt>
                <c:pt idx="380">
                  <c:v>44277</c:v>
                </c:pt>
                <c:pt idx="381">
                  <c:v>44278</c:v>
                </c:pt>
                <c:pt idx="382">
                  <c:v>44279</c:v>
                </c:pt>
                <c:pt idx="383">
                  <c:v>44280</c:v>
                </c:pt>
                <c:pt idx="384">
                  <c:v>44281</c:v>
                </c:pt>
                <c:pt idx="385">
                  <c:v>44282</c:v>
                </c:pt>
                <c:pt idx="386">
                  <c:v>44283</c:v>
                </c:pt>
                <c:pt idx="387">
                  <c:v>44284</c:v>
                </c:pt>
                <c:pt idx="388">
                  <c:v>44285</c:v>
                </c:pt>
                <c:pt idx="389">
                  <c:v>44286</c:v>
                </c:pt>
                <c:pt idx="390">
                  <c:v>44287</c:v>
                </c:pt>
                <c:pt idx="391">
                  <c:v>44288</c:v>
                </c:pt>
                <c:pt idx="392">
                  <c:v>44289</c:v>
                </c:pt>
                <c:pt idx="393">
                  <c:v>44290</c:v>
                </c:pt>
                <c:pt idx="394">
                  <c:v>44291</c:v>
                </c:pt>
                <c:pt idx="395">
                  <c:v>44292</c:v>
                </c:pt>
                <c:pt idx="396">
                  <c:v>44293</c:v>
                </c:pt>
                <c:pt idx="397">
                  <c:v>44294</c:v>
                </c:pt>
                <c:pt idx="398">
                  <c:v>44295</c:v>
                </c:pt>
                <c:pt idx="399">
                  <c:v>44296</c:v>
                </c:pt>
                <c:pt idx="400">
                  <c:v>44297</c:v>
                </c:pt>
                <c:pt idx="401">
                  <c:v>44298</c:v>
                </c:pt>
                <c:pt idx="402">
                  <c:v>44299</c:v>
                </c:pt>
                <c:pt idx="403">
                  <c:v>44300</c:v>
                </c:pt>
                <c:pt idx="404">
                  <c:v>44301</c:v>
                </c:pt>
                <c:pt idx="405">
                  <c:v>44302</c:v>
                </c:pt>
                <c:pt idx="406">
                  <c:v>44303</c:v>
                </c:pt>
                <c:pt idx="407">
                  <c:v>44304</c:v>
                </c:pt>
                <c:pt idx="408">
                  <c:v>44305</c:v>
                </c:pt>
                <c:pt idx="409">
                  <c:v>44306</c:v>
                </c:pt>
                <c:pt idx="410">
                  <c:v>44307</c:v>
                </c:pt>
                <c:pt idx="411">
                  <c:v>44308</c:v>
                </c:pt>
                <c:pt idx="412">
                  <c:v>44309</c:v>
                </c:pt>
                <c:pt idx="413">
                  <c:v>44310</c:v>
                </c:pt>
                <c:pt idx="414">
                  <c:v>44311</c:v>
                </c:pt>
                <c:pt idx="415">
                  <c:v>44312</c:v>
                </c:pt>
                <c:pt idx="416">
                  <c:v>44313</c:v>
                </c:pt>
                <c:pt idx="417">
                  <c:v>44314</c:v>
                </c:pt>
                <c:pt idx="418">
                  <c:v>44315</c:v>
                </c:pt>
                <c:pt idx="419">
                  <c:v>44316</c:v>
                </c:pt>
                <c:pt idx="420">
                  <c:v>44317</c:v>
                </c:pt>
                <c:pt idx="421">
                  <c:v>44318</c:v>
                </c:pt>
                <c:pt idx="422">
                  <c:v>44319</c:v>
                </c:pt>
                <c:pt idx="423">
                  <c:v>44320</c:v>
                </c:pt>
                <c:pt idx="424">
                  <c:v>44321</c:v>
                </c:pt>
                <c:pt idx="425">
                  <c:v>44322</c:v>
                </c:pt>
                <c:pt idx="426">
                  <c:v>44323</c:v>
                </c:pt>
                <c:pt idx="427">
                  <c:v>44324</c:v>
                </c:pt>
                <c:pt idx="428">
                  <c:v>44325</c:v>
                </c:pt>
                <c:pt idx="429">
                  <c:v>44326</c:v>
                </c:pt>
                <c:pt idx="430">
                  <c:v>44327</c:v>
                </c:pt>
                <c:pt idx="431">
                  <c:v>44328</c:v>
                </c:pt>
                <c:pt idx="432">
                  <c:v>44329</c:v>
                </c:pt>
                <c:pt idx="433">
                  <c:v>44330</c:v>
                </c:pt>
                <c:pt idx="434">
                  <c:v>44331</c:v>
                </c:pt>
                <c:pt idx="435">
                  <c:v>44332</c:v>
                </c:pt>
                <c:pt idx="436">
                  <c:v>44333</c:v>
                </c:pt>
                <c:pt idx="437">
                  <c:v>44334</c:v>
                </c:pt>
                <c:pt idx="438">
                  <c:v>44335</c:v>
                </c:pt>
                <c:pt idx="439">
                  <c:v>44336</c:v>
                </c:pt>
                <c:pt idx="440">
                  <c:v>44337</c:v>
                </c:pt>
                <c:pt idx="441">
                  <c:v>44338</c:v>
                </c:pt>
                <c:pt idx="442">
                  <c:v>44339</c:v>
                </c:pt>
                <c:pt idx="443">
                  <c:v>44340</c:v>
                </c:pt>
                <c:pt idx="444">
                  <c:v>44341</c:v>
                </c:pt>
                <c:pt idx="445">
                  <c:v>44342</c:v>
                </c:pt>
                <c:pt idx="446">
                  <c:v>44343</c:v>
                </c:pt>
              </c:numCache>
            </c:numRef>
          </c:cat>
          <c:val>
            <c:numRef>
              <c:f>'Provincial COVID-19 data_18 May'!$DA$5:$DA$451</c:f>
              <c:numCache>
                <c:formatCode>General</c:formatCode>
                <c:ptCount val="447"/>
                <c:pt idx="3" formatCode="0.0">
                  <c:v>5.781739339918093E-3</c:v>
                </c:pt>
                <c:pt idx="4" formatCode="0.0">
                  <c:v>8.9135148157070635E-3</c:v>
                </c:pt>
                <c:pt idx="5" formatCode="0.0">
                  <c:v>1.1804384485666109E-2</c:v>
                </c:pt>
                <c:pt idx="6" formatCode="0.0">
                  <c:v>1.421344254396531E-2</c:v>
                </c:pt>
                <c:pt idx="7" formatCode="0.0">
                  <c:v>1.8790652854733803E-2</c:v>
                </c:pt>
                <c:pt idx="8" formatCode="0.0">
                  <c:v>2.4813298000481813E-2</c:v>
                </c:pt>
                <c:pt idx="9" formatCode="0.0">
                  <c:v>3.2281377981209364E-2</c:v>
                </c:pt>
                <c:pt idx="10" formatCode="0.0">
                  <c:v>4.2881233437725867E-2</c:v>
                </c:pt>
                <c:pt idx="11" formatCode="0.0">
                  <c:v>4.8662972777643927E-2</c:v>
                </c:pt>
                <c:pt idx="12" formatCode="0.0">
                  <c:v>5.372199470007228E-2</c:v>
                </c:pt>
                <c:pt idx="13" formatCode="0.0">
                  <c:v>8.1907973982172977E-2</c:v>
                </c:pt>
                <c:pt idx="14" formatCode="0.0">
                  <c:v>0.1129848229342327</c:v>
                </c:pt>
                <c:pt idx="15" formatCode="0.0">
                  <c:v>0.1428571428571429</c:v>
                </c:pt>
                <c:pt idx="16" formatCode="0.0">
                  <c:v>0.18718381112984825</c:v>
                </c:pt>
                <c:pt idx="17" formatCode="0.0">
                  <c:v>0.23319682004336303</c:v>
                </c:pt>
                <c:pt idx="18" formatCode="0.0">
                  <c:v>0.22813779812093471</c:v>
                </c:pt>
                <c:pt idx="19" formatCode="0.0">
                  <c:v>0.24235124066489999</c:v>
                </c:pt>
                <c:pt idx="20" formatCode="0.0">
                  <c:v>0.22259696458684652</c:v>
                </c:pt>
                <c:pt idx="21" formatCode="0.0">
                  <c:v>0.19248373885810646</c:v>
                </c:pt>
                <c:pt idx="22" formatCode="0.0">
                  <c:v>0.16164779571187671</c:v>
                </c:pt>
                <c:pt idx="23" formatCode="0.0">
                  <c:v>0.12888460611900743</c:v>
                </c:pt>
                <c:pt idx="24" formatCode="0.0">
                  <c:v>8.0703444953023368E-2</c:v>
                </c:pt>
                <c:pt idx="25" formatCode="0.0">
                  <c:v>9.5880510720308329E-2</c:v>
                </c:pt>
                <c:pt idx="26" formatCode="0.0">
                  <c:v>9.0339677186220199E-2</c:v>
                </c:pt>
                <c:pt idx="27" formatCode="0.0">
                  <c:v>8.6726090098771413E-2</c:v>
                </c:pt>
                <c:pt idx="28" formatCode="0.0">
                  <c:v>9.5398699108648524E-2</c:v>
                </c:pt>
                <c:pt idx="29" formatCode="0.0">
                  <c:v>0.11202119971091305</c:v>
                </c:pt>
                <c:pt idx="30" formatCode="0.0">
                  <c:v>0.11370754035172249</c:v>
                </c:pt>
                <c:pt idx="31" formatCode="0.0">
                  <c:v>0.1199710913033004</c:v>
                </c:pt>
                <c:pt idx="32" formatCode="0.0">
                  <c:v>0.10672127198265483</c:v>
                </c:pt>
                <c:pt idx="33" formatCode="0.0">
                  <c:v>0.12478920741989882</c:v>
                </c:pt>
                <c:pt idx="34" formatCode="0.0">
                  <c:v>0.14117080221633338</c:v>
                </c:pt>
                <c:pt idx="35" formatCode="0.0">
                  <c:v>0.16044326668272713</c:v>
                </c:pt>
                <c:pt idx="36" formatCode="0.0">
                  <c:v>0.15923873765357746</c:v>
                </c:pt>
                <c:pt idx="37" formatCode="0.0">
                  <c:v>0.16164779571187668</c:v>
                </c:pt>
                <c:pt idx="38" formatCode="0.0">
                  <c:v>0.18790652854733805</c:v>
                </c:pt>
                <c:pt idx="39" formatCode="0.0">
                  <c:v>0.24235124066490005</c:v>
                </c:pt>
                <c:pt idx="40" formatCode="0.0">
                  <c:v>0.23729221874247175</c:v>
                </c:pt>
                <c:pt idx="41" formatCode="0.0">
                  <c:v>0.24765116839315826</c:v>
                </c:pt>
                <c:pt idx="42" formatCode="0.0">
                  <c:v>0.25295109612141653</c:v>
                </c:pt>
                <c:pt idx="43" formatCode="0.0">
                  <c:v>0.2719826547819803</c:v>
                </c:pt>
                <c:pt idx="44" formatCode="0.0">
                  <c:v>0.3247410262587328</c:v>
                </c:pt>
                <c:pt idx="45" formatCode="0.0">
                  <c:v>0.34618164297759579</c:v>
                </c:pt>
                <c:pt idx="46" formatCode="0.0">
                  <c:v>0.31968200433630456</c:v>
                </c:pt>
                <c:pt idx="47" formatCode="0.0">
                  <c:v>0.33437725849192967</c:v>
                </c:pt>
                <c:pt idx="48" formatCode="0.0">
                  <c:v>0.35967236810407144</c:v>
                </c:pt>
                <c:pt idx="49" formatCode="0.0">
                  <c:v>0.36882678872560842</c:v>
                </c:pt>
                <c:pt idx="50" formatCode="0.0">
                  <c:v>0.41315345699831363</c:v>
                </c:pt>
                <c:pt idx="51" formatCode="0.0">
                  <c:v>0.40809443507588539</c:v>
                </c:pt>
                <c:pt idx="52" formatCode="0.0">
                  <c:v>0.4170079498915924</c:v>
                </c:pt>
                <c:pt idx="53" formatCode="0.0">
                  <c:v>0.47578896651409303</c:v>
                </c:pt>
                <c:pt idx="54" formatCode="0.0">
                  <c:v>0.53890628764153214</c:v>
                </c:pt>
                <c:pt idx="55" formatCode="0.0">
                  <c:v>0.5846783907492169</c:v>
                </c:pt>
                <c:pt idx="56" formatCode="0.0">
                  <c:v>0.62057335581787521</c:v>
                </c:pt>
                <c:pt idx="57" formatCode="0.0">
                  <c:v>0.59214647072994442</c:v>
                </c:pt>
                <c:pt idx="58" formatCode="0.0">
                  <c:v>0.62274150807034478</c:v>
                </c:pt>
                <c:pt idx="59" formatCode="0.0">
                  <c:v>0.70922669236328606</c:v>
                </c:pt>
                <c:pt idx="60" formatCode="0.0">
                  <c:v>0.742953505179475</c:v>
                </c:pt>
                <c:pt idx="61" formatCode="0.0">
                  <c:v>0.77860756444230317</c:v>
                </c:pt>
                <c:pt idx="62" formatCode="0.0">
                  <c:v>0.8267887256082872</c:v>
                </c:pt>
                <c:pt idx="63" formatCode="0.0">
                  <c:v>0.91014213442543968</c:v>
                </c:pt>
                <c:pt idx="64" formatCode="0.0">
                  <c:v>1.0277041676704406</c:v>
                </c:pt>
                <c:pt idx="65" formatCode="0.0">
                  <c:v>1.0857624668754517</c:v>
                </c:pt>
                <c:pt idx="66" formatCode="0.0">
                  <c:v>1.1151529751867024</c:v>
                </c:pt>
                <c:pt idx="67" formatCode="0.0">
                  <c:v>1.1888701517706579</c:v>
                </c:pt>
                <c:pt idx="68" formatCode="0.0">
                  <c:v>1.3249819320645628</c:v>
                </c:pt>
                <c:pt idx="69" formatCode="0.0">
                  <c:v>1.3926764635027706</c:v>
                </c:pt>
                <c:pt idx="70" formatCode="0.0">
                  <c:v>1.4092989641050351</c:v>
                </c:pt>
                <c:pt idx="71" formatCode="0.0">
                  <c:v>1.4283305227655987</c:v>
                </c:pt>
                <c:pt idx="72" formatCode="0.0">
                  <c:v>1.5413153456998316</c:v>
                </c:pt>
                <c:pt idx="73" formatCode="0.0">
                  <c:v>1.5902192242833055</c:v>
                </c:pt>
                <c:pt idx="74" formatCode="0.0">
                  <c:v>1.6834497711394842</c:v>
                </c:pt>
                <c:pt idx="75" formatCode="0.0">
                  <c:v>1.7027222356058778</c:v>
                </c:pt>
                <c:pt idx="76" formatCode="0.0">
                  <c:v>1.7301854974704889</c:v>
                </c:pt>
                <c:pt idx="77" formatCode="0.0">
                  <c:v>1.7017586123825581</c:v>
                </c:pt>
                <c:pt idx="78" formatCode="0.0">
                  <c:v>1.9113466634545893</c:v>
                </c:pt>
                <c:pt idx="79" formatCode="0.0">
                  <c:v>1.9913273909901228</c:v>
                </c:pt>
                <c:pt idx="80" formatCode="0.0">
                  <c:v>2.1958564201397244</c:v>
                </c:pt>
                <c:pt idx="81" formatCode="0.0">
                  <c:v>2.3184774753071546</c:v>
                </c:pt>
                <c:pt idx="82" formatCode="0.0">
                  <c:v>2.4331486388821975</c:v>
                </c:pt>
                <c:pt idx="83" formatCode="0.0">
                  <c:v>2.5878101662250059</c:v>
                </c:pt>
                <c:pt idx="84" formatCode="0.0">
                  <c:v>2.7819802457239229</c:v>
                </c:pt>
                <c:pt idx="85" formatCode="0.0">
                  <c:v>2.7916164779571191</c:v>
                </c:pt>
                <c:pt idx="86" formatCode="0.0">
                  <c:v>3.2254878342568052</c:v>
                </c:pt>
                <c:pt idx="87" formatCode="0.0">
                  <c:v>3.4194170079498911</c:v>
                </c:pt>
                <c:pt idx="88" formatCode="0.0">
                  <c:v>3.6150325222837867</c:v>
                </c:pt>
                <c:pt idx="89" formatCode="0.0">
                  <c:v>3.7586123825584203</c:v>
                </c:pt>
                <c:pt idx="90" formatCode="0.0">
                  <c:v>3.9802457239219469</c:v>
                </c:pt>
                <c:pt idx="91" formatCode="0.0">
                  <c:v>4.1385208383522043</c:v>
                </c:pt>
                <c:pt idx="92" formatCode="0.0">
                  <c:v>4.3112503011322572</c:v>
                </c:pt>
                <c:pt idx="93" formatCode="0.0">
                  <c:v>4.282341604432669</c:v>
                </c:pt>
                <c:pt idx="94" formatCode="0.0">
                  <c:v>4.4550710672127201</c:v>
                </c:pt>
                <c:pt idx="95" formatCode="0.0">
                  <c:v>4.7610214406167186</c:v>
                </c:pt>
                <c:pt idx="96" formatCode="0.0">
                  <c:v>5.2404239942182613</c:v>
                </c:pt>
                <c:pt idx="97" formatCode="0.0">
                  <c:v>5.4574801252710188</c:v>
                </c:pt>
                <c:pt idx="98" formatCode="0.0">
                  <c:v>5.6234642254878349</c:v>
                </c:pt>
                <c:pt idx="99" formatCode="0.0">
                  <c:v>6.0204769934955422</c:v>
                </c:pt>
                <c:pt idx="100" formatCode="0.0">
                  <c:v>6.1002168152252452</c:v>
                </c:pt>
                <c:pt idx="101" formatCode="0.0">
                  <c:v>6.2124789207419902</c:v>
                </c:pt>
                <c:pt idx="102" formatCode="0.0">
                  <c:v>6.4912069380872079</c:v>
                </c:pt>
                <c:pt idx="103" formatCode="0.0">
                  <c:v>6.568055890146951</c:v>
                </c:pt>
                <c:pt idx="104" formatCode="0.0">
                  <c:v>6.7590941941700811</c:v>
                </c:pt>
                <c:pt idx="105" formatCode="0.0">
                  <c:v>7.1727294627800537</c:v>
                </c:pt>
                <c:pt idx="106" formatCode="0.0">
                  <c:v>7.5605878101662221</c:v>
                </c:pt>
                <c:pt idx="107" formatCode="0.0">
                  <c:v>8.3076367140448095</c:v>
                </c:pt>
                <c:pt idx="108" formatCode="0.0">
                  <c:v>8.8834015899783214</c:v>
                </c:pt>
                <c:pt idx="109" formatCode="0.0">
                  <c:v>9.4239942182606615</c:v>
                </c:pt>
                <c:pt idx="110" formatCode="0.0">
                  <c:v>9.8366658636473154</c:v>
                </c:pt>
                <c:pt idx="111" formatCode="0.0">
                  <c:v>10.280414357986029</c:v>
                </c:pt>
                <c:pt idx="112" formatCode="0.0">
                  <c:v>10.865092748735249</c:v>
                </c:pt>
                <c:pt idx="113" formatCode="0.0">
                  <c:v>11.451939291736934</c:v>
                </c:pt>
                <c:pt idx="114" formatCode="0.0">
                  <c:v>11.969645868465431</c:v>
                </c:pt>
                <c:pt idx="115" formatCode="0.0">
                  <c:v>12.655745603469047</c:v>
                </c:pt>
                <c:pt idx="116" formatCode="0.0">
                  <c:v>13.533365454107443</c:v>
                </c:pt>
                <c:pt idx="117" formatCode="0.0">
                  <c:v>14.120934714526625</c:v>
                </c:pt>
                <c:pt idx="118" formatCode="0.0">
                  <c:v>14.805348108889424</c:v>
                </c:pt>
                <c:pt idx="119" formatCode="0.0">
                  <c:v>15.573596723681044</c:v>
                </c:pt>
                <c:pt idx="120" formatCode="0.0">
                  <c:v>15.738858106480363</c:v>
                </c:pt>
                <c:pt idx="121" formatCode="0.0">
                  <c:v>16.930378222115156</c:v>
                </c:pt>
                <c:pt idx="122" formatCode="0.0">
                  <c:v>17.721753794266441</c:v>
                </c:pt>
                <c:pt idx="123" formatCode="0.0">
                  <c:v>18.358708744880751</c:v>
                </c:pt>
                <c:pt idx="124" formatCode="0.0">
                  <c:v>19.150084317032046</c:v>
                </c:pt>
                <c:pt idx="125" formatCode="0.0">
                  <c:v>19.772344013490727</c:v>
                </c:pt>
                <c:pt idx="126" formatCode="0.0">
                  <c:v>19.859551915201163</c:v>
                </c:pt>
                <c:pt idx="127" formatCode="0.0">
                  <c:v>20.810407130811853</c:v>
                </c:pt>
                <c:pt idx="128" formatCode="0.0">
                  <c:v>20.689472416285231</c:v>
                </c:pt>
                <c:pt idx="129" formatCode="0.0">
                  <c:v>20.9364008672609</c:v>
                </c:pt>
                <c:pt idx="130" formatCode="0.0">
                  <c:v>20.88532883642495</c:v>
                </c:pt>
                <c:pt idx="131" formatCode="0.0">
                  <c:v>21.220428812334372</c:v>
                </c:pt>
                <c:pt idx="132" formatCode="0.0">
                  <c:v>20.677427125993734</c:v>
                </c:pt>
                <c:pt idx="133" formatCode="0.0">
                  <c:v>20.117080221633341</c:v>
                </c:pt>
                <c:pt idx="134" formatCode="0.0">
                  <c:v>20.211756203324502</c:v>
                </c:pt>
                <c:pt idx="135" formatCode="0.0">
                  <c:v>20.195374608528066</c:v>
                </c:pt>
                <c:pt idx="136" formatCode="0.0">
                  <c:v>20.332931823656956</c:v>
                </c:pt>
                <c:pt idx="137" formatCode="0.0">
                  <c:v>20.072512647554802</c:v>
                </c:pt>
                <c:pt idx="138" formatCode="0.0">
                  <c:v>19.538665381835703</c:v>
                </c:pt>
                <c:pt idx="139" formatCode="0.0">
                  <c:v>19.007708985786557</c:v>
                </c:pt>
                <c:pt idx="140" formatCode="0.0">
                  <c:v>18.781739339918087</c:v>
                </c:pt>
                <c:pt idx="141" formatCode="0.0">
                  <c:v>18.350999759094201</c:v>
                </c:pt>
                <c:pt idx="142" formatCode="0.0">
                  <c:v>17.85521561069622</c:v>
                </c:pt>
                <c:pt idx="143" formatCode="0.0">
                  <c:v>17.149361599614551</c:v>
                </c:pt>
                <c:pt idx="144" formatCode="0.0">
                  <c:v>16.644182124789207</c:v>
                </c:pt>
                <c:pt idx="145" formatCode="0.0">
                  <c:v>15.912310286677911</c:v>
                </c:pt>
                <c:pt idx="146" formatCode="0.0">
                  <c:v>15.498193206456277</c:v>
                </c:pt>
                <c:pt idx="147" formatCode="0.0">
                  <c:v>14.829438689472418</c:v>
                </c:pt>
                <c:pt idx="148" formatCode="0.0">
                  <c:v>14.154179715731148</c:v>
                </c:pt>
                <c:pt idx="149" formatCode="0.0">
                  <c:v>13.494338713563</c:v>
                </c:pt>
                <c:pt idx="150" formatCode="0.0">
                  <c:v>12.597687304264035</c:v>
                </c:pt>
                <c:pt idx="151" formatCode="0.0">
                  <c:v>12.020717899301372</c:v>
                </c:pt>
                <c:pt idx="152" formatCode="0.0">
                  <c:v>11.653336545410744</c:v>
                </c:pt>
                <c:pt idx="153" formatCode="0.0">
                  <c:v>11.258973741267161</c:v>
                </c:pt>
                <c:pt idx="154" formatCode="0.0">
                  <c:v>10.79041194892797</c:v>
                </c:pt>
                <c:pt idx="155" formatCode="0.0">
                  <c:v>9.4054444712117569</c:v>
                </c:pt>
                <c:pt idx="156" formatCode="0.0">
                  <c:v>8.3548542519874758</c:v>
                </c:pt>
                <c:pt idx="157" formatCode="0.0">
                  <c:v>8.1098530474584418</c:v>
                </c:pt>
                <c:pt idx="158" formatCode="0.0">
                  <c:v>7.3391953746085283</c:v>
                </c:pt>
                <c:pt idx="159" formatCode="0.0">
                  <c:v>6.6217778848470266</c:v>
                </c:pt>
                <c:pt idx="160" formatCode="0.0">
                  <c:v>6.3329318236569483</c:v>
                </c:pt>
                <c:pt idx="161" formatCode="0.0">
                  <c:v>6.2719826547819801</c:v>
                </c:pt>
                <c:pt idx="162" formatCode="0.0">
                  <c:v>6.5384244760298724</c:v>
                </c:pt>
                <c:pt idx="163" formatCode="0.0">
                  <c:v>6.5225246928450966</c:v>
                </c:pt>
                <c:pt idx="164" formatCode="0.0">
                  <c:v>5.8294386894724157</c:v>
                </c:pt>
                <c:pt idx="165" formatCode="0.0">
                  <c:v>5.635268609973501</c:v>
                </c:pt>
                <c:pt idx="166" formatCode="0.0">
                  <c:v>5.4030354131534581</c:v>
                </c:pt>
                <c:pt idx="167" formatCode="0.0">
                  <c:v>5.1948927969164052</c:v>
                </c:pt>
                <c:pt idx="168" formatCode="0.0">
                  <c:v>5.0284268850879306</c:v>
                </c:pt>
                <c:pt idx="169" formatCode="0.0">
                  <c:v>4.7316309323054684</c:v>
                </c:pt>
                <c:pt idx="170" formatCode="0.0">
                  <c:v>4.4196579137557226</c:v>
                </c:pt>
                <c:pt idx="171" formatCode="0.0">
                  <c:v>4.043603950855216</c:v>
                </c:pt>
                <c:pt idx="172" formatCode="0.0">
                  <c:v>3.7354854251987462</c:v>
                </c:pt>
                <c:pt idx="173" formatCode="0.0">
                  <c:v>3.6817634304986742</c:v>
                </c:pt>
                <c:pt idx="174" formatCode="0.0">
                  <c:v>3.7559624186942906</c:v>
                </c:pt>
                <c:pt idx="175" formatCode="0.0">
                  <c:v>3.6718862924596478</c:v>
                </c:pt>
                <c:pt idx="176" formatCode="0.0">
                  <c:v>3.5880510720308356</c:v>
                </c:pt>
                <c:pt idx="177" formatCode="0.0">
                  <c:v>3.5483016140688997</c:v>
                </c:pt>
                <c:pt idx="178" formatCode="0.0">
                  <c:v>3.6027463261864612</c:v>
                </c:pt>
                <c:pt idx="179" formatCode="0.0">
                  <c:v>3.4529029149602497</c:v>
                </c:pt>
                <c:pt idx="180" formatCode="0.0">
                  <c:v>3.2428330522765605</c:v>
                </c:pt>
                <c:pt idx="181" formatCode="0.0">
                  <c:v>2.9682004336304502</c:v>
                </c:pt>
                <c:pt idx="182" formatCode="0.0">
                  <c:v>2.9347145266200916</c:v>
                </c:pt>
                <c:pt idx="183" formatCode="0.0">
                  <c:v>2.8513611178029392</c:v>
                </c:pt>
                <c:pt idx="184" formatCode="0.0">
                  <c:v>2.7518670199951814</c:v>
                </c:pt>
                <c:pt idx="185" formatCode="0.0">
                  <c:v>2.7270537219947002</c:v>
                </c:pt>
                <c:pt idx="186" formatCode="0.0">
                  <c:v>2.7294627800529998</c:v>
                </c:pt>
                <c:pt idx="187" formatCode="0.0">
                  <c:v>2.7164538665381834</c:v>
                </c:pt>
                <c:pt idx="188" formatCode="0.0">
                  <c:v>2.7431944109853057</c:v>
                </c:pt>
                <c:pt idx="189" formatCode="0.0">
                  <c:v>2.6692363285955198</c:v>
                </c:pt>
                <c:pt idx="190" formatCode="0.0">
                  <c:v>2.6530956396049143</c:v>
                </c:pt>
                <c:pt idx="191" formatCode="0.0">
                  <c:v>2.6822452421103353</c:v>
                </c:pt>
                <c:pt idx="192" formatCode="0.0">
                  <c:v>2.705131293664178</c:v>
                </c:pt>
                <c:pt idx="193" formatCode="0.0">
                  <c:v>2.75644423030595</c:v>
                </c:pt>
                <c:pt idx="194" formatCode="0.0">
                  <c:v>2.750662490966032</c:v>
                </c:pt>
                <c:pt idx="195" formatCode="0.0">
                  <c:v>2.6950132498193211</c:v>
                </c:pt>
                <c:pt idx="196" formatCode="0.0">
                  <c:v>2.8332931823656944</c:v>
                </c:pt>
                <c:pt idx="197" formatCode="0.0">
                  <c:v>2.8291977836665869</c:v>
                </c:pt>
                <c:pt idx="198" formatCode="0.0">
                  <c:v>2.7648759335099977</c:v>
                </c:pt>
                <c:pt idx="199" formatCode="0.0">
                  <c:v>2.6263550951577939</c:v>
                </c:pt>
                <c:pt idx="200" formatCode="0.0">
                  <c:v>2.3709949409780782</c:v>
                </c:pt>
                <c:pt idx="201" formatCode="0.0">
                  <c:v>2.3018549747048898</c:v>
                </c:pt>
                <c:pt idx="202" formatCode="0.0">
                  <c:v>2.3447362081426171</c:v>
                </c:pt>
                <c:pt idx="203" formatCode="0.0">
                  <c:v>2.2380149361599613</c:v>
                </c:pt>
                <c:pt idx="204" formatCode="0.0">
                  <c:v>2.2045290291496022</c:v>
                </c:pt>
                <c:pt idx="205" formatCode="0.0">
                  <c:v>2.1765839556733315</c:v>
                </c:pt>
                <c:pt idx="206" formatCode="0.0">
                  <c:v>2.241387617441581</c:v>
                </c:pt>
                <c:pt idx="207" formatCode="0.0">
                  <c:v>2.4615755239701276</c:v>
                </c:pt>
                <c:pt idx="208" formatCode="0.0">
                  <c:v>2.5350517947482527</c:v>
                </c:pt>
                <c:pt idx="209" formatCode="0.0">
                  <c:v>2.5405926282823419</c:v>
                </c:pt>
                <c:pt idx="210" formatCode="0.0">
                  <c:v>2.5704649482052524</c:v>
                </c:pt>
                <c:pt idx="211" formatCode="0.0">
                  <c:v>2.6056371958564202</c:v>
                </c:pt>
                <c:pt idx="212" formatCode="0.0">
                  <c:v>2.6034690436039511</c:v>
                </c:pt>
                <c:pt idx="213" formatCode="0.0">
                  <c:v>2.5774512165743202</c:v>
                </c:pt>
                <c:pt idx="214" formatCode="0.0">
                  <c:v>2.6933269091785106</c:v>
                </c:pt>
                <c:pt idx="215" formatCode="0.0">
                  <c:v>2.6938087207901709</c:v>
                </c:pt>
                <c:pt idx="216" formatCode="0.0">
                  <c:v>2.684654300168634</c:v>
                </c:pt>
                <c:pt idx="217" formatCode="0.0">
                  <c:v>2.721031076848953</c:v>
                </c:pt>
                <c:pt idx="218" formatCode="0.0">
                  <c:v>2.7123584678390746</c:v>
                </c:pt>
                <c:pt idx="219" formatCode="0.0">
                  <c:v>2.7205492652372922</c:v>
                </c:pt>
                <c:pt idx="220" formatCode="0.0">
                  <c:v>2.8116116598410024</c:v>
                </c:pt>
                <c:pt idx="221" formatCode="0.0">
                  <c:v>2.7065767284991575</c:v>
                </c:pt>
                <c:pt idx="222" formatCode="0.0">
                  <c:v>2.7275355336063605</c:v>
                </c:pt>
                <c:pt idx="223" formatCode="0.0">
                  <c:v>2.8655745603469045</c:v>
                </c:pt>
                <c:pt idx="224" formatCode="0.0">
                  <c:v>2.8347386172006748</c:v>
                </c:pt>
                <c:pt idx="225" formatCode="0.0">
                  <c:v>2.8776198506384003</c:v>
                </c:pt>
                <c:pt idx="226" formatCode="0.0">
                  <c:v>2.9706094916887484</c:v>
                </c:pt>
                <c:pt idx="227" formatCode="0.0">
                  <c:v>2.9412189833774991</c:v>
                </c:pt>
                <c:pt idx="228" formatCode="0.0">
                  <c:v>2.918573837629487</c:v>
                </c:pt>
                <c:pt idx="229" formatCode="0.0">
                  <c:v>2.9089376053962899</c:v>
                </c:pt>
                <c:pt idx="230" formatCode="0.0">
                  <c:v>2.7716212960732354</c:v>
                </c:pt>
                <c:pt idx="231" formatCode="0.0">
                  <c:v>2.7817393399180914</c:v>
                </c:pt>
                <c:pt idx="232" formatCode="0.0">
                  <c:v>2.7354854251987462</c:v>
                </c:pt>
                <c:pt idx="233" formatCode="0.0">
                  <c:v>2.7113948446157554</c:v>
                </c:pt>
                <c:pt idx="234" formatCode="0.0">
                  <c:v>2.7150084317032031</c:v>
                </c:pt>
                <c:pt idx="235" formatCode="0.0">
                  <c:v>2.6995904601300889</c:v>
                </c:pt>
                <c:pt idx="236" formatCode="0.0">
                  <c:v>2.6391231028667792</c:v>
                </c:pt>
                <c:pt idx="237" formatCode="0.0">
                  <c:v>2.6104553119730185</c:v>
                </c:pt>
                <c:pt idx="238" formatCode="0.0">
                  <c:v>2.6463502770416776</c:v>
                </c:pt>
                <c:pt idx="239" formatCode="0.0">
                  <c:v>2.6099735003613596</c:v>
                </c:pt>
                <c:pt idx="240" formatCode="0.0">
                  <c:v>2.5642013972536741</c:v>
                </c:pt>
                <c:pt idx="241" formatCode="0.0">
                  <c:v>2.5278246205733561</c:v>
                </c:pt>
                <c:pt idx="242" formatCode="0.0">
                  <c:v>2.5184292941459887</c:v>
                </c:pt>
                <c:pt idx="243" formatCode="0.0">
                  <c:v>2.5186701999518188</c:v>
                </c:pt>
                <c:pt idx="244" formatCode="0.0">
                  <c:v>2.6331004577210315</c:v>
                </c:pt>
                <c:pt idx="245" formatCode="0.0">
                  <c:v>2.750662490966032</c:v>
                </c:pt>
                <c:pt idx="246" formatCode="0.0">
                  <c:v>2.8537701758612388</c:v>
                </c:pt>
                <c:pt idx="247" formatCode="0.0">
                  <c:v>2.9674777162129615</c:v>
                </c:pt>
                <c:pt idx="248" formatCode="0.0">
                  <c:v>3.0763671404480846</c:v>
                </c:pt>
                <c:pt idx="249" formatCode="0.0">
                  <c:v>3.198265478198024</c:v>
                </c:pt>
                <c:pt idx="250" formatCode="0.0">
                  <c:v>3.3114912069380873</c:v>
                </c:pt>
                <c:pt idx="251" formatCode="0.0">
                  <c:v>3.3110093953264261</c:v>
                </c:pt>
                <c:pt idx="252" formatCode="0.0">
                  <c:v>3.3731630932305467</c:v>
                </c:pt>
                <c:pt idx="253" formatCode="0.0">
                  <c:v>3.5533606359913281</c:v>
                </c:pt>
                <c:pt idx="254" formatCode="0.0">
                  <c:v>3.5957600578173947</c:v>
                </c:pt>
                <c:pt idx="255" formatCode="0.0">
                  <c:v>3.8106480366176818</c:v>
                </c:pt>
                <c:pt idx="256" formatCode="0.0">
                  <c:v>3.9091785112021205</c:v>
                </c:pt>
                <c:pt idx="257" formatCode="0.0">
                  <c:v>4.0122861960973264</c:v>
                </c:pt>
                <c:pt idx="258" formatCode="0.0">
                  <c:v>4.2134425439653089</c:v>
                </c:pt>
                <c:pt idx="259" formatCode="0.0">
                  <c:v>4.3353408817152488</c:v>
                </c:pt>
                <c:pt idx="260" formatCode="0.0">
                  <c:v>4.4225487834256816</c:v>
                </c:pt>
                <c:pt idx="261" formatCode="0.0">
                  <c:v>4.5562515056612867</c:v>
                </c:pt>
                <c:pt idx="262" formatCode="0.0">
                  <c:v>4.6200915442062147</c:v>
                </c:pt>
                <c:pt idx="263" formatCode="0.0">
                  <c:v>4.753071549024332</c:v>
                </c:pt>
                <c:pt idx="264" formatCode="0.0">
                  <c:v>4.8236569501324968</c:v>
                </c:pt>
                <c:pt idx="265" formatCode="0.0">
                  <c:v>4.8771380390267396</c:v>
                </c:pt>
                <c:pt idx="266" formatCode="0.0">
                  <c:v>4.8294386894724166</c:v>
                </c:pt>
                <c:pt idx="267" formatCode="0.0">
                  <c:v>5.0517947482534336</c:v>
                </c:pt>
                <c:pt idx="268" formatCode="0.0">
                  <c:v>5.3724403758130572</c:v>
                </c:pt>
                <c:pt idx="269" formatCode="0.0">
                  <c:v>5.748735244519394</c:v>
                </c:pt>
                <c:pt idx="270" formatCode="0.0">
                  <c:v>6.0973259455552871</c:v>
                </c:pt>
                <c:pt idx="271" formatCode="0.0">
                  <c:v>6.4714526620091553</c:v>
                </c:pt>
                <c:pt idx="272" formatCode="0.0">
                  <c:v>6.7150084317032057</c:v>
                </c:pt>
                <c:pt idx="273" formatCode="0.0">
                  <c:v>7.1284027945073474</c:v>
                </c:pt>
                <c:pt idx="274" formatCode="0.0">
                  <c:v>7.7393399180920284</c:v>
                </c:pt>
                <c:pt idx="275" formatCode="0.0">
                  <c:v>8.6465911828475033</c:v>
                </c:pt>
                <c:pt idx="276" formatCode="0.0">
                  <c:v>9.4625391471934517</c:v>
                </c:pt>
                <c:pt idx="277" formatCode="0.0">
                  <c:v>10.242351240664901</c:v>
                </c:pt>
                <c:pt idx="278" formatCode="0.0">
                  <c:v>11.177788484702479</c:v>
                </c:pt>
                <c:pt idx="279" formatCode="0.0">
                  <c:v>11.623464225487837</c:v>
                </c:pt>
                <c:pt idx="280" formatCode="0.0">
                  <c:v>12.476511683931584</c:v>
                </c:pt>
                <c:pt idx="281" formatCode="0.0">
                  <c:v>13.271259937364492</c:v>
                </c:pt>
                <c:pt idx="282" formatCode="0.0">
                  <c:v>13.502529510961217</c:v>
                </c:pt>
                <c:pt idx="283" formatCode="0.0">
                  <c:v>13.600337268128163</c:v>
                </c:pt>
                <c:pt idx="284" formatCode="0.0">
                  <c:v>14.336786316550233</c:v>
                </c:pt>
                <c:pt idx="285" formatCode="0.0">
                  <c:v>14.685136111780299</c:v>
                </c:pt>
                <c:pt idx="286" formatCode="0.0">
                  <c:v>15.558660563719585</c:v>
                </c:pt>
                <c:pt idx="287" formatCode="0.0">
                  <c:v>16.028185979282103</c:v>
                </c:pt>
                <c:pt idx="288" formatCode="0.0">
                  <c:v>17.000963623223321</c:v>
                </c:pt>
                <c:pt idx="289" formatCode="0.0">
                  <c:v>18.248614791616482</c:v>
                </c:pt>
                <c:pt idx="290" formatCode="0.0">
                  <c:v>19.711153938809925</c:v>
                </c:pt>
                <c:pt idx="291" formatCode="0.0">
                  <c:v>19.85882919778367</c:v>
                </c:pt>
                <c:pt idx="292" formatCode="0.0">
                  <c:v>19.872560828715972</c:v>
                </c:pt>
                <c:pt idx="293" formatCode="0.0">
                  <c:v>19.551915201156344</c:v>
                </c:pt>
                <c:pt idx="294" formatCode="0.0">
                  <c:v>19.570946759816913</c:v>
                </c:pt>
                <c:pt idx="295" formatCode="0.0">
                  <c:v>20.453625632377733</c:v>
                </c:pt>
                <c:pt idx="296" formatCode="0.0">
                  <c:v>21.343772584919289</c:v>
                </c:pt>
                <c:pt idx="297" formatCode="0.0">
                  <c:v>21.808720790171037</c:v>
                </c:pt>
                <c:pt idx="298" formatCode="0.0">
                  <c:v>22.639845820284272</c:v>
                </c:pt>
                <c:pt idx="299" formatCode="0.0">
                  <c:v>23.207660804625384</c:v>
                </c:pt>
                <c:pt idx="300" formatCode="0.0">
                  <c:v>24.446639364008664</c:v>
                </c:pt>
                <c:pt idx="301" formatCode="0.0">
                  <c:v>25.610214406167188</c:v>
                </c:pt>
                <c:pt idx="302" formatCode="0.0">
                  <c:v>26.603228137798123</c:v>
                </c:pt>
                <c:pt idx="303" formatCode="0.0">
                  <c:v>27.325704649482049</c:v>
                </c:pt>
                <c:pt idx="304" formatCode="0.0">
                  <c:v>28.591423753312451</c:v>
                </c:pt>
                <c:pt idx="305" formatCode="0.0">
                  <c:v>30.18236569501325</c:v>
                </c:pt>
                <c:pt idx="306" formatCode="0.0">
                  <c:v>31.522283787039267</c:v>
                </c:pt>
                <c:pt idx="307" formatCode="0.0">
                  <c:v>32.111298482293414</c:v>
                </c:pt>
                <c:pt idx="308" formatCode="0.0">
                  <c:v>31.79691640568538</c:v>
                </c:pt>
                <c:pt idx="309" formatCode="0.0">
                  <c:v>31.007468079980733</c:v>
                </c:pt>
                <c:pt idx="310" formatCode="0.0">
                  <c:v>30.40616718862924</c:v>
                </c:pt>
                <c:pt idx="311" formatCode="0.0">
                  <c:v>28.695735967236818</c:v>
                </c:pt>
                <c:pt idx="312" formatCode="0.0">
                  <c:v>26.856901951337033</c:v>
                </c:pt>
                <c:pt idx="313" formatCode="0.0">
                  <c:v>25.615273428089626</c:v>
                </c:pt>
                <c:pt idx="314" formatCode="0.0">
                  <c:v>24.161165984100222</c:v>
                </c:pt>
                <c:pt idx="315" formatCode="0.0">
                  <c:v>23.360154179715728</c:v>
                </c:pt>
                <c:pt idx="316" formatCode="0.0">
                  <c:v>21.952059744639843</c:v>
                </c:pt>
                <c:pt idx="317" formatCode="0.0">
                  <c:v>20.236328595519147</c:v>
                </c:pt>
                <c:pt idx="318" formatCode="0.0">
                  <c:v>19.484943387135626</c:v>
                </c:pt>
                <c:pt idx="319" formatCode="0.0">
                  <c:v>19.074921705613107</c:v>
                </c:pt>
                <c:pt idx="320" formatCode="0.0">
                  <c:v>18.082389785593829</c:v>
                </c:pt>
                <c:pt idx="321" formatCode="0.0">
                  <c:v>17.008190797398218</c:v>
                </c:pt>
                <c:pt idx="322" formatCode="0.0">
                  <c:v>16.107443989400146</c:v>
                </c:pt>
                <c:pt idx="323" formatCode="0.0">
                  <c:v>14.748735244519395</c:v>
                </c:pt>
                <c:pt idx="324" formatCode="0.0">
                  <c:v>13.729462780052998</c:v>
                </c:pt>
                <c:pt idx="325" formatCode="0.0">
                  <c:v>12.375572151288848</c:v>
                </c:pt>
                <c:pt idx="326" formatCode="0.0">
                  <c:v>10.695495061430979</c:v>
                </c:pt>
                <c:pt idx="327" formatCode="0.0">
                  <c:v>9.8229342327150118</c:v>
                </c:pt>
                <c:pt idx="328" formatCode="0.0">
                  <c:v>9.3403999036376746</c:v>
                </c:pt>
                <c:pt idx="329" formatCode="0.0">
                  <c:v>8.5232474102625844</c:v>
                </c:pt>
                <c:pt idx="330" formatCode="0.0">
                  <c:v>7.7976391231028694</c:v>
                </c:pt>
                <c:pt idx="331" formatCode="0.0">
                  <c:v>6.9788002890869674</c:v>
                </c:pt>
                <c:pt idx="332" formatCode="0.0">
                  <c:v>6.4025536015417979</c:v>
                </c:pt>
                <c:pt idx="333" formatCode="0.0">
                  <c:v>5.8935196338231766</c:v>
                </c:pt>
                <c:pt idx="334" formatCode="0.0">
                  <c:v>5.3900264996386413</c:v>
                </c:pt>
                <c:pt idx="335" formatCode="0.0">
                  <c:v>5.1076848952059741</c:v>
                </c:pt>
                <c:pt idx="336" formatCode="0.0">
                  <c:v>4.8891833293182367</c:v>
                </c:pt>
                <c:pt idx="337" formatCode="0.0">
                  <c:v>4.6726090098771378</c:v>
                </c:pt>
                <c:pt idx="338" formatCode="0.0">
                  <c:v>4.3683449771139466</c:v>
                </c:pt>
                <c:pt idx="339" formatCode="0.0">
                  <c:v>4.1351481570705859</c:v>
                </c:pt>
                <c:pt idx="340" formatCode="0.0">
                  <c:v>3.9419417007949891</c:v>
                </c:pt>
                <c:pt idx="341" formatCode="0.0">
                  <c:v>3.7754757889665145</c:v>
                </c:pt>
                <c:pt idx="342" formatCode="0.0">
                  <c:v>3.7094675981691156</c:v>
                </c:pt>
                <c:pt idx="343" formatCode="0.0">
                  <c:v>3.5813057094675993</c:v>
                </c:pt>
                <c:pt idx="344" formatCode="0.0">
                  <c:v>3.3791857383762953</c:v>
                </c:pt>
                <c:pt idx="345" formatCode="0.0">
                  <c:v>3.3403999036376781</c:v>
                </c:pt>
                <c:pt idx="346" formatCode="0.0">
                  <c:v>3.130811852565647</c:v>
                </c:pt>
                <c:pt idx="347" formatCode="0.0">
                  <c:v>2.9641050349313427</c:v>
                </c:pt>
                <c:pt idx="348" formatCode="0.0">
                  <c:v>2.8882197060949171</c:v>
                </c:pt>
                <c:pt idx="349" formatCode="0.0">
                  <c:v>2.8135389062876413</c:v>
                </c:pt>
                <c:pt idx="350" formatCode="0.0">
                  <c:v>2.7624668754516981</c:v>
                </c:pt>
                <c:pt idx="351" formatCode="0.0">
                  <c:v>2.6521320163815942</c:v>
                </c:pt>
                <c:pt idx="352" formatCode="0.0">
                  <c:v>2.4953023367863167</c:v>
                </c:pt>
                <c:pt idx="353" formatCode="0.0">
                  <c:v>2.4333895446880272</c:v>
                </c:pt>
                <c:pt idx="354" formatCode="0.0">
                  <c:v>2.3748494338713559</c:v>
                </c:pt>
                <c:pt idx="355" formatCode="0.0">
                  <c:v>2.3119730185497467</c:v>
                </c:pt>
                <c:pt idx="356" formatCode="0.0">
                  <c:v>2.2575283064321852</c:v>
                </c:pt>
                <c:pt idx="357" formatCode="0.0">
                  <c:v>2.2233196820043371</c:v>
                </c:pt>
                <c:pt idx="358" formatCode="0.0">
                  <c:v>2.1233437725849202</c:v>
                </c:pt>
                <c:pt idx="359" formatCode="0.0">
                  <c:v>2.0578173933991804</c:v>
                </c:pt>
                <c:pt idx="360" formatCode="0.0">
                  <c:v>1.975668513611178</c:v>
                </c:pt>
                <c:pt idx="361" formatCode="0.0">
                  <c:v>1.9226692363285955</c:v>
                </c:pt>
                <c:pt idx="362" formatCode="0.0">
                  <c:v>1.8489520597446401</c:v>
                </c:pt>
                <c:pt idx="363" formatCode="0.0">
                  <c:v>1.8662972777643938</c:v>
                </c:pt>
                <c:pt idx="364" formatCode="0.0">
                  <c:v>1.8988195615514336</c:v>
                </c:pt>
                <c:pt idx="365" formatCode="0.0">
                  <c:v>1.9060467357263311</c:v>
                </c:pt>
                <c:pt idx="366" formatCode="0.0">
                  <c:v>1.9229101421344255</c:v>
                </c:pt>
                <c:pt idx="367" formatCode="0.0">
                  <c:v>1.9017104312213926</c:v>
                </c:pt>
                <c:pt idx="368" formatCode="0.0">
                  <c:v>1.9773548542519874</c:v>
                </c:pt>
                <c:pt idx="369" formatCode="0.0">
                  <c:v>2.0120452902914954</c:v>
                </c:pt>
                <c:pt idx="370" formatCode="0.0">
                  <c:v>2.0060226451457477</c:v>
                </c:pt>
                <c:pt idx="371" formatCode="0.0">
                  <c:v>1.9920501084076128</c:v>
                </c:pt>
                <c:pt idx="372" formatCode="0.0">
                  <c:v>2.005059021922428</c:v>
                </c:pt>
                <c:pt idx="373" formatCode="0.0">
                  <c:v>2.0026499638641284</c:v>
                </c:pt>
                <c:pt idx="374" formatCode="0.0">
                  <c:v>2.0597446398458192</c:v>
                </c:pt>
                <c:pt idx="375" formatCode="0.0">
                  <c:v>2.0204769934955427</c:v>
                </c:pt>
                <c:pt idx="376" formatCode="0.0">
                  <c:v>2.0313177547578896</c:v>
                </c:pt>
                <c:pt idx="377" formatCode="0.0">
                  <c:v>2.0279450734762707</c:v>
                </c:pt>
                <c:pt idx="378" formatCode="0.0">
                  <c:v>1.9260419176102146</c:v>
                </c:pt>
                <c:pt idx="379" formatCode="0.0">
                  <c:v>1.8096844133943626</c:v>
                </c:pt>
                <c:pt idx="380" formatCode="0.0">
                  <c:v>1.8313659359190555</c:v>
                </c:pt>
                <c:pt idx="381" formatCode="0.0">
                  <c:v>1.8443748494338716</c:v>
                </c:pt>
                <c:pt idx="382" formatCode="0.0">
                  <c:v>1.8465430016863409</c:v>
                </c:pt>
                <c:pt idx="383" formatCode="0.0">
                  <c:v>1.8258251023849676</c:v>
                </c:pt>
                <c:pt idx="384" formatCode="0.0">
                  <c:v>1.8135389062876417</c:v>
                </c:pt>
                <c:pt idx="385" formatCode="0.0">
                  <c:v>1.8728017345218024</c:v>
                </c:pt>
                <c:pt idx="386" formatCode="0.0">
                  <c:v>1.9629005059021922</c:v>
                </c:pt>
                <c:pt idx="387" formatCode="0.0">
                  <c:v>1.9002649963864129</c:v>
                </c:pt>
                <c:pt idx="388" formatCode="0.0">
                  <c:v>1.8417248855697419</c:v>
                </c:pt>
                <c:pt idx="389" formatCode="0.0">
                  <c:v>1.6947723440134905</c:v>
                </c:pt>
                <c:pt idx="390" formatCode="0.0">
                  <c:v>1.5738376294868708</c:v>
                </c:pt>
                <c:pt idx="391" formatCode="0.0">
                  <c:v>1.5507106721271982</c:v>
                </c:pt>
                <c:pt idx="392" formatCode="0.0">
                  <c:v>1.4738617200674535</c:v>
                </c:pt>
                <c:pt idx="393" formatCode="0.0">
                  <c:v>1.3134184533847264</c:v>
                </c:pt>
                <c:pt idx="394" formatCode="0.0">
                  <c:v>1.3307636714044806</c:v>
                </c:pt>
                <c:pt idx="395" formatCode="0.0">
                  <c:v>1.3293182365695013</c:v>
                </c:pt>
                <c:pt idx="396" formatCode="0.0">
                  <c:v>1.4516983859311008</c:v>
                </c:pt>
                <c:pt idx="397" formatCode="0.0">
                  <c:v>1.564442303059504</c:v>
                </c:pt>
                <c:pt idx="398" formatCode="0.0">
                  <c:v>1.6133461816429777</c:v>
                </c:pt>
                <c:pt idx="399" formatCode="0.0">
                  <c:v>1.7121175620332456</c:v>
                </c:pt>
                <c:pt idx="400" formatCode="0.0">
                  <c:v>1.9152011563478679</c:v>
                </c:pt>
                <c:pt idx="401" formatCode="0.0">
                  <c:v>1.9166465911828474</c:v>
                </c:pt>
                <c:pt idx="402" formatCode="0.0">
                  <c:v>1.9544688026981454</c:v>
                </c:pt>
                <c:pt idx="403" formatCode="0.0">
                  <c:v>1.9641050349313425</c:v>
                </c:pt>
                <c:pt idx="404" formatCode="0.0">
                  <c:v>2.002168152252469</c:v>
                </c:pt>
                <c:pt idx="405" formatCode="0.0">
                  <c:v>2.0236087689713331</c:v>
                </c:pt>
                <c:pt idx="406" formatCode="0.0">
                  <c:v>2.0250542038063122</c:v>
                </c:pt>
                <c:pt idx="407" formatCode="0.0">
                  <c:v>2.0178270296314142</c:v>
                </c:pt>
                <c:pt idx="408" formatCode="0.0">
                  <c:v>2.027704167670441</c:v>
                </c:pt>
                <c:pt idx="409" formatCode="0.0">
                  <c:v>2.0790171043122139</c:v>
                </c:pt>
                <c:pt idx="410" formatCode="0.0">
                  <c:v>2.0934714526620097</c:v>
                </c:pt>
                <c:pt idx="411" formatCode="0.0">
                  <c:v>2.0963623223319683</c:v>
                </c:pt>
                <c:pt idx="412" formatCode="0.0">
                  <c:v>2.1216574319441093</c:v>
                </c:pt>
                <c:pt idx="413" formatCode="0.0">
                  <c:v>2.128161888701519</c:v>
                </c:pt>
                <c:pt idx="414" formatCode="0.0">
                  <c:v>2.0513129366417728</c:v>
                </c:pt>
                <c:pt idx="415" formatCode="0.0">
                  <c:v>1.9725367381353891</c:v>
                </c:pt>
                <c:pt idx="416" formatCode="0.0">
                  <c:v>1.981450252951096</c:v>
                </c:pt>
                <c:pt idx="417" formatCode="0.0">
                  <c:v>2.0409539869910871</c:v>
                </c:pt>
                <c:pt idx="418" formatCode="0.0">
                  <c:v>2.0701035894965072</c:v>
                </c:pt>
                <c:pt idx="419" formatCode="0.0">
                  <c:v>2.0816670681763436</c:v>
                </c:pt>
                <c:pt idx="420" formatCode="0.0">
                  <c:v>2.1556251505661281</c:v>
                </c:pt>
                <c:pt idx="421" formatCode="0.0">
                  <c:v>2.353890628764153</c:v>
                </c:pt>
                <c:pt idx="422" formatCode="0.0">
                  <c:v>2.6099735003613596</c:v>
                </c:pt>
                <c:pt idx="423" formatCode="0.0">
                  <c:v>2.750180679354373</c:v>
                </c:pt>
                <c:pt idx="424" formatCode="0.0">
                  <c:v>2.8848470248132974</c:v>
                </c:pt>
                <c:pt idx="425" formatCode="0.0">
                  <c:v>3.0187906528547344</c:v>
                </c:pt>
                <c:pt idx="426" formatCode="0.0">
                  <c:v>3.0746807998072754</c:v>
                </c:pt>
                <c:pt idx="427" formatCode="0.0">
                  <c:v>3.1616477957118772</c:v>
                </c:pt>
                <c:pt idx="428" formatCode="0.0">
                  <c:v>3.3269091785112015</c:v>
                </c:pt>
                <c:pt idx="429" formatCode="0.0">
                  <c:v>3.5851602023608775</c:v>
                </c:pt>
                <c:pt idx="430" formatCode="0.0">
                  <c:v>3.7983618405203576</c:v>
                </c:pt>
                <c:pt idx="431" formatCode="0.0">
                  <c:v>3.9330281859792819</c:v>
                </c:pt>
                <c:pt idx="432" formatCode="0.0">
                  <c:v>4.1274391712840286</c:v>
                </c:pt>
                <c:pt idx="433" formatCode="0.0">
                  <c:v>4.2787280173452178</c:v>
                </c:pt>
                <c:pt idx="434" formatCode="0.0">
                  <c:v>4.4731390026499644</c:v>
                </c:pt>
                <c:pt idx="435" formatCode="0.0">
                  <c:v>4.656950132498193</c:v>
                </c:pt>
                <c:pt idx="436" formatCode="0.0">
                  <c:v>4.7581305709467578</c:v>
                </c:pt>
                <c:pt idx="437" formatCode="0.0">
                  <c:v>4.8041435798602734</c:v>
                </c:pt>
                <c:pt idx="438" formatCode="0.0">
                  <c:v>5.1621296073235365</c:v>
                </c:pt>
                <c:pt idx="439" formatCode="0.0">
                  <c:v>5.2365695013249827</c:v>
                </c:pt>
                <c:pt idx="440" formatCode="0.0">
                  <c:v>5.3873765357745125</c:v>
                </c:pt>
                <c:pt idx="441" formatCode="0.0">
                  <c:v>5.5629968682245234</c:v>
                </c:pt>
                <c:pt idx="442" formatCode="0.0">
                  <c:v>5.8282341604432668</c:v>
                </c:pt>
                <c:pt idx="443" formatCode="0.0">
                  <c:v>6.01638159479643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FA96-4795-8581-791AAA898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983680"/>
        <c:axId val="70985216"/>
      </c:lineChart>
      <c:dateAx>
        <c:axId val="70983680"/>
        <c:scaling>
          <c:orientation val="minMax"/>
          <c:max val="44362"/>
          <c:min val="44287"/>
        </c:scaling>
        <c:delete val="0"/>
        <c:axPos val="b"/>
        <c:numFmt formatCode="d\-mm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985216"/>
        <c:crosses val="autoZero"/>
        <c:auto val="1"/>
        <c:lblOffset val="100"/>
        <c:baseTimeUnit val="days"/>
      </c:dateAx>
      <c:valAx>
        <c:axId val="70985216"/>
        <c:scaling>
          <c:orientation val="minMax"/>
          <c:max val="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-day moving  average of national daily cases per 100,000 population</a:t>
                </a:r>
              </a:p>
            </c:rich>
          </c:tx>
          <c:layout>
            <c:manualLayout>
              <c:xMode val="edge"/>
              <c:yMode val="edge"/>
              <c:x val="4.9877116537012531E-2"/>
              <c:y val="7.2442415475763133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0983680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271964225022445"/>
          <c:y val="9.103252968378453E-2"/>
          <c:w val="0.16218594341292386"/>
          <c:h val="0.40824220152184498"/>
        </c:manualLayout>
      </c:layout>
      <c:overlay val="0"/>
      <c:spPr>
        <a:solidFill>
          <a:sysClr val="window" lastClr="FFFFFF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00" b="1" dirty="0"/>
              <a:t>National testing positivity rate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Labs!$A$104</c:f>
              <c:strCache>
                <c:ptCount val="1"/>
                <c:pt idx="0">
                  <c:v>New test positivity rate (7-day avg.)</c:v>
                </c:pt>
              </c:strCache>
            </c:strRef>
          </c:tx>
          <c:spPr>
            <a:ln w="952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50000"/>
                </a:schemeClr>
              </a:solidFill>
              <a:ln w="9525">
                <a:solidFill>
                  <a:schemeClr val="accent4">
                    <a:lumMod val="50000"/>
                  </a:schemeClr>
                </a:solidFill>
              </a:ln>
              <a:effectLst/>
            </c:spPr>
          </c:marker>
          <c:cat>
            <c:numRef>
              <c:f>Labs!$I$91:$EV$91</c:f>
              <c:numCache>
                <c:formatCode>d\-mmm</c:formatCode>
                <c:ptCount val="144"/>
                <c:pt idx="0">
                  <c:v>44194</c:v>
                </c:pt>
                <c:pt idx="1">
                  <c:v>44195</c:v>
                </c:pt>
                <c:pt idx="2">
                  <c:v>44196</c:v>
                </c:pt>
                <c:pt idx="3">
                  <c:v>44197</c:v>
                </c:pt>
                <c:pt idx="4">
                  <c:v>44198</c:v>
                </c:pt>
                <c:pt idx="5">
                  <c:v>44199</c:v>
                </c:pt>
                <c:pt idx="6">
                  <c:v>44200</c:v>
                </c:pt>
                <c:pt idx="7">
                  <c:v>44201</c:v>
                </c:pt>
                <c:pt idx="8">
                  <c:v>44202</c:v>
                </c:pt>
                <c:pt idx="9">
                  <c:v>44203</c:v>
                </c:pt>
                <c:pt idx="10">
                  <c:v>44204</c:v>
                </c:pt>
                <c:pt idx="11">
                  <c:v>44205</c:v>
                </c:pt>
                <c:pt idx="12">
                  <c:v>44206</c:v>
                </c:pt>
                <c:pt idx="13">
                  <c:v>44207</c:v>
                </c:pt>
                <c:pt idx="14">
                  <c:v>44208</c:v>
                </c:pt>
                <c:pt idx="15">
                  <c:v>44209</c:v>
                </c:pt>
                <c:pt idx="16">
                  <c:v>44210</c:v>
                </c:pt>
                <c:pt idx="17">
                  <c:v>44211</c:v>
                </c:pt>
                <c:pt idx="18">
                  <c:v>44212</c:v>
                </c:pt>
                <c:pt idx="19">
                  <c:v>44213</c:v>
                </c:pt>
                <c:pt idx="20">
                  <c:v>44214</c:v>
                </c:pt>
                <c:pt idx="21">
                  <c:v>44215</c:v>
                </c:pt>
                <c:pt idx="22">
                  <c:v>44216</c:v>
                </c:pt>
                <c:pt idx="23">
                  <c:v>44217</c:v>
                </c:pt>
                <c:pt idx="24">
                  <c:v>44218</c:v>
                </c:pt>
                <c:pt idx="25">
                  <c:v>44219</c:v>
                </c:pt>
                <c:pt idx="26">
                  <c:v>44220</c:v>
                </c:pt>
                <c:pt idx="27">
                  <c:v>44221</c:v>
                </c:pt>
                <c:pt idx="28">
                  <c:v>44222</c:v>
                </c:pt>
                <c:pt idx="29">
                  <c:v>44223</c:v>
                </c:pt>
                <c:pt idx="30">
                  <c:v>44224</c:v>
                </c:pt>
                <c:pt idx="31">
                  <c:v>44225</c:v>
                </c:pt>
                <c:pt idx="32">
                  <c:v>44226</c:v>
                </c:pt>
                <c:pt idx="33">
                  <c:v>44227</c:v>
                </c:pt>
                <c:pt idx="34">
                  <c:v>44228</c:v>
                </c:pt>
                <c:pt idx="35">
                  <c:v>44229</c:v>
                </c:pt>
                <c:pt idx="36">
                  <c:v>44230</c:v>
                </c:pt>
                <c:pt idx="37">
                  <c:v>44231</c:v>
                </c:pt>
                <c:pt idx="38">
                  <c:v>44232</c:v>
                </c:pt>
                <c:pt idx="39">
                  <c:v>44233</c:v>
                </c:pt>
                <c:pt idx="40">
                  <c:v>44234</c:v>
                </c:pt>
                <c:pt idx="41">
                  <c:v>44235</c:v>
                </c:pt>
                <c:pt idx="42">
                  <c:v>44236</c:v>
                </c:pt>
                <c:pt idx="43">
                  <c:v>44237</c:v>
                </c:pt>
                <c:pt idx="44">
                  <c:v>44238</c:v>
                </c:pt>
                <c:pt idx="45">
                  <c:v>44239</c:v>
                </c:pt>
                <c:pt idx="46">
                  <c:v>44240</c:v>
                </c:pt>
                <c:pt idx="47">
                  <c:v>44241</c:v>
                </c:pt>
                <c:pt idx="48">
                  <c:v>44242</c:v>
                </c:pt>
                <c:pt idx="49">
                  <c:v>44243</c:v>
                </c:pt>
                <c:pt idx="50">
                  <c:v>44244</c:v>
                </c:pt>
                <c:pt idx="51">
                  <c:v>44245</c:v>
                </c:pt>
                <c:pt idx="52">
                  <c:v>44246</c:v>
                </c:pt>
                <c:pt idx="53">
                  <c:v>44247</c:v>
                </c:pt>
                <c:pt idx="54">
                  <c:v>44248</c:v>
                </c:pt>
                <c:pt idx="55">
                  <c:v>44249</c:v>
                </c:pt>
                <c:pt idx="56">
                  <c:v>44250</c:v>
                </c:pt>
                <c:pt idx="57">
                  <c:v>44251</c:v>
                </c:pt>
                <c:pt idx="58">
                  <c:v>44252</c:v>
                </c:pt>
                <c:pt idx="59">
                  <c:v>44253</c:v>
                </c:pt>
                <c:pt idx="60">
                  <c:v>44254</c:v>
                </c:pt>
                <c:pt idx="61">
                  <c:v>44255</c:v>
                </c:pt>
                <c:pt idx="62">
                  <c:v>44256</c:v>
                </c:pt>
                <c:pt idx="63">
                  <c:v>44257</c:v>
                </c:pt>
                <c:pt idx="64">
                  <c:v>44258</c:v>
                </c:pt>
                <c:pt idx="65">
                  <c:v>44259</c:v>
                </c:pt>
                <c:pt idx="66">
                  <c:v>44260</c:v>
                </c:pt>
                <c:pt idx="67">
                  <c:v>44261</c:v>
                </c:pt>
                <c:pt idx="68">
                  <c:v>44262</c:v>
                </c:pt>
                <c:pt idx="69">
                  <c:v>44263</c:v>
                </c:pt>
                <c:pt idx="70">
                  <c:v>44264</c:v>
                </c:pt>
                <c:pt idx="71">
                  <c:v>44265</c:v>
                </c:pt>
                <c:pt idx="72">
                  <c:v>44266</c:v>
                </c:pt>
                <c:pt idx="73">
                  <c:v>44267</c:v>
                </c:pt>
                <c:pt idx="74">
                  <c:v>44268</c:v>
                </c:pt>
                <c:pt idx="75">
                  <c:v>44269</c:v>
                </c:pt>
                <c:pt idx="76">
                  <c:v>44270</c:v>
                </c:pt>
                <c:pt idx="77">
                  <c:v>44271</c:v>
                </c:pt>
                <c:pt idx="78">
                  <c:v>44272</c:v>
                </c:pt>
                <c:pt idx="79">
                  <c:v>44273</c:v>
                </c:pt>
                <c:pt idx="80">
                  <c:v>44274</c:v>
                </c:pt>
                <c:pt idx="81">
                  <c:v>44275</c:v>
                </c:pt>
                <c:pt idx="82">
                  <c:v>44276</c:v>
                </c:pt>
                <c:pt idx="83">
                  <c:v>44277</c:v>
                </c:pt>
                <c:pt idx="84">
                  <c:v>44278</c:v>
                </c:pt>
                <c:pt idx="85">
                  <c:v>44279</c:v>
                </c:pt>
                <c:pt idx="86">
                  <c:v>44280</c:v>
                </c:pt>
                <c:pt idx="87">
                  <c:v>44281</c:v>
                </c:pt>
                <c:pt idx="88">
                  <c:v>44282</c:v>
                </c:pt>
                <c:pt idx="89">
                  <c:v>44283</c:v>
                </c:pt>
                <c:pt idx="90">
                  <c:v>44284</c:v>
                </c:pt>
                <c:pt idx="91">
                  <c:v>44285</c:v>
                </c:pt>
                <c:pt idx="92">
                  <c:v>44286</c:v>
                </c:pt>
                <c:pt idx="93">
                  <c:v>44287</c:v>
                </c:pt>
                <c:pt idx="94">
                  <c:v>44288</c:v>
                </c:pt>
                <c:pt idx="95">
                  <c:v>44289</c:v>
                </c:pt>
                <c:pt idx="96">
                  <c:v>44290</c:v>
                </c:pt>
                <c:pt idx="97">
                  <c:v>44291</c:v>
                </c:pt>
                <c:pt idx="98">
                  <c:v>44292</c:v>
                </c:pt>
                <c:pt idx="99">
                  <c:v>44293</c:v>
                </c:pt>
                <c:pt idx="100">
                  <c:v>44294</c:v>
                </c:pt>
                <c:pt idx="101">
                  <c:v>44295</c:v>
                </c:pt>
                <c:pt idx="102">
                  <c:v>44296</c:v>
                </c:pt>
                <c:pt idx="103">
                  <c:v>44297</c:v>
                </c:pt>
                <c:pt idx="104">
                  <c:v>44298</c:v>
                </c:pt>
                <c:pt idx="105">
                  <c:v>44299</c:v>
                </c:pt>
                <c:pt idx="106">
                  <c:v>44300</c:v>
                </c:pt>
                <c:pt idx="107">
                  <c:v>44301</c:v>
                </c:pt>
                <c:pt idx="108">
                  <c:v>44302</c:v>
                </c:pt>
                <c:pt idx="109">
                  <c:v>44303</c:v>
                </c:pt>
                <c:pt idx="110">
                  <c:v>44304</c:v>
                </c:pt>
                <c:pt idx="111">
                  <c:v>44305</c:v>
                </c:pt>
                <c:pt idx="112">
                  <c:v>44306</c:v>
                </c:pt>
                <c:pt idx="113">
                  <c:v>44307</c:v>
                </c:pt>
                <c:pt idx="114">
                  <c:v>44308</c:v>
                </c:pt>
                <c:pt idx="115">
                  <c:v>44309</c:v>
                </c:pt>
                <c:pt idx="116">
                  <c:v>44310</c:v>
                </c:pt>
                <c:pt idx="117">
                  <c:v>44311</c:v>
                </c:pt>
                <c:pt idx="118">
                  <c:v>44312</c:v>
                </c:pt>
                <c:pt idx="119">
                  <c:v>44313</c:v>
                </c:pt>
                <c:pt idx="120">
                  <c:v>44314</c:v>
                </c:pt>
                <c:pt idx="121">
                  <c:v>44315</c:v>
                </c:pt>
                <c:pt idx="122">
                  <c:v>44316</c:v>
                </c:pt>
                <c:pt idx="123">
                  <c:v>44317</c:v>
                </c:pt>
                <c:pt idx="124">
                  <c:v>44318</c:v>
                </c:pt>
                <c:pt idx="125">
                  <c:v>44319</c:v>
                </c:pt>
                <c:pt idx="126">
                  <c:v>44320</c:v>
                </c:pt>
                <c:pt idx="127">
                  <c:v>44321</c:v>
                </c:pt>
                <c:pt idx="128">
                  <c:v>44322</c:v>
                </c:pt>
                <c:pt idx="129">
                  <c:v>44323</c:v>
                </c:pt>
                <c:pt idx="130">
                  <c:v>44324</c:v>
                </c:pt>
                <c:pt idx="131">
                  <c:v>44325</c:v>
                </c:pt>
                <c:pt idx="132">
                  <c:v>44326</c:v>
                </c:pt>
                <c:pt idx="133">
                  <c:v>44327</c:v>
                </c:pt>
                <c:pt idx="134">
                  <c:v>44328</c:v>
                </c:pt>
                <c:pt idx="135">
                  <c:v>44329</c:v>
                </c:pt>
                <c:pt idx="136">
                  <c:v>44330</c:v>
                </c:pt>
                <c:pt idx="137">
                  <c:v>44331</c:v>
                </c:pt>
                <c:pt idx="138">
                  <c:v>44332</c:v>
                </c:pt>
                <c:pt idx="139">
                  <c:v>44333</c:v>
                </c:pt>
                <c:pt idx="140">
                  <c:v>44334</c:v>
                </c:pt>
                <c:pt idx="141">
                  <c:v>44335</c:v>
                </c:pt>
                <c:pt idx="142">
                  <c:v>44336</c:v>
                </c:pt>
                <c:pt idx="143">
                  <c:v>44337</c:v>
                </c:pt>
              </c:numCache>
            </c:numRef>
          </c:cat>
          <c:val>
            <c:numRef>
              <c:f>Labs!$I$114:$EV$114</c:f>
              <c:numCache>
                <c:formatCode>0%</c:formatCode>
                <c:ptCount val="144"/>
                <c:pt idx="0">
                  <c:v>0.3252118333456534</c:v>
                </c:pt>
                <c:pt idx="1">
                  <c:v>0.33121344153638949</c:v>
                </c:pt>
                <c:pt idx="2">
                  <c:v>0.32990122737559385</c:v>
                </c:pt>
                <c:pt idx="3">
                  <c:v>0.33132692250034945</c:v>
                </c:pt>
                <c:pt idx="4">
                  <c:v>0.33167242552796322</c:v>
                </c:pt>
                <c:pt idx="5">
                  <c:v>0.33185066318894452</c:v>
                </c:pt>
                <c:pt idx="6">
                  <c:v>0.33549720257115284</c:v>
                </c:pt>
                <c:pt idx="7">
                  <c:v>0.33471707471694756</c:v>
                </c:pt>
                <c:pt idx="8">
                  <c:v>0.33168589384429081</c:v>
                </c:pt>
                <c:pt idx="9">
                  <c:v>0.33078468312736559</c:v>
                </c:pt>
                <c:pt idx="10">
                  <c:v>0.32599482337892494</c:v>
                </c:pt>
                <c:pt idx="11">
                  <c:v>0.32031690285126135</c:v>
                </c:pt>
                <c:pt idx="12">
                  <c:v>0.3159137962096642</c:v>
                </c:pt>
                <c:pt idx="13">
                  <c:v>0.30807868191562571</c:v>
                </c:pt>
                <c:pt idx="14">
                  <c:v>0.29951416893679517</c:v>
                </c:pt>
                <c:pt idx="15">
                  <c:v>0.28964232005075841</c:v>
                </c:pt>
                <c:pt idx="16">
                  <c:v>0.27949613399804135</c:v>
                </c:pt>
                <c:pt idx="17">
                  <c:v>0.2685358933960128</c:v>
                </c:pt>
                <c:pt idx="18">
                  <c:v>0.25982255539554616</c:v>
                </c:pt>
                <c:pt idx="19">
                  <c:v>0.2500048408590953</c:v>
                </c:pt>
                <c:pt idx="20">
                  <c:v>0.23945182676671123</c:v>
                </c:pt>
                <c:pt idx="21">
                  <c:v>0.23245579769422448</c:v>
                </c:pt>
                <c:pt idx="22">
                  <c:v>0.22473994186225066</c:v>
                </c:pt>
                <c:pt idx="23">
                  <c:v>0.21719406960296189</c:v>
                </c:pt>
                <c:pt idx="24">
                  <c:v>0.21158550677963223</c:v>
                </c:pt>
                <c:pt idx="25">
                  <c:v>0.20562840529332721</c:v>
                </c:pt>
                <c:pt idx="26">
                  <c:v>0.19882493488276207</c:v>
                </c:pt>
                <c:pt idx="27">
                  <c:v>0.21113655195181516</c:v>
                </c:pt>
                <c:pt idx="28">
                  <c:v>0.20301842032855913</c:v>
                </c:pt>
                <c:pt idx="29">
                  <c:v>0.19134080644587964</c:v>
                </c:pt>
                <c:pt idx="30">
                  <c:v>0.18465939684089544</c:v>
                </c:pt>
                <c:pt idx="31">
                  <c:v>0.1772146532544103</c:v>
                </c:pt>
                <c:pt idx="32">
                  <c:v>0.16810161382241179</c:v>
                </c:pt>
                <c:pt idx="33">
                  <c:v>0.16183585697545455</c:v>
                </c:pt>
                <c:pt idx="34">
                  <c:v>0.13415756402593407</c:v>
                </c:pt>
                <c:pt idx="35">
                  <c:v>0.12539728929475039</c:v>
                </c:pt>
                <c:pt idx="36">
                  <c:v>0.1224534092750892</c:v>
                </c:pt>
                <c:pt idx="37">
                  <c:v>0.11863087780069141</c:v>
                </c:pt>
                <c:pt idx="38">
                  <c:v>0.11387760207033655</c:v>
                </c:pt>
                <c:pt idx="39">
                  <c:v>0.10936696410168527</c:v>
                </c:pt>
                <c:pt idx="40">
                  <c:v>0.10375312458140561</c:v>
                </c:pt>
                <c:pt idx="41">
                  <c:v>0.10086138946608701</c:v>
                </c:pt>
                <c:pt idx="42">
                  <c:v>9.706193188083552E-2</c:v>
                </c:pt>
                <c:pt idx="43">
                  <c:v>9.5252661968724825E-2</c:v>
                </c:pt>
                <c:pt idx="44">
                  <c:v>8.8986879264475571E-2</c:v>
                </c:pt>
                <c:pt idx="45">
                  <c:v>8.5323632986916018E-2</c:v>
                </c:pt>
                <c:pt idx="46">
                  <c:v>8.2555959310091034E-2</c:v>
                </c:pt>
                <c:pt idx="47">
                  <c:v>7.938116119764059E-2</c:v>
                </c:pt>
                <c:pt idx="48">
                  <c:v>7.5367942067930155E-2</c:v>
                </c:pt>
                <c:pt idx="49">
                  <c:v>7.3227260379547549E-2</c:v>
                </c:pt>
                <c:pt idx="50">
                  <c:v>6.9747538174951731E-2</c:v>
                </c:pt>
                <c:pt idx="51">
                  <c:v>6.835161658344438E-2</c:v>
                </c:pt>
                <c:pt idx="52">
                  <c:v>6.5849638215327799E-2</c:v>
                </c:pt>
                <c:pt idx="53">
                  <c:v>6.3337025882840112E-2</c:v>
                </c:pt>
                <c:pt idx="54">
                  <c:v>6.1368483740735599E-2</c:v>
                </c:pt>
                <c:pt idx="55">
                  <c:v>5.8756416541600867E-2</c:v>
                </c:pt>
                <c:pt idx="56">
                  <c:v>5.7308558155246402E-2</c:v>
                </c:pt>
                <c:pt idx="57">
                  <c:v>5.5657516785668451E-2</c:v>
                </c:pt>
                <c:pt idx="58">
                  <c:v>5.3552070436327877E-2</c:v>
                </c:pt>
                <c:pt idx="59">
                  <c:v>5.315120545808235E-2</c:v>
                </c:pt>
                <c:pt idx="60">
                  <c:v>5.25058893482407E-2</c:v>
                </c:pt>
                <c:pt idx="61">
                  <c:v>5.1599626811751079E-2</c:v>
                </c:pt>
                <c:pt idx="62">
                  <c:v>5.0544839891975238E-2</c:v>
                </c:pt>
                <c:pt idx="63">
                  <c:v>5.0005647523144903E-2</c:v>
                </c:pt>
                <c:pt idx="64">
                  <c:v>4.8468680880175134E-2</c:v>
                </c:pt>
                <c:pt idx="65">
                  <c:v>4.7475679074561905E-2</c:v>
                </c:pt>
                <c:pt idx="66">
                  <c:v>4.5710311939069929E-2</c:v>
                </c:pt>
                <c:pt idx="67">
                  <c:v>4.3942025536320574E-2</c:v>
                </c:pt>
                <c:pt idx="68">
                  <c:v>4.3120224241047729E-2</c:v>
                </c:pt>
                <c:pt idx="69">
                  <c:v>4.3487227580854132E-2</c:v>
                </c:pt>
                <c:pt idx="70">
                  <c:v>4.2950446533566541E-2</c:v>
                </c:pt>
                <c:pt idx="71">
                  <c:v>4.2605495744084253E-2</c:v>
                </c:pt>
                <c:pt idx="72">
                  <c:v>4.2388037325843134E-2</c:v>
                </c:pt>
                <c:pt idx="73">
                  <c:v>4.3176886789358139E-2</c:v>
                </c:pt>
                <c:pt idx="74">
                  <c:v>4.3863901910291235E-2</c:v>
                </c:pt>
                <c:pt idx="75">
                  <c:v>4.3391339789629814E-2</c:v>
                </c:pt>
                <c:pt idx="76">
                  <c:v>4.2533566895504166E-2</c:v>
                </c:pt>
                <c:pt idx="77">
                  <c:v>4.3751283261111377E-2</c:v>
                </c:pt>
                <c:pt idx="78">
                  <c:v>4.4279753632131699E-2</c:v>
                </c:pt>
                <c:pt idx="79">
                  <c:v>4.4609126130303767E-2</c:v>
                </c:pt>
                <c:pt idx="80">
                  <c:v>4.4681083265916875E-2</c:v>
                </c:pt>
                <c:pt idx="81">
                  <c:v>4.545605293306839E-2</c:v>
                </c:pt>
                <c:pt idx="82">
                  <c:v>4.5693100142125222E-2</c:v>
                </c:pt>
                <c:pt idx="83">
                  <c:v>4.6016274678792553E-2</c:v>
                </c:pt>
                <c:pt idx="84">
                  <c:v>4.4617469738172016E-2</c:v>
                </c:pt>
                <c:pt idx="85">
                  <c:v>4.4214677117046783E-2</c:v>
                </c:pt>
                <c:pt idx="86">
                  <c:v>4.4518281924856996E-2</c:v>
                </c:pt>
                <c:pt idx="87">
                  <c:v>4.4601527018865779E-2</c:v>
                </c:pt>
                <c:pt idx="88">
                  <c:v>4.4318882781211107E-2</c:v>
                </c:pt>
                <c:pt idx="89">
                  <c:v>4.3752864661422086E-2</c:v>
                </c:pt>
                <c:pt idx="90">
                  <c:v>4.2456063181724304E-2</c:v>
                </c:pt>
                <c:pt idx="91">
                  <c:v>4.2373186973912423E-2</c:v>
                </c:pt>
                <c:pt idx="92">
                  <c:v>4.2307496757898001E-2</c:v>
                </c:pt>
                <c:pt idx="93">
                  <c:v>4.1438312022683881E-2</c:v>
                </c:pt>
                <c:pt idx="94">
                  <c:v>4.0615407394360752E-2</c:v>
                </c:pt>
                <c:pt idx="95">
                  <c:v>4.0196081282601465E-2</c:v>
                </c:pt>
                <c:pt idx="96">
                  <c:v>3.9971339463913888E-2</c:v>
                </c:pt>
                <c:pt idx="97">
                  <c:v>4.0950655996854705E-2</c:v>
                </c:pt>
                <c:pt idx="98">
                  <c:v>4.0471840258605486E-2</c:v>
                </c:pt>
                <c:pt idx="99">
                  <c:v>3.8977174361536818E-2</c:v>
                </c:pt>
                <c:pt idx="100">
                  <c:v>3.836489520881993E-2</c:v>
                </c:pt>
                <c:pt idx="101">
                  <c:v>3.7703891102578956E-2</c:v>
                </c:pt>
                <c:pt idx="102">
                  <c:v>3.7167094051046699E-2</c:v>
                </c:pt>
                <c:pt idx="103">
                  <c:v>3.7487753555535991E-2</c:v>
                </c:pt>
                <c:pt idx="104">
                  <c:v>3.7494714879417732E-2</c:v>
                </c:pt>
                <c:pt idx="105">
                  <c:v>3.8256012801138113E-2</c:v>
                </c:pt>
                <c:pt idx="106">
                  <c:v>4.0396640639687689E-2</c:v>
                </c:pt>
                <c:pt idx="107">
                  <c:v>4.0545681942030364E-2</c:v>
                </c:pt>
                <c:pt idx="108">
                  <c:v>4.1065040888471932E-2</c:v>
                </c:pt>
                <c:pt idx="109">
                  <c:v>4.7995699000782925E-2</c:v>
                </c:pt>
                <c:pt idx="110">
                  <c:v>4.7166919453729909E-2</c:v>
                </c:pt>
                <c:pt idx="111">
                  <c:v>4.7187533531830826E-2</c:v>
                </c:pt>
                <c:pt idx="112">
                  <c:v>4.7657694282578482E-2</c:v>
                </c:pt>
                <c:pt idx="113">
                  <c:v>4.7700591099113406E-2</c:v>
                </c:pt>
                <c:pt idx="114">
                  <c:v>4.7948066314849096E-2</c:v>
                </c:pt>
                <c:pt idx="115">
                  <c:v>4.8403762864077764E-2</c:v>
                </c:pt>
                <c:pt idx="116">
                  <c:v>4.2583891988966019E-2</c:v>
                </c:pt>
                <c:pt idx="117">
                  <c:v>4.3473001003181702E-2</c:v>
                </c:pt>
                <c:pt idx="118">
                  <c:v>4.578457222882077E-2</c:v>
                </c:pt>
                <c:pt idx="119">
                  <c:v>4.6457519268856946E-2</c:v>
                </c:pt>
                <c:pt idx="120">
                  <c:v>4.7814252394600069E-2</c:v>
                </c:pt>
                <c:pt idx="121">
                  <c:v>4.8673708482840701E-2</c:v>
                </c:pt>
                <c:pt idx="122">
                  <c:v>4.9790048933839919E-2</c:v>
                </c:pt>
                <c:pt idx="123">
                  <c:v>5.0783387170730741E-2</c:v>
                </c:pt>
                <c:pt idx="124">
                  <c:v>5.5723722297010489E-2</c:v>
                </c:pt>
                <c:pt idx="125">
                  <c:v>5.5199135349876659E-2</c:v>
                </c:pt>
                <c:pt idx="126">
                  <c:v>5.6479789317486366E-2</c:v>
                </c:pt>
                <c:pt idx="127">
                  <c:v>5.7411054228971289E-2</c:v>
                </c:pt>
                <c:pt idx="128">
                  <c:v>6.0127690918192388E-2</c:v>
                </c:pt>
                <c:pt idx="129">
                  <c:v>6.4546178829511441E-2</c:v>
                </c:pt>
                <c:pt idx="130">
                  <c:v>6.6684530260546035E-2</c:v>
                </c:pt>
                <c:pt idx="131">
                  <c:v>6.5637070111414481E-2</c:v>
                </c:pt>
                <c:pt idx="132">
                  <c:v>6.6795796148227879E-2</c:v>
                </c:pt>
                <c:pt idx="133">
                  <c:v>6.8223106153626811E-2</c:v>
                </c:pt>
                <c:pt idx="134">
                  <c:v>7.0007023156443415E-2</c:v>
                </c:pt>
                <c:pt idx="135">
                  <c:v>7.151558447506276E-2</c:v>
                </c:pt>
                <c:pt idx="136">
                  <c:v>6.9768125674484413E-2</c:v>
                </c:pt>
                <c:pt idx="137">
                  <c:v>7.0673640977254301E-2</c:v>
                </c:pt>
                <c:pt idx="138">
                  <c:v>7.4348701228981351E-2</c:v>
                </c:pt>
                <c:pt idx="139">
                  <c:v>7.8409063982336186E-2</c:v>
                </c:pt>
                <c:pt idx="140">
                  <c:v>8.0321412562062877E-2</c:v>
                </c:pt>
                <c:pt idx="141">
                  <c:v>8.2142576562614533E-2</c:v>
                </c:pt>
                <c:pt idx="142">
                  <c:v>8.4336744964758251E-2</c:v>
                </c:pt>
                <c:pt idx="143">
                  <c:v>8.728934121621713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76-47E7-8949-3F204951D5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124096"/>
        <c:axId val="71114112"/>
      </c:lineChart>
      <c:valAx>
        <c:axId val="71114112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124096"/>
        <c:crosses val="max"/>
        <c:crossBetween val="between"/>
      </c:valAx>
      <c:dateAx>
        <c:axId val="71124096"/>
        <c:scaling>
          <c:orientation val="minMax"/>
        </c:scaling>
        <c:delete val="0"/>
        <c:axPos val="b"/>
        <c:numFmt formatCode="d\-mm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114112"/>
        <c:crosses val="autoZero"/>
        <c:auto val="1"/>
        <c:lblOffset val="100"/>
        <c:baseTimeUnit val="days"/>
        <c:majorUnit val="7"/>
        <c:majorTimeUnit val="days"/>
        <c:minorUnit val="1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99C8DB-21C6-4815-9B5D-3BCB4DD6CCC2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580D4F5C-7B26-49DF-9A56-6F987F5CAA09}">
      <dgm:prSet/>
      <dgm:spPr>
        <a:xfrm>
          <a:off x="313182" y="1023983"/>
          <a:ext cx="4384548" cy="472320"/>
        </a:xfrm>
        <a:prstGeom prst="roundRect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pidemiological rationale</a:t>
          </a:r>
        </a:p>
      </dgm:t>
    </dgm:pt>
    <dgm:pt modelId="{CAB8430A-1887-41BF-BE5F-7B82ADCEB68B}" type="parTrans" cxnId="{5FCD30D7-1CFF-4C30-BC26-1BB82B97DBC7}">
      <dgm:prSet/>
      <dgm:spPr/>
      <dgm:t>
        <a:bodyPr/>
        <a:lstStyle/>
        <a:p>
          <a:endParaRPr lang="en-US"/>
        </a:p>
      </dgm:t>
    </dgm:pt>
    <dgm:pt modelId="{7FD9FD8A-67C8-462F-944A-8D8AF2E090AA}" type="sibTrans" cxnId="{5FCD30D7-1CFF-4C30-BC26-1BB82B97DBC7}">
      <dgm:prSet/>
      <dgm:spPr/>
      <dgm:t>
        <a:bodyPr/>
        <a:lstStyle/>
        <a:p>
          <a:endParaRPr lang="en-US"/>
        </a:p>
      </dgm:t>
    </dgm:pt>
    <dgm:pt modelId="{4BB31E7E-2CE6-4AAB-B1F7-969EBD5427B9}">
      <dgm:prSet/>
      <dgm:spPr>
        <a:xfrm>
          <a:off x="0" y="1260143"/>
          <a:ext cx="6263640" cy="14616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ustained increase in new cases in last 14 days</a:t>
          </a:r>
        </a:p>
      </dgm:t>
    </dgm:pt>
    <dgm:pt modelId="{0D402C9B-23F9-42EE-A6EC-ED681C1D958E}" type="parTrans" cxnId="{7FA19B6E-A305-4C1E-B5B5-29D2802B72D5}">
      <dgm:prSet/>
      <dgm:spPr/>
      <dgm:t>
        <a:bodyPr/>
        <a:lstStyle/>
        <a:p>
          <a:endParaRPr lang="en-US"/>
        </a:p>
      </dgm:t>
    </dgm:pt>
    <dgm:pt modelId="{00728D2A-540D-49FB-922A-FEF6A5B8FA0B}" type="sibTrans" cxnId="{7FA19B6E-A305-4C1E-B5B5-29D2802B72D5}">
      <dgm:prSet/>
      <dgm:spPr/>
      <dgm:t>
        <a:bodyPr/>
        <a:lstStyle/>
        <a:p>
          <a:endParaRPr lang="en-US"/>
        </a:p>
      </dgm:t>
    </dgm:pt>
    <dgm:pt modelId="{11C3E7DF-86E1-4592-924B-BD1C5B857144}">
      <dgm:prSet/>
      <dgm:spPr>
        <a:xfrm>
          <a:off x="0" y="1260143"/>
          <a:ext cx="6263640" cy="14616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Increased admissions</a:t>
          </a:r>
        </a:p>
      </dgm:t>
    </dgm:pt>
    <dgm:pt modelId="{62276B26-0A12-4C02-B35A-79AB13E682DB}" type="parTrans" cxnId="{1226538E-A2CF-4619-BE1A-FD2D7AB53E9F}">
      <dgm:prSet/>
      <dgm:spPr/>
      <dgm:t>
        <a:bodyPr/>
        <a:lstStyle/>
        <a:p>
          <a:endParaRPr lang="en-US"/>
        </a:p>
      </dgm:t>
    </dgm:pt>
    <dgm:pt modelId="{96C90E2A-309D-49E9-84C7-78A770F78753}" type="sibTrans" cxnId="{1226538E-A2CF-4619-BE1A-FD2D7AB53E9F}">
      <dgm:prSet/>
      <dgm:spPr/>
      <dgm:t>
        <a:bodyPr/>
        <a:lstStyle/>
        <a:p>
          <a:endParaRPr lang="en-US"/>
        </a:p>
      </dgm:t>
    </dgm:pt>
    <dgm:pt modelId="{0CD93E1C-2E18-4040-B126-0C7EDD914EF5}">
      <dgm:prSet/>
      <dgm:spPr>
        <a:xfrm>
          <a:off x="0" y="1260143"/>
          <a:ext cx="6263640" cy="14616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Increased positivity rate (  almost 10% at national level)</a:t>
          </a:r>
        </a:p>
      </dgm:t>
    </dgm:pt>
    <dgm:pt modelId="{7964C72A-87EF-4204-A4F8-6C384B350825}" type="parTrans" cxnId="{DB750290-886F-4123-AE05-786727D3F929}">
      <dgm:prSet/>
      <dgm:spPr/>
      <dgm:t>
        <a:bodyPr/>
        <a:lstStyle/>
        <a:p>
          <a:endParaRPr lang="en-US"/>
        </a:p>
      </dgm:t>
    </dgm:pt>
    <dgm:pt modelId="{E56E1C9C-FB91-4937-915D-B723002C4545}" type="sibTrans" cxnId="{DB750290-886F-4123-AE05-786727D3F929}">
      <dgm:prSet/>
      <dgm:spPr/>
      <dgm:t>
        <a:bodyPr/>
        <a:lstStyle/>
        <a:p>
          <a:endParaRPr lang="en-US"/>
        </a:p>
      </dgm:t>
    </dgm:pt>
    <dgm:pt modelId="{F204CC41-421C-4867-B6B3-CAD5BFA26610}">
      <dgm:prSet/>
      <dgm:spPr>
        <a:xfrm>
          <a:off x="313182" y="2808143"/>
          <a:ext cx="4384548" cy="472320"/>
        </a:xfrm>
        <a:prstGeom prst="roundRect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rivers of the recent spike in cases  transmission</a:t>
          </a:r>
        </a:p>
      </dgm:t>
    </dgm:pt>
    <dgm:pt modelId="{AF1384DD-5223-4608-A7A8-9AA9399E3700}" type="parTrans" cxnId="{1236BFC1-B49A-467C-997C-6364BB217286}">
      <dgm:prSet/>
      <dgm:spPr/>
      <dgm:t>
        <a:bodyPr/>
        <a:lstStyle/>
        <a:p>
          <a:endParaRPr lang="en-US"/>
        </a:p>
      </dgm:t>
    </dgm:pt>
    <dgm:pt modelId="{E6B2AE20-9F37-43FD-99B6-C35FC76A0B0D}" type="sibTrans" cxnId="{1236BFC1-B49A-467C-997C-6364BB217286}">
      <dgm:prSet/>
      <dgm:spPr/>
      <dgm:t>
        <a:bodyPr/>
        <a:lstStyle/>
        <a:p>
          <a:endParaRPr lang="en-US"/>
        </a:p>
      </dgm:t>
    </dgm:pt>
    <dgm:pt modelId="{83EA20B3-6C4E-4CD4-823C-9B6F1C84B0EE}">
      <dgm:prSet/>
      <dgm:spPr>
        <a:xfrm>
          <a:off x="0" y="3044303"/>
          <a:ext cx="6263640" cy="14364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-1455363"/>
              <a:satOff val="-83928"/>
              <a:lumOff val="8628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ocial gatherings without NPIs or following guidelines on numbers</a:t>
          </a:r>
        </a:p>
      </dgm:t>
    </dgm:pt>
    <dgm:pt modelId="{2B641F74-F9D7-46E6-B00B-A8ABC5425493}" type="parTrans" cxnId="{0C9A0D78-1EED-42A2-B42F-647A65A52CC7}">
      <dgm:prSet/>
      <dgm:spPr/>
      <dgm:t>
        <a:bodyPr/>
        <a:lstStyle/>
        <a:p>
          <a:endParaRPr lang="en-US"/>
        </a:p>
      </dgm:t>
    </dgm:pt>
    <dgm:pt modelId="{A1CF2130-2FD4-4C80-B5A2-1207604D2E8F}" type="sibTrans" cxnId="{0C9A0D78-1EED-42A2-B42F-647A65A52CC7}">
      <dgm:prSet/>
      <dgm:spPr/>
      <dgm:t>
        <a:bodyPr/>
        <a:lstStyle/>
        <a:p>
          <a:endParaRPr lang="en-US"/>
        </a:p>
      </dgm:t>
    </dgm:pt>
    <dgm:pt modelId="{EDF95CB3-850D-421D-B1BA-6C9E9FE3E7B0}">
      <dgm:prSet/>
      <dgm:spPr>
        <a:xfrm>
          <a:off x="0" y="3044303"/>
          <a:ext cx="6263640" cy="14364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-1455363"/>
              <a:satOff val="-83928"/>
              <a:lumOff val="8628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Funerals and after tears parties</a:t>
          </a:r>
        </a:p>
      </dgm:t>
    </dgm:pt>
    <dgm:pt modelId="{E5118BAE-B773-4CEF-A532-C5093B986D87}" type="parTrans" cxnId="{84FD3A44-9355-4127-B6E4-74206F2D95B3}">
      <dgm:prSet/>
      <dgm:spPr/>
      <dgm:t>
        <a:bodyPr/>
        <a:lstStyle/>
        <a:p>
          <a:endParaRPr lang="en-US"/>
        </a:p>
      </dgm:t>
    </dgm:pt>
    <dgm:pt modelId="{DF832C3F-9E86-4414-BF04-3EABE4FCE8E9}" type="sibTrans" cxnId="{84FD3A44-9355-4127-B6E4-74206F2D95B3}">
      <dgm:prSet/>
      <dgm:spPr/>
      <dgm:t>
        <a:bodyPr/>
        <a:lstStyle/>
        <a:p>
          <a:endParaRPr lang="en-US"/>
        </a:p>
      </dgm:t>
    </dgm:pt>
    <dgm:pt modelId="{C748417F-39BB-49FC-BF43-DA54F7F10195}">
      <dgm:prSet/>
      <dgm:spPr>
        <a:xfrm>
          <a:off x="0" y="3044303"/>
          <a:ext cx="6263640" cy="14364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-1455363"/>
              <a:satOff val="-83928"/>
              <a:lumOff val="8628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Clusters in schools( Matric Camps, sport camps) </a:t>
          </a:r>
        </a:p>
      </dgm:t>
    </dgm:pt>
    <dgm:pt modelId="{CF177396-6CF7-42F8-8E07-3D4FA92AA0ED}" type="parTrans" cxnId="{F48587E6-ED53-4B26-BC5D-650144328E74}">
      <dgm:prSet/>
      <dgm:spPr/>
      <dgm:t>
        <a:bodyPr/>
        <a:lstStyle/>
        <a:p>
          <a:endParaRPr lang="en-US"/>
        </a:p>
      </dgm:t>
    </dgm:pt>
    <dgm:pt modelId="{1C6638FF-5CAA-420F-A29E-12171494E9AF}" type="sibTrans" cxnId="{F48587E6-ED53-4B26-BC5D-650144328E74}">
      <dgm:prSet/>
      <dgm:spPr/>
      <dgm:t>
        <a:bodyPr/>
        <a:lstStyle/>
        <a:p>
          <a:endParaRPr lang="en-US"/>
        </a:p>
      </dgm:t>
    </dgm:pt>
    <dgm:pt modelId="{8A0ACCD2-2090-4ADE-B148-0157F7BE6D93}" type="pres">
      <dgm:prSet presAssocID="{5899C8DB-21C6-4815-9B5D-3BCB4DD6CCC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2F499F63-5097-4E7A-8E3A-04FE0B1C4390}" type="pres">
      <dgm:prSet presAssocID="{580D4F5C-7B26-49DF-9A56-6F987F5CAA09}" presName="parentLin" presStyleCnt="0"/>
      <dgm:spPr/>
    </dgm:pt>
    <dgm:pt modelId="{5A4BDFBA-AC94-4335-9AEE-9926CA5ED3B0}" type="pres">
      <dgm:prSet presAssocID="{580D4F5C-7B26-49DF-9A56-6F987F5CAA09}" presName="parentLeftMargin" presStyleLbl="node1" presStyleIdx="0" presStyleCnt="2"/>
      <dgm:spPr/>
      <dgm:t>
        <a:bodyPr/>
        <a:lstStyle/>
        <a:p>
          <a:endParaRPr lang="en-ZA"/>
        </a:p>
      </dgm:t>
    </dgm:pt>
    <dgm:pt modelId="{A5128601-4CE5-4254-9A07-0C6E5585400B}" type="pres">
      <dgm:prSet presAssocID="{580D4F5C-7B26-49DF-9A56-6F987F5CAA09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65FD7FD-9F7A-4E81-8FE0-3DB41D8B4861}" type="pres">
      <dgm:prSet presAssocID="{580D4F5C-7B26-49DF-9A56-6F987F5CAA09}" presName="negativeSpace" presStyleCnt="0"/>
      <dgm:spPr/>
    </dgm:pt>
    <dgm:pt modelId="{9641E391-14E9-4182-AC5E-102D7B82A716}" type="pres">
      <dgm:prSet presAssocID="{580D4F5C-7B26-49DF-9A56-6F987F5CAA09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79B6ADB-393A-473A-8BCD-84D5EDB3CDA0}" type="pres">
      <dgm:prSet presAssocID="{7FD9FD8A-67C8-462F-944A-8D8AF2E090AA}" presName="spaceBetweenRectangles" presStyleCnt="0"/>
      <dgm:spPr/>
    </dgm:pt>
    <dgm:pt modelId="{8D3ECCDE-61E6-43B2-A9C3-570B48EB42C7}" type="pres">
      <dgm:prSet presAssocID="{F204CC41-421C-4867-B6B3-CAD5BFA26610}" presName="parentLin" presStyleCnt="0"/>
      <dgm:spPr/>
    </dgm:pt>
    <dgm:pt modelId="{D4D04D79-AE9F-4E03-9CA4-213BCA88F375}" type="pres">
      <dgm:prSet presAssocID="{F204CC41-421C-4867-B6B3-CAD5BFA26610}" presName="parentLeftMargin" presStyleLbl="node1" presStyleIdx="0" presStyleCnt="2"/>
      <dgm:spPr/>
      <dgm:t>
        <a:bodyPr/>
        <a:lstStyle/>
        <a:p>
          <a:endParaRPr lang="en-ZA"/>
        </a:p>
      </dgm:t>
    </dgm:pt>
    <dgm:pt modelId="{A479D180-A5B0-49FE-BE12-8C26677BADD5}" type="pres">
      <dgm:prSet presAssocID="{F204CC41-421C-4867-B6B3-CAD5BFA26610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360A25D-E404-47CE-ADED-985A3A1721E2}" type="pres">
      <dgm:prSet presAssocID="{F204CC41-421C-4867-B6B3-CAD5BFA26610}" presName="negativeSpace" presStyleCnt="0"/>
      <dgm:spPr/>
    </dgm:pt>
    <dgm:pt modelId="{BE528298-7895-47F2-8E3B-F5F5D97E6637}" type="pres">
      <dgm:prSet presAssocID="{F204CC41-421C-4867-B6B3-CAD5BFA26610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F48587E6-ED53-4B26-BC5D-650144328E74}" srcId="{F204CC41-421C-4867-B6B3-CAD5BFA26610}" destId="{C748417F-39BB-49FC-BF43-DA54F7F10195}" srcOrd="2" destOrd="0" parTransId="{CF177396-6CF7-42F8-8E07-3D4FA92AA0ED}" sibTransId="{1C6638FF-5CAA-420F-A29E-12171494E9AF}"/>
    <dgm:cxn modelId="{9CEB7F34-54C4-49DD-8210-83BF8BA43F38}" type="presOf" srcId="{0CD93E1C-2E18-4040-B126-0C7EDD914EF5}" destId="{9641E391-14E9-4182-AC5E-102D7B82A716}" srcOrd="0" destOrd="2" presId="urn:microsoft.com/office/officeart/2005/8/layout/list1"/>
    <dgm:cxn modelId="{5FCD30D7-1CFF-4C30-BC26-1BB82B97DBC7}" srcId="{5899C8DB-21C6-4815-9B5D-3BCB4DD6CCC2}" destId="{580D4F5C-7B26-49DF-9A56-6F987F5CAA09}" srcOrd="0" destOrd="0" parTransId="{CAB8430A-1887-41BF-BE5F-7B82ADCEB68B}" sibTransId="{7FD9FD8A-67C8-462F-944A-8D8AF2E090AA}"/>
    <dgm:cxn modelId="{1236BFC1-B49A-467C-997C-6364BB217286}" srcId="{5899C8DB-21C6-4815-9B5D-3BCB4DD6CCC2}" destId="{F204CC41-421C-4867-B6B3-CAD5BFA26610}" srcOrd="1" destOrd="0" parTransId="{AF1384DD-5223-4608-A7A8-9AA9399E3700}" sibTransId="{E6B2AE20-9F37-43FD-99B6-C35FC76A0B0D}"/>
    <dgm:cxn modelId="{0C9A0D78-1EED-42A2-B42F-647A65A52CC7}" srcId="{F204CC41-421C-4867-B6B3-CAD5BFA26610}" destId="{83EA20B3-6C4E-4CD4-823C-9B6F1C84B0EE}" srcOrd="0" destOrd="0" parTransId="{2B641F74-F9D7-46E6-B00B-A8ABC5425493}" sibTransId="{A1CF2130-2FD4-4C80-B5A2-1207604D2E8F}"/>
    <dgm:cxn modelId="{1AFB60E2-BACF-4BF5-BC9A-B58BD1CA9A67}" type="presOf" srcId="{F204CC41-421C-4867-B6B3-CAD5BFA26610}" destId="{A479D180-A5B0-49FE-BE12-8C26677BADD5}" srcOrd="1" destOrd="0" presId="urn:microsoft.com/office/officeart/2005/8/layout/list1"/>
    <dgm:cxn modelId="{C3055C93-FA2B-4C9A-AAD9-97EE4B153C0F}" type="presOf" srcId="{83EA20B3-6C4E-4CD4-823C-9B6F1C84B0EE}" destId="{BE528298-7895-47F2-8E3B-F5F5D97E6637}" srcOrd="0" destOrd="0" presId="urn:microsoft.com/office/officeart/2005/8/layout/list1"/>
    <dgm:cxn modelId="{A3822CF1-A53A-4B5B-AA0E-3E8364E6A97E}" type="presOf" srcId="{580D4F5C-7B26-49DF-9A56-6F987F5CAA09}" destId="{5A4BDFBA-AC94-4335-9AEE-9926CA5ED3B0}" srcOrd="0" destOrd="0" presId="urn:microsoft.com/office/officeart/2005/8/layout/list1"/>
    <dgm:cxn modelId="{DB750290-886F-4123-AE05-786727D3F929}" srcId="{580D4F5C-7B26-49DF-9A56-6F987F5CAA09}" destId="{0CD93E1C-2E18-4040-B126-0C7EDD914EF5}" srcOrd="2" destOrd="0" parTransId="{7964C72A-87EF-4204-A4F8-6C384B350825}" sibTransId="{E56E1C9C-FB91-4937-915D-B723002C4545}"/>
    <dgm:cxn modelId="{B329117A-8FBB-42CF-91E7-087F747882D8}" type="presOf" srcId="{F204CC41-421C-4867-B6B3-CAD5BFA26610}" destId="{D4D04D79-AE9F-4E03-9CA4-213BCA88F375}" srcOrd="0" destOrd="0" presId="urn:microsoft.com/office/officeart/2005/8/layout/list1"/>
    <dgm:cxn modelId="{DBCB6281-FC94-43FF-BDFA-D242266A5BE9}" type="presOf" srcId="{580D4F5C-7B26-49DF-9A56-6F987F5CAA09}" destId="{A5128601-4CE5-4254-9A07-0C6E5585400B}" srcOrd="1" destOrd="0" presId="urn:microsoft.com/office/officeart/2005/8/layout/list1"/>
    <dgm:cxn modelId="{723178FB-116F-4863-A930-D04E3FFAB737}" type="presOf" srcId="{5899C8DB-21C6-4815-9B5D-3BCB4DD6CCC2}" destId="{8A0ACCD2-2090-4ADE-B148-0157F7BE6D93}" srcOrd="0" destOrd="0" presId="urn:microsoft.com/office/officeart/2005/8/layout/list1"/>
    <dgm:cxn modelId="{EF721C22-DC0E-4283-9966-A239046177DD}" type="presOf" srcId="{4BB31E7E-2CE6-4AAB-B1F7-969EBD5427B9}" destId="{9641E391-14E9-4182-AC5E-102D7B82A716}" srcOrd="0" destOrd="0" presId="urn:microsoft.com/office/officeart/2005/8/layout/list1"/>
    <dgm:cxn modelId="{1226538E-A2CF-4619-BE1A-FD2D7AB53E9F}" srcId="{580D4F5C-7B26-49DF-9A56-6F987F5CAA09}" destId="{11C3E7DF-86E1-4592-924B-BD1C5B857144}" srcOrd="1" destOrd="0" parTransId="{62276B26-0A12-4C02-B35A-79AB13E682DB}" sibTransId="{96C90E2A-309D-49E9-84C7-78A770F78753}"/>
    <dgm:cxn modelId="{B1CB5C55-4EE1-429D-867B-0596DE026BDD}" type="presOf" srcId="{EDF95CB3-850D-421D-B1BA-6C9E9FE3E7B0}" destId="{BE528298-7895-47F2-8E3B-F5F5D97E6637}" srcOrd="0" destOrd="1" presId="urn:microsoft.com/office/officeart/2005/8/layout/list1"/>
    <dgm:cxn modelId="{7FA19B6E-A305-4C1E-B5B5-29D2802B72D5}" srcId="{580D4F5C-7B26-49DF-9A56-6F987F5CAA09}" destId="{4BB31E7E-2CE6-4AAB-B1F7-969EBD5427B9}" srcOrd="0" destOrd="0" parTransId="{0D402C9B-23F9-42EE-A6EC-ED681C1D958E}" sibTransId="{00728D2A-540D-49FB-922A-FEF6A5B8FA0B}"/>
    <dgm:cxn modelId="{EE50BD13-00CC-4378-88D2-BF436B030F9A}" type="presOf" srcId="{11C3E7DF-86E1-4592-924B-BD1C5B857144}" destId="{9641E391-14E9-4182-AC5E-102D7B82A716}" srcOrd="0" destOrd="1" presId="urn:microsoft.com/office/officeart/2005/8/layout/list1"/>
    <dgm:cxn modelId="{329AB407-EC38-497D-95DC-69461EC187F1}" type="presOf" srcId="{C748417F-39BB-49FC-BF43-DA54F7F10195}" destId="{BE528298-7895-47F2-8E3B-F5F5D97E6637}" srcOrd="0" destOrd="2" presId="urn:microsoft.com/office/officeart/2005/8/layout/list1"/>
    <dgm:cxn modelId="{84FD3A44-9355-4127-B6E4-74206F2D95B3}" srcId="{F204CC41-421C-4867-B6B3-CAD5BFA26610}" destId="{EDF95CB3-850D-421D-B1BA-6C9E9FE3E7B0}" srcOrd="1" destOrd="0" parTransId="{E5118BAE-B773-4CEF-A532-C5093B986D87}" sibTransId="{DF832C3F-9E86-4414-BF04-3EABE4FCE8E9}"/>
    <dgm:cxn modelId="{2D0A140C-7D0F-45AA-BB98-65C280FD05CA}" type="presParOf" srcId="{8A0ACCD2-2090-4ADE-B148-0157F7BE6D93}" destId="{2F499F63-5097-4E7A-8E3A-04FE0B1C4390}" srcOrd="0" destOrd="0" presId="urn:microsoft.com/office/officeart/2005/8/layout/list1"/>
    <dgm:cxn modelId="{2885437E-1DD2-4B6D-9A25-8DA67E8F3520}" type="presParOf" srcId="{2F499F63-5097-4E7A-8E3A-04FE0B1C4390}" destId="{5A4BDFBA-AC94-4335-9AEE-9926CA5ED3B0}" srcOrd="0" destOrd="0" presId="urn:microsoft.com/office/officeart/2005/8/layout/list1"/>
    <dgm:cxn modelId="{FD3DA033-98BF-4DE7-A3FF-AC931B48366E}" type="presParOf" srcId="{2F499F63-5097-4E7A-8E3A-04FE0B1C4390}" destId="{A5128601-4CE5-4254-9A07-0C6E5585400B}" srcOrd="1" destOrd="0" presId="urn:microsoft.com/office/officeart/2005/8/layout/list1"/>
    <dgm:cxn modelId="{FC01C2DD-1FF1-4E87-9E99-674956C30BFE}" type="presParOf" srcId="{8A0ACCD2-2090-4ADE-B148-0157F7BE6D93}" destId="{B65FD7FD-9F7A-4E81-8FE0-3DB41D8B4861}" srcOrd="1" destOrd="0" presId="urn:microsoft.com/office/officeart/2005/8/layout/list1"/>
    <dgm:cxn modelId="{74F6FBBC-A353-45AD-96DD-31912C12501A}" type="presParOf" srcId="{8A0ACCD2-2090-4ADE-B148-0157F7BE6D93}" destId="{9641E391-14E9-4182-AC5E-102D7B82A716}" srcOrd="2" destOrd="0" presId="urn:microsoft.com/office/officeart/2005/8/layout/list1"/>
    <dgm:cxn modelId="{C8815627-CAF3-43DF-9BCB-BF0507866E63}" type="presParOf" srcId="{8A0ACCD2-2090-4ADE-B148-0157F7BE6D93}" destId="{D79B6ADB-393A-473A-8BCD-84D5EDB3CDA0}" srcOrd="3" destOrd="0" presId="urn:microsoft.com/office/officeart/2005/8/layout/list1"/>
    <dgm:cxn modelId="{C4D29DDD-CD0A-4644-8D67-3F09422E2AA0}" type="presParOf" srcId="{8A0ACCD2-2090-4ADE-B148-0157F7BE6D93}" destId="{8D3ECCDE-61E6-43B2-A9C3-570B48EB42C7}" srcOrd="4" destOrd="0" presId="urn:microsoft.com/office/officeart/2005/8/layout/list1"/>
    <dgm:cxn modelId="{820E34A9-79A9-4F7B-97FA-A2FC8B80C442}" type="presParOf" srcId="{8D3ECCDE-61E6-43B2-A9C3-570B48EB42C7}" destId="{D4D04D79-AE9F-4E03-9CA4-213BCA88F375}" srcOrd="0" destOrd="0" presId="urn:microsoft.com/office/officeart/2005/8/layout/list1"/>
    <dgm:cxn modelId="{310E284A-699B-4AFA-8E2C-8A59EA454394}" type="presParOf" srcId="{8D3ECCDE-61E6-43B2-A9C3-570B48EB42C7}" destId="{A479D180-A5B0-49FE-BE12-8C26677BADD5}" srcOrd="1" destOrd="0" presId="urn:microsoft.com/office/officeart/2005/8/layout/list1"/>
    <dgm:cxn modelId="{5BAAC064-1D51-4B0F-964D-E4D672D0C4D1}" type="presParOf" srcId="{8A0ACCD2-2090-4ADE-B148-0157F7BE6D93}" destId="{1360A25D-E404-47CE-ADED-985A3A1721E2}" srcOrd="5" destOrd="0" presId="urn:microsoft.com/office/officeart/2005/8/layout/list1"/>
    <dgm:cxn modelId="{C97F7F27-F28F-4DD1-8863-145344810CC3}" type="presParOf" srcId="{8A0ACCD2-2090-4ADE-B148-0157F7BE6D93}" destId="{BE528298-7895-47F2-8E3B-F5F5D97E6637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99C8DB-21C6-4815-9B5D-3BCB4DD6CCC2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580D4F5C-7B26-49DF-9A56-6F987F5CAA09}">
      <dgm:prSet/>
      <dgm:spPr>
        <a:xfrm>
          <a:off x="313182" y="46403"/>
          <a:ext cx="4384548" cy="708480"/>
        </a:xfrm>
        <a:prstGeom prst="roundRect">
          <a:avLst/>
        </a:prstGeom>
      </dgm:spPr>
      <dgm:t>
        <a:bodyPr/>
        <a:lstStyle/>
        <a:p>
          <a:pPr>
            <a:buClrTx/>
            <a:buSzTx/>
            <a:buFont typeface="Arial" pitchFamily="34" charset="0"/>
            <a:buNone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Health system capacity</a:t>
          </a:r>
          <a:endParaRPr lang="en-US" dirty="0">
            <a:latin typeface="Calibri" panose="020F0502020204030204"/>
            <a:ea typeface="+mn-ea"/>
            <a:cs typeface="+mn-cs"/>
          </a:endParaRPr>
        </a:p>
      </dgm:t>
    </dgm:pt>
    <dgm:pt modelId="{CAB8430A-1887-41BF-BE5F-7B82ADCEB68B}" type="parTrans" cxnId="{5FCD30D7-1CFF-4C30-BC26-1BB82B97DBC7}">
      <dgm:prSet/>
      <dgm:spPr/>
      <dgm:t>
        <a:bodyPr/>
        <a:lstStyle/>
        <a:p>
          <a:endParaRPr lang="en-US"/>
        </a:p>
      </dgm:t>
    </dgm:pt>
    <dgm:pt modelId="{7FD9FD8A-67C8-462F-944A-8D8AF2E090AA}" type="sibTrans" cxnId="{5FCD30D7-1CFF-4C30-BC26-1BB82B97DBC7}">
      <dgm:prSet/>
      <dgm:spPr/>
      <dgm:t>
        <a:bodyPr/>
        <a:lstStyle/>
        <a:p>
          <a:endParaRPr lang="en-US"/>
        </a:p>
      </dgm:t>
    </dgm:pt>
    <dgm:pt modelId="{4BB31E7E-2CE6-4AAB-B1F7-969EBD5427B9}">
      <dgm:prSet/>
      <dgm:spPr>
        <a:xfrm>
          <a:off x="0" y="400643"/>
          <a:ext cx="6263640" cy="2494800"/>
        </a:xfrm>
        <a:prstGeom prst="rect">
          <a:avLst/>
        </a:prstGeom>
      </dgm:spPr>
      <dgm:t>
        <a:bodyPr/>
        <a:lstStyle/>
        <a:p>
          <a:pPr>
            <a:buChar char="•"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ncreasing admissions in 8 provinces </a:t>
          </a:r>
          <a:endParaRPr lang="en-US" dirty="0">
            <a:latin typeface="Calibri" panose="020F0502020204030204"/>
            <a:ea typeface="+mn-ea"/>
            <a:cs typeface="+mn-cs"/>
          </a:endParaRPr>
        </a:p>
      </dgm:t>
    </dgm:pt>
    <dgm:pt modelId="{0D402C9B-23F9-42EE-A6EC-ED681C1D958E}" type="parTrans" cxnId="{7FA19B6E-A305-4C1E-B5B5-29D2802B72D5}">
      <dgm:prSet/>
      <dgm:spPr/>
      <dgm:t>
        <a:bodyPr/>
        <a:lstStyle/>
        <a:p>
          <a:endParaRPr lang="en-US"/>
        </a:p>
      </dgm:t>
    </dgm:pt>
    <dgm:pt modelId="{00728D2A-540D-49FB-922A-FEF6A5B8FA0B}" type="sibTrans" cxnId="{7FA19B6E-A305-4C1E-B5B5-29D2802B72D5}">
      <dgm:prSet/>
      <dgm:spPr/>
      <dgm:t>
        <a:bodyPr/>
        <a:lstStyle/>
        <a:p>
          <a:endParaRPr lang="en-US"/>
        </a:p>
      </dgm:t>
    </dgm:pt>
    <dgm:pt modelId="{F204CC41-421C-4867-B6B3-CAD5BFA26610}">
      <dgm:prSet/>
      <dgm:spPr>
        <a:xfrm>
          <a:off x="313182" y="3025044"/>
          <a:ext cx="4384548" cy="708480"/>
        </a:xfrm>
        <a:prstGeom prst="roundRect">
          <a:avLst/>
        </a:prstGeom>
      </dgm:spPr>
      <dgm:t>
        <a:bodyPr/>
        <a:lstStyle/>
        <a:p>
          <a:pPr>
            <a:buNone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Behavioural and social </a:t>
          </a:r>
          <a:endParaRPr lang="en-US" dirty="0">
            <a:latin typeface="Calibri" panose="020F0502020204030204"/>
            <a:ea typeface="+mn-ea"/>
            <a:cs typeface="+mn-cs"/>
          </a:endParaRPr>
        </a:p>
      </dgm:t>
    </dgm:pt>
    <dgm:pt modelId="{AF1384DD-5223-4608-A7A8-9AA9399E3700}" type="parTrans" cxnId="{1236BFC1-B49A-467C-997C-6364BB217286}">
      <dgm:prSet/>
      <dgm:spPr/>
      <dgm:t>
        <a:bodyPr/>
        <a:lstStyle/>
        <a:p>
          <a:endParaRPr lang="en-US"/>
        </a:p>
      </dgm:t>
    </dgm:pt>
    <dgm:pt modelId="{E6B2AE20-9F37-43FD-99B6-C35FC76A0B0D}" type="sibTrans" cxnId="{1236BFC1-B49A-467C-997C-6364BB217286}">
      <dgm:prSet/>
      <dgm:spPr/>
      <dgm:t>
        <a:bodyPr/>
        <a:lstStyle/>
        <a:p>
          <a:endParaRPr lang="en-US"/>
        </a:p>
      </dgm:t>
    </dgm:pt>
    <dgm:pt modelId="{83EA20B3-6C4E-4CD4-823C-9B6F1C84B0EE}">
      <dgm:prSet/>
      <dgm:spPr>
        <a:xfrm>
          <a:off x="0" y="3379284"/>
          <a:ext cx="6263640" cy="2079000"/>
        </a:xfrm>
        <a:prstGeom prst="rect">
          <a:avLst/>
        </a:prstGeom>
      </dgm:spPr>
      <dgm:t>
        <a:bodyPr/>
        <a:lstStyle/>
        <a:p>
          <a:pPr>
            <a:buChar char="•"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ncreased complacency( low risk perception)</a:t>
          </a:r>
          <a:endParaRPr lang="en-US" dirty="0">
            <a:latin typeface="Calibri" panose="020F0502020204030204"/>
            <a:ea typeface="+mn-ea"/>
            <a:cs typeface="+mn-cs"/>
          </a:endParaRPr>
        </a:p>
      </dgm:t>
    </dgm:pt>
    <dgm:pt modelId="{2B641F74-F9D7-46E6-B00B-A8ABC5425493}" type="parTrans" cxnId="{0C9A0D78-1EED-42A2-B42F-647A65A52CC7}">
      <dgm:prSet/>
      <dgm:spPr/>
      <dgm:t>
        <a:bodyPr/>
        <a:lstStyle/>
        <a:p>
          <a:endParaRPr lang="en-US"/>
        </a:p>
      </dgm:t>
    </dgm:pt>
    <dgm:pt modelId="{A1CF2130-2FD4-4C80-B5A2-1207604D2E8F}" type="sibTrans" cxnId="{0C9A0D78-1EED-42A2-B42F-647A65A52CC7}">
      <dgm:prSet/>
      <dgm:spPr/>
      <dgm:t>
        <a:bodyPr/>
        <a:lstStyle/>
        <a:p>
          <a:endParaRPr lang="en-US"/>
        </a:p>
      </dgm:t>
    </dgm:pt>
    <dgm:pt modelId="{F3B0158A-0C2C-4E10-BEBC-56BCC80FA24F}">
      <dgm:prSet/>
      <dgm:spPr>
        <a:xfrm>
          <a:off x="0" y="400643"/>
          <a:ext cx="6263640" cy="2494800"/>
        </a:xfrm>
        <a:prstGeom prst="rect">
          <a:avLst/>
        </a:prstGeom>
      </dgm:spPr>
      <dgm:t>
        <a:bodyPr/>
        <a:lstStyle/>
        <a:p>
          <a:pPr>
            <a:buChar char="•"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ncreasing demand for Oxygen in the hospital</a:t>
          </a:r>
        </a:p>
      </dgm:t>
    </dgm:pt>
    <dgm:pt modelId="{6C7E5473-D467-4516-AF3A-146E9B11FEA7}" type="parTrans" cxnId="{420D59BF-1CDE-443A-A9F9-F883714928ED}">
      <dgm:prSet/>
      <dgm:spPr/>
      <dgm:t>
        <a:bodyPr/>
        <a:lstStyle/>
        <a:p>
          <a:endParaRPr lang="en-GB"/>
        </a:p>
      </dgm:t>
    </dgm:pt>
    <dgm:pt modelId="{06722E22-930A-489A-8FCE-2B9EFD284B24}" type="sibTrans" cxnId="{420D59BF-1CDE-443A-A9F9-F883714928ED}">
      <dgm:prSet/>
      <dgm:spPr/>
      <dgm:t>
        <a:bodyPr/>
        <a:lstStyle/>
        <a:p>
          <a:endParaRPr lang="en-GB"/>
        </a:p>
      </dgm:t>
    </dgm:pt>
    <dgm:pt modelId="{C1F64252-AF90-483B-8DC1-DF8E993E464F}">
      <dgm:prSet/>
      <dgm:spPr>
        <a:xfrm>
          <a:off x="0" y="400643"/>
          <a:ext cx="6263640" cy="2494800"/>
        </a:xfrm>
        <a:prstGeom prst="rect">
          <a:avLst/>
        </a:prstGeom>
      </dgm:spPr>
      <dgm:t>
        <a:bodyPr/>
        <a:lstStyle/>
        <a:p>
          <a:pPr>
            <a:buChar char="•"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CU capacity in NC already at stress levels</a:t>
          </a:r>
        </a:p>
      </dgm:t>
    </dgm:pt>
    <dgm:pt modelId="{091FCC00-A6BF-4E9B-BE10-4FC46CAD83E5}" type="parTrans" cxnId="{692A1780-203F-494A-BCAE-87CE6591657C}">
      <dgm:prSet/>
      <dgm:spPr/>
      <dgm:t>
        <a:bodyPr/>
        <a:lstStyle/>
        <a:p>
          <a:endParaRPr lang="en-GB"/>
        </a:p>
      </dgm:t>
    </dgm:pt>
    <dgm:pt modelId="{3182C092-96E1-42BD-ACC1-B5BB62C41C0A}" type="sibTrans" cxnId="{692A1780-203F-494A-BCAE-87CE6591657C}">
      <dgm:prSet/>
      <dgm:spPr/>
      <dgm:t>
        <a:bodyPr/>
        <a:lstStyle/>
        <a:p>
          <a:endParaRPr lang="en-GB"/>
        </a:p>
      </dgm:t>
    </dgm:pt>
    <dgm:pt modelId="{043955EA-8CDA-4C42-B63B-5DD8E892E6B1}">
      <dgm:prSet/>
      <dgm:spPr>
        <a:xfrm>
          <a:off x="0" y="3379284"/>
          <a:ext cx="6263640" cy="2079000"/>
        </a:xfrm>
        <a:prstGeom prst="rect">
          <a:avLst/>
        </a:prstGeom>
      </dgm:spPr>
      <dgm:t>
        <a:bodyPr/>
        <a:lstStyle/>
        <a:p>
          <a:pPr>
            <a:buChar char="•"/>
          </a:pPr>
          <a:r>
            <a:rPr kumimoji="0" lang="en-GB" b="0" i="0" u="none" strike="noStrike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No adherence to NPIs( Not wearing mask, increased crowding)</a:t>
          </a:r>
          <a:endParaRPr kumimoji="0" lang="en-US" b="0" i="0" u="none" strike="noStrike" cap="none" spc="0" normalizeH="0" baseline="0" noProof="0" dirty="0">
            <a:ln/>
            <a:effectLst/>
            <a:uLnTx/>
            <a:uFillTx/>
            <a:latin typeface="Calibri"/>
            <a:ea typeface="+mn-ea"/>
            <a:cs typeface="+mn-cs"/>
          </a:endParaRPr>
        </a:p>
      </dgm:t>
    </dgm:pt>
    <dgm:pt modelId="{E222559A-6292-4DFD-BA84-2738D17A797B}" type="parTrans" cxnId="{62C35897-156E-47AD-8828-C23D2EDD6C37}">
      <dgm:prSet/>
      <dgm:spPr/>
      <dgm:t>
        <a:bodyPr/>
        <a:lstStyle/>
        <a:p>
          <a:endParaRPr lang="en-GB"/>
        </a:p>
      </dgm:t>
    </dgm:pt>
    <dgm:pt modelId="{B45C76B5-B80B-4303-8CC9-DB9A6A95AD31}" type="sibTrans" cxnId="{62C35897-156E-47AD-8828-C23D2EDD6C37}">
      <dgm:prSet/>
      <dgm:spPr/>
      <dgm:t>
        <a:bodyPr/>
        <a:lstStyle/>
        <a:p>
          <a:endParaRPr lang="en-GB"/>
        </a:p>
      </dgm:t>
    </dgm:pt>
    <dgm:pt modelId="{8A0ACCD2-2090-4ADE-B148-0157F7BE6D93}" type="pres">
      <dgm:prSet presAssocID="{5899C8DB-21C6-4815-9B5D-3BCB4DD6CCC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2F499F63-5097-4E7A-8E3A-04FE0B1C4390}" type="pres">
      <dgm:prSet presAssocID="{580D4F5C-7B26-49DF-9A56-6F987F5CAA09}" presName="parentLin" presStyleCnt="0"/>
      <dgm:spPr/>
    </dgm:pt>
    <dgm:pt modelId="{5A4BDFBA-AC94-4335-9AEE-9926CA5ED3B0}" type="pres">
      <dgm:prSet presAssocID="{580D4F5C-7B26-49DF-9A56-6F987F5CAA09}" presName="parentLeftMargin" presStyleLbl="node1" presStyleIdx="0" presStyleCnt="2"/>
      <dgm:spPr/>
      <dgm:t>
        <a:bodyPr/>
        <a:lstStyle/>
        <a:p>
          <a:endParaRPr lang="en-ZA"/>
        </a:p>
      </dgm:t>
    </dgm:pt>
    <dgm:pt modelId="{A5128601-4CE5-4254-9A07-0C6E5585400B}" type="pres">
      <dgm:prSet presAssocID="{580D4F5C-7B26-49DF-9A56-6F987F5CAA09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65FD7FD-9F7A-4E81-8FE0-3DB41D8B4861}" type="pres">
      <dgm:prSet presAssocID="{580D4F5C-7B26-49DF-9A56-6F987F5CAA09}" presName="negativeSpace" presStyleCnt="0"/>
      <dgm:spPr/>
    </dgm:pt>
    <dgm:pt modelId="{9641E391-14E9-4182-AC5E-102D7B82A716}" type="pres">
      <dgm:prSet presAssocID="{580D4F5C-7B26-49DF-9A56-6F987F5CAA09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79B6ADB-393A-473A-8BCD-84D5EDB3CDA0}" type="pres">
      <dgm:prSet presAssocID="{7FD9FD8A-67C8-462F-944A-8D8AF2E090AA}" presName="spaceBetweenRectangles" presStyleCnt="0"/>
      <dgm:spPr/>
    </dgm:pt>
    <dgm:pt modelId="{8D3ECCDE-61E6-43B2-A9C3-570B48EB42C7}" type="pres">
      <dgm:prSet presAssocID="{F204CC41-421C-4867-B6B3-CAD5BFA26610}" presName="parentLin" presStyleCnt="0"/>
      <dgm:spPr/>
    </dgm:pt>
    <dgm:pt modelId="{D4D04D79-AE9F-4E03-9CA4-213BCA88F375}" type="pres">
      <dgm:prSet presAssocID="{F204CC41-421C-4867-B6B3-CAD5BFA26610}" presName="parentLeftMargin" presStyleLbl="node1" presStyleIdx="0" presStyleCnt="2"/>
      <dgm:spPr/>
      <dgm:t>
        <a:bodyPr/>
        <a:lstStyle/>
        <a:p>
          <a:endParaRPr lang="en-ZA"/>
        </a:p>
      </dgm:t>
    </dgm:pt>
    <dgm:pt modelId="{A479D180-A5B0-49FE-BE12-8C26677BADD5}" type="pres">
      <dgm:prSet presAssocID="{F204CC41-421C-4867-B6B3-CAD5BFA26610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360A25D-E404-47CE-ADED-985A3A1721E2}" type="pres">
      <dgm:prSet presAssocID="{F204CC41-421C-4867-B6B3-CAD5BFA26610}" presName="negativeSpace" presStyleCnt="0"/>
      <dgm:spPr/>
    </dgm:pt>
    <dgm:pt modelId="{BE528298-7895-47F2-8E3B-F5F5D97E6637}" type="pres">
      <dgm:prSet presAssocID="{F204CC41-421C-4867-B6B3-CAD5BFA26610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5FCD30D7-1CFF-4C30-BC26-1BB82B97DBC7}" srcId="{5899C8DB-21C6-4815-9B5D-3BCB4DD6CCC2}" destId="{580D4F5C-7B26-49DF-9A56-6F987F5CAA09}" srcOrd="0" destOrd="0" parTransId="{CAB8430A-1887-41BF-BE5F-7B82ADCEB68B}" sibTransId="{7FD9FD8A-67C8-462F-944A-8D8AF2E090AA}"/>
    <dgm:cxn modelId="{9E467E7F-0067-4F64-B9F6-6E3B2FEB62AF}" type="presOf" srcId="{F3B0158A-0C2C-4E10-BEBC-56BCC80FA24F}" destId="{9641E391-14E9-4182-AC5E-102D7B82A716}" srcOrd="0" destOrd="1" presId="urn:microsoft.com/office/officeart/2005/8/layout/list1"/>
    <dgm:cxn modelId="{420D59BF-1CDE-443A-A9F9-F883714928ED}" srcId="{580D4F5C-7B26-49DF-9A56-6F987F5CAA09}" destId="{F3B0158A-0C2C-4E10-BEBC-56BCC80FA24F}" srcOrd="1" destOrd="0" parTransId="{6C7E5473-D467-4516-AF3A-146E9B11FEA7}" sibTransId="{06722E22-930A-489A-8FCE-2B9EFD284B24}"/>
    <dgm:cxn modelId="{692A1780-203F-494A-BCAE-87CE6591657C}" srcId="{580D4F5C-7B26-49DF-9A56-6F987F5CAA09}" destId="{C1F64252-AF90-483B-8DC1-DF8E993E464F}" srcOrd="2" destOrd="0" parTransId="{091FCC00-A6BF-4E9B-BE10-4FC46CAD83E5}" sibTransId="{3182C092-96E1-42BD-ACC1-B5BB62C41C0A}"/>
    <dgm:cxn modelId="{0C9A0D78-1EED-42A2-B42F-647A65A52CC7}" srcId="{F204CC41-421C-4867-B6B3-CAD5BFA26610}" destId="{83EA20B3-6C4E-4CD4-823C-9B6F1C84B0EE}" srcOrd="0" destOrd="0" parTransId="{2B641F74-F9D7-46E6-B00B-A8ABC5425493}" sibTransId="{A1CF2130-2FD4-4C80-B5A2-1207604D2E8F}"/>
    <dgm:cxn modelId="{1236BFC1-B49A-467C-997C-6364BB217286}" srcId="{5899C8DB-21C6-4815-9B5D-3BCB4DD6CCC2}" destId="{F204CC41-421C-4867-B6B3-CAD5BFA26610}" srcOrd="1" destOrd="0" parTransId="{AF1384DD-5223-4608-A7A8-9AA9399E3700}" sibTransId="{E6B2AE20-9F37-43FD-99B6-C35FC76A0B0D}"/>
    <dgm:cxn modelId="{1AFB60E2-BACF-4BF5-BC9A-B58BD1CA9A67}" type="presOf" srcId="{F204CC41-421C-4867-B6B3-CAD5BFA26610}" destId="{A479D180-A5B0-49FE-BE12-8C26677BADD5}" srcOrd="1" destOrd="0" presId="urn:microsoft.com/office/officeart/2005/8/layout/list1"/>
    <dgm:cxn modelId="{C3055C93-FA2B-4C9A-AAD9-97EE4B153C0F}" type="presOf" srcId="{83EA20B3-6C4E-4CD4-823C-9B6F1C84B0EE}" destId="{BE528298-7895-47F2-8E3B-F5F5D97E6637}" srcOrd="0" destOrd="0" presId="urn:microsoft.com/office/officeart/2005/8/layout/list1"/>
    <dgm:cxn modelId="{62C35897-156E-47AD-8828-C23D2EDD6C37}" srcId="{F204CC41-421C-4867-B6B3-CAD5BFA26610}" destId="{043955EA-8CDA-4C42-B63B-5DD8E892E6B1}" srcOrd="1" destOrd="0" parTransId="{E222559A-6292-4DFD-BA84-2738D17A797B}" sibTransId="{B45C76B5-B80B-4303-8CC9-DB9A6A95AD31}"/>
    <dgm:cxn modelId="{A3822CF1-A53A-4B5B-AA0E-3E8364E6A97E}" type="presOf" srcId="{580D4F5C-7B26-49DF-9A56-6F987F5CAA09}" destId="{5A4BDFBA-AC94-4335-9AEE-9926CA5ED3B0}" srcOrd="0" destOrd="0" presId="urn:microsoft.com/office/officeart/2005/8/layout/list1"/>
    <dgm:cxn modelId="{B329117A-8FBB-42CF-91E7-087F747882D8}" type="presOf" srcId="{F204CC41-421C-4867-B6B3-CAD5BFA26610}" destId="{D4D04D79-AE9F-4E03-9CA4-213BCA88F375}" srcOrd="0" destOrd="0" presId="urn:microsoft.com/office/officeart/2005/8/layout/list1"/>
    <dgm:cxn modelId="{DBCB6281-FC94-43FF-BDFA-D242266A5BE9}" type="presOf" srcId="{580D4F5C-7B26-49DF-9A56-6F987F5CAA09}" destId="{A5128601-4CE5-4254-9A07-0C6E5585400B}" srcOrd="1" destOrd="0" presId="urn:microsoft.com/office/officeart/2005/8/layout/list1"/>
    <dgm:cxn modelId="{723178FB-116F-4863-A930-D04E3FFAB737}" type="presOf" srcId="{5899C8DB-21C6-4815-9B5D-3BCB4DD6CCC2}" destId="{8A0ACCD2-2090-4ADE-B148-0157F7BE6D93}" srcOrd="0" destOrd="0" presId="urn:microsoft.com/office/officeart/2005/8/layout/list1"/>
    <dgm:cxn modelId="{EF721C22-DC0E-4283-9966-A239046177DD}" type="presOf" srcId="{4BB31E7E-2CE6-4AAB-B1F7-969EBD5427B9}" destId="{9641E391-14E9-4182-AC5E-102D7B82A716}" srcOrd="0" destOrd="0" presId="urn:microsoft.com/office/officeart/2005/8/layout/list1"/>
    <dgm:cxn modelId="{7FA19B6E-A305-4C1E-B5B5-29D2802B72D5}" srcId="{580D4F5C-7B26-49DF-9A56-6F987F5CAA09}" destId="{4BB31E7E-2CE6-4AAB-B1F7-969EBD5427B9}" srcOrd="0" destOrd="0" parTransId="{0D402C9B-23F9-42EE-A6EC-ED681C1D958E}" sibTransId="{00728D2A-540D-49FB-922A-FEF6A5B8FA0B}"/>
    <dgm:cxn modelId="{EC3FAC7B-3313-48F1-932B-5869DA73B780}" type="presOf" srcId="{043955EA-8CDA-4C42-B63B-5DD8E892E6B1}" destId="{BE528298-7895-47F2-8E3B-F5F5D97E6637}" srcOrd="0" destOrd="1" presId="urn:microsoft.com/office/officeart/2005/8/layout/list1"/>
    <dgm:cxn modelId="{799F72D5-FDE2-46F6-8A9F-04CADFAECF17}" type="presOf" srcId="{C1F64252-AF90-483B-8DC1-DF8E993E464F}" destId="{9641E391-14E9-4182-AC5E-102D7B82A716}" srcOrd="0" destOrd="2" presId="urn:microsoft.com/office/officeart/2005/8/layout/list1"/>
    <dgm:cxn modelId="{2D0A140C-7D0F-45AA-BB98-65C280FD05CA}" type="presParOf" srcId="{8A0ACCD2-2090-4ADE-B148-0157F7BE6D93}" destId="{2F499F63-5097-4E7A-8E3A-04FE0B1C4390}" srcOrd="0" destOrd="0" presId="urn:microsoft.com/office/officeart/2005/8/layout/list1"/>
    <dgm:cxn modelId="{2885437E-1DD2-4B6D-9A25-8DA67E8F3520}" type="presParOf" srcId="{2F499F63-5097-4E7A-8E3A-04FE0B1C4390}" destId="{5A4BDFBA-AC94-4335-9AEE-9926CA5ED3B0}" srcOrd="0" destOrd="0" presId="urn:microsoft.com/office/officeart/2005/8/layout/list1"/>
    <dgm:cxn modelId="{FD3DA033-98BF-4DE7-A3FF-AC931B48366E}" type="presParOf" srcId="{2F499F63-5097-4E7A-8E3A-04FE0B1C4390}" destId="{A5128601-4CE5-4254-9A07-0C6E5585400B}" srcOrd="1" destOrd="0" presId="urn:microsoft.com/office/officeart/2005/8/layout/list1"/>
    <dgm:cxn modelId="{FC01C2DD-1FF1-4E87-9E99-674956C30BFE}" type="presParOf" srcId="{8A0ACCD2-2090-4ADE-B148-0157F7BE6D93}" destId="{B65FD7FD-9F7A-4E81-8FE0-3DB41D8B4861}" srcOrd="1" destOrd="0" presId="urn:microsoft.com/office/officeart/2005/8/layout/list1"/>
    <dgm:cxn modelId="{74F6FBBC-A353-45AD-96DD-31912C12501A}" type="presParOf" srcId="{8A0ACCD2-2090-4ADE-B148-0157F7BE6D93}" destId="{9641E391-14E9-4182-AC5E-102D7B82A716}" srcOrd="2" destOrd="0" presId="urn:microsoft.com/office/officeart/2005/8/layout/list1"/>
    <dgm:cxn modelId="{C8815627-CAF3-43DF-9BCB-BF0507866E63}" type="presParOf" srcId="{8A0ACCD2-2090-4ADE-B148-0157F7BE6D93}" destId="{D79B6ADB-393A-473A-8BCD-84D5EDB3CDA0}" srcOrd="3" destOrd="0" presId="urn:microsoft.com/office/officeart/2005/8/layout/list1"/>
    <dgm:cxn modelId="{C4D29DDD-CD0A-4644-8D67-3F09422E2AA0}" type="presParOf" srcId="{8A0ACCD2-2090-4ADE-B148-0157F7BE6D93}" destId="{8D3ECCDE-61E6-43B2-A9C3-570B48EB42C7}" srcOrd="4" destOrd="0" presId="urn:microsoft.com/office/officeart/2005/8/layout/list1"/>
    <dgm:cxn modelId="{820E34A9-79A9-4F7B-97FA-A2FC8B80C442}" type="presParOf" srcId="{8D3ECCDE-61E6-43B2-A9C3-570B48EB42C7}" destId="{D4D04D79-AE9F-4E03-9CA4-213BCA88F375}" srcOrd="0" destOrd="0" presId="urn:microsoft.com/office/officeart/2005/8/layout/list1"/>
    <dgm:cxn modelId="{310E284A-699B-4AFA-8E2C-8A59EA454394}" type="presParOf" srcId="{8D3ECCDE-61E6-43B2-A9C3-570B48EB42C7}" destId="{A479D180-A5B0-49FE-BE12-8C26677BADD5}" srcOrd="1" destOrd="0" presId="urn:microsoft.com/office/officeart/2005/8/layout/list1"/>
    <dgm:cxn modelId="{5BAAC064-1D51-4B0F-964D-E4D672D0C4D1}" type="presParOf" srcId="{8A0ACCD2-2090-4ADE-B148-0157F7BE6D93}" destId="{1360A25D-E404-47CE-ADED-985A3A1721E2}" srcOrd="5" destOrd="0" presId="urn:microsoft.com/office/officeart/2005/8/layout/list1"/>
    <dgm:cxn modelId="{C97F7F27-F28F-4DD1-8863-145344810CC3}" type="presParOf" srcId="{8A0ACCD2-2090-4ADE-B148-0157F7BE6D93}" destId="{BE528298-7895-47F2-8E3B-F5F5D97E6637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41E391-14E9-4182-AC5E-102D7B82A716}">
      <dsp:nvSpPr>
        <dsp:cNvPr id="0" name=""/>
        <dsp:cNvSpPr/>
      </dsp:nvSpPr>
      <dsp:spPr>
        <a:xfrm>
          <a:off x="0" y="886955"/>
          <a:ext cx="8720222" cy="16632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6786" tIns="458216" rIns="676786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ustained increase in new cases in last 14 day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Increased admission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Increased positivity rate (  almost 10% at national level)</a:t>
          </a:r>
        </a:p>
      </dsp:txBody>
      <dsp:txXfrm>
        <a:off x="0" y="886955"/>
        <a:ext cx="8720222" cy="1663200"/>
      </dsp:txXfrm>
    </dsp:sp>
    <dsp:sp modelId="{A5128601-4CE5-4254-9A07-0C6E5585400B}">
      <dsp:nvSpPr>
        <dsp:cNvPr id="0" name=""/>
        <dsp:cNvSpPr/>
      </dsp:nvSpPr>
      <dsp:spPr>
        <a:xfrm>
          <a:off x="436011" y="562235"/>
          <a:ext cx="6104155" cy="649440"/>
        </a:xfrm>
        <a:prstGeom prst="roundRect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723" tIns="0" rIns="230723" bIns="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pidemiological rationale</a:t>
          </a:r>
        </a:p>
      </dsp:txBody>
      <dsp:txXfrm>
        <a:off x="467714" y="593938"/>
        <a:ext cx="6040749" cy="586034"/>
      </dsp:txXfrm>
    </dsp:sp>
    <dsp:sp modelId="{BE528298-7895-47F2-8E3B-F5F5D97E6637}">
      <dsp:nvSpPr>
        <dsp:cNvPr id="0" name=""/>
        <dsp:cNvSpPr/>
      </dsp:nvSpPr>
      <dsp:spPr>
        <a:xfrm>
          <a:off x="0" y="2993676"/>
          <a:ext cx="8720222" cy="197505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ED7D31">
              <a:hueOff val="-1455363"/>
              <a:satOff val="-83928"/>
              <a:lumOff val="8628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6786" tIns="458216" rIns="676786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ocial gatherings without NPIs or following guidelines on number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Funerals and after tears parties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Clusters in schools( Matric Camps, sport camps) </a:t>
          </a:r>
        </a:p>
      </dsp:txBody>
      <dsp:txXfrm>
        <a:off x="0" y="2993676"/>
        <a:ext cx="8720222" cy="1975050"/>
      </dsp:txXfrm>
    </dsp:sp>
    <dsp:sp modelId="{A479D180-A5B0-49FE-BE12-8C26677BADD5}">
      <dsp:nvSpPr>
        <dsp:cNvPr id="0" name=""/>
        <dsp:cNvSpPr/>
      </dsp:nvSpPr>
      <dsp:spPr>
        <a:xfrm>
          <a:off x="436011" y="2668955"/>
          <a:ext cx="6104155" cy="649440"/>
        </a:xfrm>
        <a:prstGeom prst="roundRect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723" tIns="0" rIns="230723" bIns="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Drivers of the recent spike in cases  transmission</a:t>
          </a:r>
        </a:p>
      </dsp:txBody>
      <dsp:txXfrm>
        <a:off x="467714" y="2700658"/>
        <a:ext cx="6040749" cy="5860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41E391-14E9-4182-AC5E-102D7B82A716}">
      <dsp:nvSpPr>
        <dsp:cNvPr id="0" name=""/>
        <dsp:cNvSpPr/>
      </dsp:nvSpPr>
      <dsp:spPr>
        <a:xfrm>
          <a:off x="0" y="433348"/>
          <a:ext cx="7929111" cy="204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5387" tIns="562356" rIns="615387" bIns="192024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ncreasing admissions in 8 provinces 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ncreasing demand for Oxygen in the hospital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CU capacity in NC already at stress levels</a:t>
          </a:r>
        </a:p>
      </dsp:txBody>
      <dsp:txXfrm>
        <a:off x="0" y="433348"/>
        <a:ext cx="7929111" cy="2041200"/>
      </dsp:txXfrm>
    </dsp:sp>
    <dsp:sp modelId="{A5128601-4CE5-4254-9A07-0C6E5585400B}">
      <dsp:nvSpPr>
        <dsp:cNvPr id="0" name=""/>
        <dsp:cNvSpPr/>
      </dsp:nvSpPr>
      <dsp:spPr>
        <a:xfrm>
          <a:off x="396455" y="34828"/>
          <a:ext cx="5550377" cy="7970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791" tIns="0" rIns="209791" bIns="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Arial" pitchFamily="34" charset="0"/>
            <a:buNone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Health system capacity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</dsp:txBody>
      <dsp:txXfrm>
        <a:off x="435363" y="73736"/>
        <a:ext cx="5472561" cy="719224"/>
      </dsp:txXfrm>
    </dsp:sp>
    <dsp:sp modelId="{BE528298-7895-47F2-8E3B-F5F5D97E6637}">
      <dsp:nvSpPr>
        <dsp:cNvPr id="0" name=""/>
        <dsp:cNvSpPr/>
      </dsp:nvSpPr>
      <dsp:spPr>
        <a:xfrm>
          <a:off x="0" y="3018868"/>
          <a:ext cx="7929111" cy="19561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2064891"/>
              <a:satOff val="58120"/>
              <a:lumOff val="-411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5387" tIns="562356" rIns="615387" bIns="192024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Increased complacency( low risk perception)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No adherence to NPIs( Not wearing mask, increased crowding)</a:t>
          </a:r>
          <a:endParaRPr kumimoji="0" lang="en-US" sz="2700" b="0" i="0" u="none" strike="noStrike" kern="1200" cap="none" spc="0" normalizeH="0" baseline="0" noProof="0" dirty="0">
            <a:ln/>
            <a:effectLst/>
            <a:uLnTx/>
            <a:uFillTx/>
            <a:latin typeface="Calibri"/>
            <a:ea typeface="+mn-ea"/>
            <a:cs typeface="+mn-cs"/>
          </a:endParaRPr>
        </a:p>
      </dsp:txBody>
      <dsp:txXfrm>
        <a:off x="0" y="3018868"/>
        <a:ext cx="7929111" cy="1956150"/>
      </dsp:txXfrm>
    </dsp:sp>
    <dsp:sp modelId="{A479D180-A5B0-49FE-BE12-8C26677BADD5}">
      <dsp:nvSpPr>
        <dsp:cNvPr id="0" name=""/>
        <dsp:cNvSpPr/>
      </dsp:nvSpPr>
      <dsp:spPr>
        <a:xfrm>
          <a:off x="396455" y="2620348"/>
          <a:ext cx="5550377" cy="797040"/>
        </a:xfrm>
        <a:prstGeom prst="roundRect">
          <a:avLst/>
        </a:prstGeom>
        <a:solidFill>
          <a:schemeClr val="accent3">
            <a:hueOff val="-2064891"/>
            <a:satOff val="58120"/>
            <a:lumOff val="-41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791" tIns="0" rIns="209791" bIns="0" numCol="1" spcCol="1270" anchor="ctr" anchorCtr="0">
          <a:noAutofit/>
        </a:bodyPr>
        <a:lstStyle/>
        <a:p>
          <a:pPr lvl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GB" sz="2700" b="0" i="0" u="none" strike="noStrike" kern="1200" cap="none" spc="0" normalizeH="0" baseline="0" noProof="0" dirty="0">
              <a:ln/>
              <a:effectLst/>
              <a:uLnTx/>
              <a:uFillTx/>
              <a:latin typeface="Calibri"/>
              <a:ea typeface="+mn-ea"/>
              <a:cs typeface="+mn-cs"/>
            </a:rPr>
            <a:t>Behavioural and social 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</dsp:txBody>
      <dsp:txXfrm>
        <a:off x="435363" y="2659256"/>
        <a:ext cx="5472561" cy="7192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334</cdr:x>
      <cdr:y>0.41145</cdr:y>
    </cdr:from>
    <cdr:to>
      <cdr:x>0.95114</cdr:x>
      <cdr:y>0.4579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0872AD9-0E9A-4A9A-BA79-2A8B6688A8F8}"/>
            </a:ext>
          </a:extLst>
        </cdr:cNvPr>
        <cdr:cNvSpPr txBox="1"/>
      </cdr:nvSpPr>
      <cdr:spPr>
        <a:xfrm xmlns:a="http://schemas.openxmlformats.org/drawingml/2006/main">
          <a:off x="10006106" y="2399728"/>
          <a:ext cx="1279036" cy="2711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>
            <a:defRPr sz="12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r>
            <a:rPr lang="en-ZA" sz="1200" b="1" kern="1200" dirty="0">
              <a:solidFill>
                <a:srgbClr val="D99694"/>
              </a:solidFill>
              <a:latin typeface="Arial" panose="020B0604020202020204" pitchFamily="34" charset="0"/>
              <a:cs typeface="Arial" panose="020B0604020202020204" pitchFamily="34" charset="0"/>
            </a:rPr>
            <a:t>Northern Cape</a:t>
          </a:r>
        </a:p>
      </cdr:txBody>
    </cdr:sp>
  </cdr:relSizeAnchor>
  <cdr:relSizeAnchor xmlns:cdr="http://schemas.openxmlformats.org/drawingml/2006/chartDrawing">
    <cdr:from>
      <cdr:x>0.84428</cdr:x>
      <cdr:y>0.64277</cdr:y>
    </cdr:from>
    <cdr:to>
      <cdr:x>0.96024</cdr:x>
      <cdr:y>0.69074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E92B429E-0BA1-4E64-81C0-8EDBC808D9DC}"/>
            </a:ext>
          </a:extLst>
        </cdr:cNvPr>
        <cdr:cNvSpPr txBox="1"/>
      </cdr:nvSpPr>
      <cdr:spPr>
        <a:xfrm xmlns:a="http://schemas.openxmlformats.org/drawingml/2006/main">
          <a:off x="10017321" y="3748867"/>
          <a:ext cx="1375854" cy="2797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 sz="12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r>
            <a:rPr lang="en-ZA" sz="1200" b="1" kern="12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rPr>
            <a:t>Free state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5405</cdr:x>
      <cdr:y>0.1777</cdr:y>
    </cdr:from>
    <cdr:to>
      <cdr:x>0.76185</cdr:x>
      <cdr:y>0.2241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0872AD9-0E9A-4A9A-BA79-2A8B6688A8F8}"/>
            </a:ext>
          </a:extLst>
        </cdr:cNvPr>
        <cdr:cNvSpPr txBox="1"/>
      </cdr:nvSpPr>
      <cdr:spPr>
        <a:xfrm xmlns:a="http://schemas.openxmlformats.org/drawingml/2006/main">
          <a:off x="7760255" y="999973"/>
          <a:ext cx="1279037" cy="2616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>
            <a:defRPr sz="12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r>
            <a:rPr lang="en-ZA" sz="1200" b="1" kern="1200" dirty="0">
              <a:solidFill>
                <a:srgbClr val="D99694"/>
              </a:solidFill>
              <a:latin typeface="Arial" panose="020B0604020202020204" pitchFamily="34" charset="0"/>
              <a:cs typeface="Arial" panose="020B0604020202020204" pitchFamily="34" charset="0"/>
            </a:rPr>
            <a:t>Northern Cape</a:t>
          </a:r>
        </a:p>
      </cdr:txBody>
    </cdr:sp>
  </cdr:relSizeAnchor>
  <cdr:relSizeAnchor xmlns:cdr="http://schemas.openxmlformats.org/drawingml/2006/chartDrawing">
    <cdr:from>
      <cdr:x>0.65626</cdr:x>
      <cdr:y>0.52641</cdr:y>
    </cdr:from>
    <cdr:to>
      <cdr:x>0.77222</cdr:x>
      <cdr:y>0.57438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E92B429E-0BA1-4E64-81C0-8EDBC808D9DC}"/>
            </a:ext>
          </a:extLst>
        </cdr:cNvPr>
        <cdr:cNvSpPr txBox="1"/>
      </cdr:nvSpPr>
      <cdr:spPr>
        <a:xfrm xmlns:a="http://schemas.openxmlformats.org/drawingml/2006/main">
          <a:off x="7786406" y="2962305"/>
          <a:ext cx="1375854" cy="269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 sz="12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r>
            <a:rPr lang="en-ZA" sz="1200" b="1" kern="12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rPr>
            <a:t>Free state</a:t>
          </a:r>
        </a:p>
      </cdr:txBody>
    </cdr:sp>
  </cdr:relSizeAnchor>
  <cdr:relSizeAnchor xmlns:cdr="http://schemas.openxmlformats.org/drawingml/2006/chartDrawing">
    <cdr:from>
      <cdr:x>0.12519</cdr:x>
      <cdr:y>0.7765</cdr:y>
    </cdr:from>
    <cdr:to>
      <cdr:x>0.89073</cdr:x>
      <cdr:y>0.7765</cdr:y>
    </cdr:to>
    <cdr:cxnSp macro="">
      <cdr:nvCxnSpPr>
        <cdr:cNvPr id="5" name="Straight Connector 4">
          <a:extLst xmlns:a="http://schemas.openxmlformats.org/drawingml/2006/main">
            <a:ext uri="{FF2B5EF4-FFF2-40B4-BE49-F238E27FC236}">
              <a16:creationId xmlns:a16="http://schemas.microsoft.com/office/drawing/2014/main" id="{38BF4DF2-963E-404E-BF7D-AB41492F7C7A}"/>
            </a:ext>
          </a:extLst>
        </cdr:cNvPr>
        <cdr:cNvCxnSpPr/>
      </cdr:nvCxnSpPr>
      <cdr:spPr>
        <a:xfrm xmlns:a="http://schemas.openxmlformats.org/drawingml/2006/main">
          <a:off x="1485367" y="4369641"/>
          <a:ext cx="9083055" cy="0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chemeClr val="tx1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EC0635-B964-3F41-BBBA-E2BE73DA4413}" type="datetimeFigureOut">
              <a:rPr lang="en-US" smtClean="0"/>
              <a:pPr/>
              <a:t>5/3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DBDCEF-61A5-E740-B126-5B787EE454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723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067F80-0D94-4A0E-911B-DF158D3B8879}" type="slidenum">
              <a:rPr lang="en-ZA" smtClean="0"/>
              <a:pPr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92580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2D588E-0AD0-45E4-AFF3-D0EC37403E0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541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27A41F-A981-4927-A639-1DC54CAAA875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79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cdccbf96ea_0_1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" name="Google Shape;92;gcdccbf96ea_0_1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3" name="Google Shape;93;gcdccbf96ea_0_1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pPr marL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t>15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jpeg"/><Relationship Id="rId4" Type="http://schemas.openxmlformats.org/officeDocument/2006/relationships/image" Target="../media/image8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jpeg"/><Relationship Id="rId4" Type="http://schemas.openxmlformats.org/officeDocument/2006/relationships/image" Target="../media/image13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04062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2163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90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9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z="900" smtClean="0"/>
              <a:pPr/>
              <a:t>‹#›</a:t>
            </a:fld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val="4141626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001108-C480-4D60-AC87-5E26CA168208}" type="datetime1">
              <a:rPr lang="en-US" smtClean="0">
                <a:solidFill>
                  <a:prstClr val="black"/>
                </a:solidFill>
              </a:rPr>
              <a:pPr/>
              <a:t>5/31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618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872B3D-10DF-43C0-ADEC-A5CC4C417061}" type="datetime1">
              <a:rPr lang="en-ZA" sz="900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21/05/31</a:t>
            </a:fld>
            <a:endParaRPr lang="en-ZA" sz="9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defRPr/>
            </a:pPr>
            <a:endParaRPr lang="en-ZA" sz="9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623D07-11A7-4808-A6F1-9992CCEED829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8907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620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54944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1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5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9416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7445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0108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001108-C480-4D60-AC87-5E26CA168208}" type="datetime1">
              <a:rPr lang="en-US" smtClean="0">
                <a:solidFill>
                  <a:prstClr val="black"/>
                </a:solidFill>
              </a:rPr>
              <a:pPr/>
              <a:t>5/31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497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0968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290544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06195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938892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5766-BA99-4A8E-AB70-3359FA016BC2}" type="datetime1">
              <a:rPr lang="en-US" smtClean="0"/>
              <a:pPr/>
              <a:t>5/3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3152E-0324-4195-8D45-95B049862F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1688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46299" y="5929355"/>
            <a:ext cx="142876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9065560" y="5870484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676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5D28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5D28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Plan for COVID-19 Health Response: South Afric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88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446299" y="5929355"/>
            <a:ext cx="142876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9065560" y="5870484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0085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324"/>
            <a:ext cx="10972800" cy="930276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3"/>
            <a:ext cx="10972800" cy="44957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6655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7ED9C8-F09A-4D9E-BEC0-4725162E21FF}" type="datetimeFigureOut">
              <a:rPr lang="en-US" smtClean="0"/>
              <a:pPr/>
              <a:t>5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953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06662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22295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cs typeface="+mn-cs"/>
              </a:defRPr>
            </a:lvl1pPr>
          </a:lstStyle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588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9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377" y="6080006"/>
            <a:ext cx="1728192" cy="633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512" y="6080005"/>
            <a:ext cx="1077758" cy="678963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84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704" r:id="rId4"/>
    <p:sldLayoutId id="2147483705" r:id="rId5"/>
    <p:sldLayoutId id="2147483706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73063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702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6440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hf sldNum="0"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5" cstate="print"/>
          <a:srcRect r="26000"/>
          <a:stretch>
            <a:fillRect/>
          </a:stretch>
        </p:blipFill>
        <p:spPr bwMode="auto">
          <a:xfrm>
            <a:off x="9789167" y="6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39970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3011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3" r:id="rId7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97014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8.sv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8.sv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 descr="Covid-19 outline">
            <a:extLst>
              <a:ext uri="{FF2B5EF4-FFF2-40B4-BE49-F238E27FC236}">
                <a16:creationId xmlns:a16="http://schemas.microsoft.com/office/drawing/2014/main" id="{F549E6E1-7F9F-4C2A-AE1B-0E35698E26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1188" y="3485013"/>
            <a:ext cx="722372" cy="722372"/>
          </a:xfrm>
          <a:prstGeom prst="rect">
            <a:avLst/>
          </a:prstGeom>
        </p:spPr>
      </p:pic>
      <p:pic>
        <p:nvPicPr>
          <p:cNvPr id="32" name="Graphic 31" descr="Covid-19 outline">
            <a:extLst>
              <a:ext uri="{FF2B5EF4-FFF2-40B4-BE49-F238E27FC236}">
                <a16:creationId xmlns:a16="http://schemas.microsoft.com/office/drawing/2014/main" id="{AC6C3F7B-FC82-4438-A3DA-33C4057389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1827" y="4761615"/>
            <a:ext cx="1662430" cy="16624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58A60B-C34C-6A43-9A34-BF458F9BAE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872" y="2852738"/>
            <a:ext cx="11145328" cy="1223962"/>
          </a:xfrm>
          <a:solidFill>
            <a:schemeClr val="tx2"/>
          </a:solidFill>
        </p:spPr>
        <p:txBody>
          <a:bodyPr/>
          <a:lstStyle/>
          <a:p>
            <a:pPr algn="ctr"/>
            <a:r>
              <a:rPr lang="en-ZA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Presentation</a:t>
            </a:r>
          </a:p>
          <a:p>
            <a:pPr algn="ctr"/>
            <a:r>
              <a:rPr lang="en-ZA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May 2021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BDD9E1-B7AD-0143-914C-AC882B37775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605588"/>
            <a:ext cx="431800" cy="252412"/>
          </a:xfrm>
        </p:spPr>
        <p:txBody>
          <a:bodyPr/>
          <a:lstStyle/>
          <a:p>
            <a:fld id="{29CFBFE5-830B-A142-B1D4-ADD8112F0156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6" name="Graphic 5" descr="Covid-19 outline">
            <a:extLst>
              <a:ext uri="{FF2B5EF4-FFF2-40B4-BE49-F238E27FC236}">
                <a16:creationId xmlns:a16="http://schemas.microsoft.com/office/drawing/2014/main" id="{76F0DDC2-7048-433D-8E30-63E8FD3410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1991" y="4720248"/>
            <a:ext cx="914400" cy="914400"/>
          </a:xfrm>
          <a:prstGeom prst="rect">
            <a:avLst/>
          </a:prstGeom>
        </p:spPr>
      </p:pic>
      <p:pic>
        <p:nvPicPr>
          <p:cNvPr id="7" name="Graphic 6" descr="Covid-19 outline">
            <a:extLst>
              <a:ext uri="{FF2B5EF4-FFF2-40B4-BE49-F238E27FC236}">
                <a16:creationId xmlns:a16="http://schemas.microsoft.com/office/drawing/2014/main" id="{2CFC88C7-8255-4BF5-9177-2D94D20735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78815" y="4811215"/>
            <a:ext cx="561353" cy="561353"/>
          </a:xfrm>
          <a:prstGeom prst="rect">
            <a:avLst/>
          </a:prstGeom>
        </p:spPr>
      </p:pic>
      <p:pic>
        <p:nvPicPr>
          <p:cNvPr id="8" name="Graphic 7" descr="Covid-19 outline">
            <a:extLst>
              <a:ext uri="{FF2B5EF4-FFF2-40B4-BE49-F238E27FC236}">
                <a16:creationId xmlns:a16="http://schemas.microsoft.com/office/drawing/2014/main" id="{B9768744-7427-4B7E-889F-0956D918E7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82097" y="3506367"/>
            <a:ext cx="1307541" cy="1307541"/>
          </a:xfrm>
          <a:prstGeom prst="rect">
            <a:avLst/>
          </a:prstGeom>
        </p:spPr>
      </p:pic>
      <p:pic>
        <p:nvPicPr>
          <p:cNvPr id="9" name="Graphic 8" descr="Covid-19 outline">
            <a:extLst>
              <a:ext uri="{FF2B5EF4-FFF2-40B4-BE49-F238E27FC236}">
                <a16:creationId xmlns:a16="http://schemas.microsoft.com/office/drawing/2014/main" id="{72FF5AC0-8CF0-4509-A3CB-3206EEAEEA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75781" y="698960"/>
            <a:ext cx="1195558" cy="1195558"/>
          </a:xfrm>
          <a:prstGeom prst="rect">
            <a:avLst/>
          </a:prstGeom>
        </p:spPr>
      </p:pic>
      <p:pic>
        <p:nvPicPr>
          <p:cNvPr id="10" name="Graphic 9" descr="Covid-19 outline">
            <a:extLst>
              <a:ext uri="{FF2B5EF4-FFF2-40B4-BE49-F238E27FC236}">
                <a16:creationId xmlns:a16="http://schemas.microsoft.com/office/drawing/2014/main" id="{F5C63BDE-F565-4BD5-A742-4BFB5DC7437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0475" y="2035524"/>
            <a:ext cx="491855" cy="491855"/>
          </a:xfrm>
          <a:prstGeom prst="rect">
            <a:avLst/>
          </a:prstGeom>
        </p:spPr>
      </p:pic>
      <p:pic>
        <p:nvPicPr>
          <p:cNvPr id="11" name="Graphic 10" descr="Covid-19 outline">
            <a:extLst>
              <a:ext uri="{FF2B5EF4-FFF2-40B4-BE49-F238E27FC236}">
                <a16:creationId xmlns:a16="http://schemas.microsoft.com/office/drawing/2014/main" id="{CB203452-9A95-4D40-9F60-C522BC7901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1699" y="1059836"/>
            <a:ext cx="1210729" cy="1210729"/>
          </a:xfrm>
          <a:prstGeom prst="rect">
            <a:avLst/>
          </a:prstGeom>
        </p:spPr>
      </p:pic>
      <p:pic>
        <p:nvPicPr>
          <p:cNvPr id="13" name="Graphic 12" descr="Covid-19 outline">
            <a:extLst>
              <a:ext uri="{FF2B5EF4-FFF2-40B4-BE49-F238E27FC236}">
                <a16:creationId xmlns:a16="http://schemas.microsoft.com/office/drawing/2014/main" id="{0ECCB2D9-3E12-4CDE-8C72-112E99100E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9290" y="1026182"/>
            <a:ext cx="914400" cy="914400"/>
          </a:xfrm>
          <a:prstGeom prst="rect">
            <a:avLst/>
          </a:prstGeom>
        </p:spPr>
      </p:pic>
      <p:pic>
        <p:nvPicPr>
          <p:cNvPr id="15" name="Graphic 14" descr="Covid-19 outline">
            <a:extLst>
              <a:ext uri="{FF2B5EF4-FFF2-40B4-BE49-F238E27FC236}">
                <a16:creationId xmlns:a16="http://schemas.microsoft.com/office/drawing/2014/main" id="{B6D769BF-4586-4276-8ECA-FEAA79670D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063" y="4246083"/>
            <a:ext cx="1223682" cy="1223682"/>
          </a:xfrm>
          <a:prstGeom prst="rect">
            <a:avLst/>
          </a:prstGeom>
        </p:spPr>
      </p:pic>
      <p:pic>
        <p:nvPicPr>
          <p:cNvPr id="16" name="Graphic 15" descr="Covid-19 outline">
            <a:extLst>
              <a:ext uri="{FF2B5EF4-FFF2-40B4-BE49-F238E27FC236}">
                <a16:creationId xmlns:a16="http://schemas.microsoft.com/office/drawing/2014/main" id="{224DD417-6B86-4BBF-9C94-FE32966527A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7280" y="5173918"/>
            <a:ext cx="806021" cy="806021"/>
          </a:xfrm>
          <a:prstGeom prst="rect">
            <a:avLst/>
          </a:prstGeom>
        </p:spPr>
      </p:pic>
      <p:pic>
        <p:nvPicPr>
          <p:cNvPr id="17" name="Graphic 16" descr="Covid-19 outline">
            <a:extLst>
              <a:ext uri="{FF2B5EF4-FFF2-40B4-BE49-F238E27FC236}">
                <a16:creationId xmlns:a16="http://schemas.microsoft.com/office/drawing/2014/main" id="{09C7BBE1-D4DD-4F9E-B19C-9F5F3991970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17925" y="5339699"/>
            <a:ext cx="495789" cy="495789"/>
          </a:xfrm>
          <a:prstGeom prst="rect">
            <a:avLst/>
          </a:prstGeom>
        </p:spPr>
      </p:pic>
      <p:pic>
        <p:nvPicPr>
          <p:cNvPr id="19" name="Graphic 18" descr="Covid-19 outline">
            <a:extLst>
              <a:ext uri="{FF2B5EF4-FFF2-40B4-BE49-F238E27FC236}">
                <a16:creationId xmlns:a16="http://schemas.microsoft.com/office/drawing/2014/main" id="{ACCDBDB7-5A77-4545-9601-4166A6E6521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9795" y="1198851"/>
            <a:ext cx="806021" cy="806021"/>
          </a:xfrm>
          <a:prstGeom prst="rect">
            <a:avLst/>
          </a:prstGeom>
        </p:spPr>
      </p:pic>
      <p:pic>
        <p:nvPicPr>
          <p:cNvPr id="21" name="Graphic 20" descr="Covid-19 outline">
            <a:extLst>
              <a:ext uri="{FF2B5EF4-FFF2-40B4-BE49-F238E27FC236}">
                <a16:creationId xmlns:a16="http://schemas.microsoft.com/office/drawing/2014/main" id="{F8F738E6-D3C8-4D59-8211-51CCF78D147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917" y="3647796"/>
            <a:ext cx="695532" cy="695532"/>
          </a:xfrm>
          <a:prstGeom prst="rect">
            <a:avLst/>
          </a:prstGeom>
        </p:spPr>
      </p:pic>
      <p:pic>
        <p:nvPicPr>
          <p:cNvPr id="23" name="Graphic 22" descr="Covid-19 outline">
            <a:extLst>
              <a:ext uri="{FF2B5EF4-FFF2-40B4-BE49-F238E27FC236}">
                <a16:creationId xmlns:a16="http://schemas.microsoft.com/office/drawing/2014/main" id="{0ECCE485-C145-4A90-BED4-2AA2D908D1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21" y="1240175"/>
            <a:ext cx="806021" cy="806021"/>
          </a:xfrm>
          <a:prstGeom prst="rect">
            <a:avLst/>
          </a:prstGeom>
        </p:spPr>
      </p:pic>
      <p:pic>
        <p:nvPicPr>
          <p:cNvPr id="25" name="Graphic 24" descr="Covid-19 outline">
            <a:extLst>
              <a:ext uri="{FF2B5EF4-FFF2-40B4-BE49-F238E27FC236}">
                <a16:creationId xmlns:a16="http://schemas.microsoft.com/office/drawing/2014/main" id="{71E4E969-8867-44AB-BDCA-388F3C35D39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29039" y="2366644"/>
            <a:ext cx="574704" cy="574704"/>
          </a:xfrm>
          <a:prstGeom prst="rect">
            <a:avLst/>
          </a:prstGeom>
        </p:spPr>
      </p:pic>
      <p:pic>
        <p:nvPicPr>
          <p:cNvPr id="26" name="Graphic 25" descr="Covid-19 outline">
            <a:extLst>
              <a:ext uri="{FF2B5EF4-FFF2-40B4-BE49-F238E27FC236}">
                <a16:creationId xmlns:a16="http://schemas.microsoft.com/office/drawing/2014/main" id="{02FB2D1D-BF29-4AD9-9A57-A297685444B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69450" y="1059836"/>
            <a:ext cx="741026" cy="741026"/>
          </a:xfrm>
          <a:prstGeom prst="rect">
            <a:avLst/>
          </a:prstGeom>
        </p:spPr>
      </p:pic>
      <p:pic>
        <p:nvPicPr>
          <p:cNvPr id="34" name="Graphic 33" descr="Covid-19 outline">
            <a:extLst>
              <a:ext uri="{FF2B5EF4-FFF2-40B4-BE49-F238E27FC236}">
                <a16:creationId xmlns:a16="http://schemas.microsoft.com/office/drawing/2014/main" id="{9063F1A9-8A58-45AD-AA5B-AD3C9C8F27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9944" y="-298826"/>
            <a:ext cx="927597" cy="927597"/>
          </a:xfrm>
          <a:prstGeom prst="rect">
            <a:avLst/>
          </a:prstGeom>
        </p:spPr>
      </p:pic>
      <p:pic>
        <p:nvPicPr>
          <p:cNvPr id="35" name="Graphic 34" descr="Covid-19 outline">
            <a:extLst>
              <a:ext uri="{FF2B5EF4-FFF2-40B4-BE49-F238E27FC236}">
                <a16:creationId xmlns:a16="http://schemas.microsoft.com/office/drawing/2014/main" id="{BA306A51-1D8D-4DF2-88F8-42AFDDD52A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1685" y="6291176"/>
            <a:ext cx="561353" cy="561353"/>
          </a:xfrm>
          <a:prstGeom prst="rect">
            <a:avLst/>
          </a:prstGeom>
        </p:spPr>
      </p:pic>
      <p:pic>
        <p:nvPicPr>
          <p:cNvPr id="36" name="Graphic 35" descr="Covid-19 outline">
            <a:extLst>
              <a:ext uri="{FF2B5EF4-FFF2-40B4-BE49-F238E27FC236}">
                <a16:creationId xmlns:a16="http://schemas.microsoft.com/office/drawing/2014/main" id="{A3FAFAE9-597D-499D-B3D2-6F6B7387F6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32266" y="5402341"/>
            <a:ext cx="1010387" cy="1010387"/>
          </a:xfrm>
          <a:prstGeom prst="rect">
            <a:avLst/>
          </a:prstGeom>
        </p:spPr>
      </p:pic>
      <p:pic>
        <p:nvPicPr>
          <p:cNvPr id="37" name="Graphic 36" descr="Covid-19 outline">
            <a:extLst>
              <a:ext uri="{FF2B5EF4-FFF2-40B4-BE49-F238E27FC236}">
                <a16:creationId xmlns:a16="http://schemas.microsoft.com/office/drawing/2014/main" id="{E8887C6A-9FF7-4D02-8F17-3D9C31FACA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35520" y="6505565"/>
            <a:ext cx="561353" cy="561353"/>
          </a:xfrm>
          <a:prstGeom prst="rect">
            <a:avLst/>
          </a:prstGeom>
        </p:spPr>
      </p:pic>
      <p:pic>
        <p:nvPicPr>
          <p:cNvPr id="38" name="Graphic 37" descr="Covid-19 outline">
            <a:extLst>
              <a:ext uri="{FF2B5EF4-FFF2-40B4-BE49-F238E27FC236}">
                <a16:creationId xmlns:a16="http://schemas.microsoft.com/office/drawing/2014/main" id="{C2F4FCD1-8E16-4B41-A051-B054EB94A5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4227" y="164972"/>
            <a:ext cx="561353" cy="561353"/>
          </a:xfrm>
          <a:prstGeom prst="rect">
            <a:avLst/>
          </a:prstGeom>
        </p:spPr>
      </p:pic>
      <p:pic>
        <p:nvPicPr>
          <p:cNvPr id="39" name="Graphic 38" descr="Covid-19 outline">
            <a:extLst>
              <a:ext uri="{FF2B5EF4-FFF2-40B4-BE49-F238E27FC236}">
                <a16:creationId xmlns:a16="http://schemas.microsoft.com/office/drawing/2014/main" id="{0362DDC6-F081-4FA2-BDB0-521BECE730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79909" y="-234760"/>
            <a:ext cx="1077495" cy="1077495"/>
          </a:xfrm>
          <a:prstGeom prst="rect">
            <a:avLst/>
          </a:prstGeom>
        </p:spPr>
      </p:pic>
      <p:pic>
        <p:nvPicPr>
          <p:cNvPr id="40" name="Graphic 39" descr="Covid-19 outline">
            <a:extLst>
              <a:ext uri="{FF2B5EF4-FFF2-40B4-BE49-F238E27FC236}">
                <a16:creationId xmlns:a16="http://schemas.microsoft.com/office/drawing/2014/main" id="{AE825837-6867-4972-BB57-81217393F0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0744" y="718086"/>
            <a:ext cx="491855" cy="491855"/>
          </a:xfrm>
          <a:prstGeom prst="rect">
            <a:avLst/>
          </a:prstGeom>
        </p:spPr>
      </p:pic>
      <p:pic>
        <p:nvPicPr>
          <p:cNvPr id="41" name="Graphic 40" descr="Covid-19 outline">
            <a:extLst>
              <a:ext uri="{FF2B5EF4-FFF2-40B4-BE49-F238E27FC236}">
                <a16:creationId xmlns:a16="http://schemas.microsoft.com/office/drawing/2014/main" id="{74C01679-3BED-4460-B6C2-9D5390ABAF3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2402" y="50815"/>
            <a:ext cx="292362" cy="29236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D32E265-E809-449A-A079-05359A847FC2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535973" y="4524478"/>
            <a:ext cx="3149489" cy="12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625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99ADF-6428-4C6D-AD02-30C054E7F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42" y="88554"/>
            <a:ext cx="11806987" cy="973488"/>
          </a:xfrm>
        </p:spPr>
        <p:txBody>
          <a:bodyPr>
            <a:noAutofit/>
          </a:bodyPr>
          <a:lstStyle/>
          <a:p>
            <a:pPr algn="ctr"/>
            <a:r>
              <a:rPr lang="en-ZA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ggers for New COVID-19 Restrictions:</a:t>
            </a:r>
            <a:br>
              <a:rPr lang="en-ZA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2400" b="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to 14 </a:t>
            </a:r>
            <a:r>
              <a:rPr lang="en-ZA" sz="2400" b="0" dirty="0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s advance</a:t>
            </a:r>
            <a:r>
              <a:rPr lang="en-ZA" sz="2400" b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2400" b="0" dirty="0">
                <a:solidFill>
                  <a:schemeClr val="accent4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ning</a:t>
            </a:r>
            <a:endParaRPr lang="en-ZA" sz="3600" b="0" dirty="0">
              <a:solidFill>
                <a:schemeClr val="accent4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258D4F3-97CE-4553-B278-F5AF7F43D1D9}"/>
              </a:ext>
            </a:extLst>
          </p:cNvPr>
          <p:cNvGraphicFramePr>
            <a:graphicFrameLocks/>
          </p:cNvGraphicFramePr>
          <p:nvPr/>
        </p:nvGraphicFramePr>
        <p:xfrm>
          <a:off x="5024252" y="1612793"/>
          <a:ext cx="6977441" cy="3855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28D250A-38BE-46D7-9055-FF275BC8F37D}"/>
              </a:ext>
            </a:extLst>
          </p:cNvPr>
          <p:cNvSpPr txBox="1"/>
          <p:nvPr/>
        </p:nvSpPr>
        <p:spPr>
          <a:xfrm>
            <a:off x="330242" y="2638960"/>
            <a:ext cx="4209938" cy="2554545"/>
          </a:xfrm>
          <a:prstGeom prst="rect">
            <a:avLst/>
          </a:prstGeom>
          <a:noFill/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ric under consideration: Test positivity ≥5% for ≥7 day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ly, as of the 21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ay, the new test positivity rate has remained above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 % mark for 20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ys (using the 7-day moving average) and daily positivity rate is almost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0%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212BE7-1C4B-456A-9070-F479D87EC55B}"/>
              </a:ext>
            </a:extLst>
          </p:cNvPr>
          <p:cNvCxnSpPr/>
          <p:nvPr/>
        </p:nvCxnSpPr>
        <p:spPr>
          <a:xfrm>
            <a:off x="5024252" y="4389664"/>
            <a:ext cx="6830795" cy="9072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96528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61E2F-D57C-4689-BC6E-8108BD746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u="none" dirty="0" err="1"/>
              <a:t>Hospitalisation</a:t>
            </a:r>
            <a:r>
              <a:rPr lang="en-US" sz="3600" u="none" dirty="0"/>
              <a:t> &amp; Death Trends per province</a:t>
            </a:r>
            <a:br>
              <a:rPr lang="en-US" sz="3600" u="none" dirty="0"/>
            </a:br>
            <a:r>
              <a:rPr lang="en-US" b="0" u="none" dirty="0">
                <a:solidFill>
                  <a:schemeClr val="accent4"/>
                </a:solidFill>
              </a:rPr>
              <a:t>As of 21 May 2021</a:t>
            </a:r>
            <a:endParaRPr lang="en-GB" sz="3600" b="0" u="none" dirty="0">
              <a:solidFill>
                <a:schemeClr val="accent4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684EEE5-914A-4FE4-A90B-B545160B9C4E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" y="3906490"/>
            <a:ext cx="4686300" cy="295151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57EE59E-0F96-4A09-B175-E401D006667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" y="829749"/>
            <a:ext cx="4686300" cy="30767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44B6764-AD64-4628-AB27-D130A9E17C31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391728" y="1767341"/>
            <a:ext cx="3745843" cy="332331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99A7705-D314-45E1-8991-103B88862D1A}"/>
              </a:ext>
            </a:extLst>
          </p:cNvPr>
          <p:cNvSpPr txBox="1"/>
          <p:nvPr/>
        </p:nvSpPr>
        <p:spPr>
          <a:xfrm>
            <a:off x="4784276" y="1259175"/>
            <a:ext cx="3559628" cy="4616648"/>
          </a:xfrm>
          <a:prstGeom prst="rect">
            <a:avLst/>
          </a:prstGeom>
          <a:noFill/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last 7-day Hospitalizations  </a:t>
            </a:r>
            <a:r>
              <a:rPr lang="en-US" b="1" dirty="0"/>
              <a:t>increased in all  provinces </a:t>
            </a:r>
            <a:r>
              <a:rPr lang="en-US" dirty="0"/>
              <a:t>except KZN &amp; W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spitalizations in the NC have surpassed the peaks of both the first and second waves in the provi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spitalizations in FS and NW are steeply trending upwards, with GP beginning to show similar tre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Hospitalizations </a:t>
            </a:r>
            <a:r>
              <a:rPr lang="en-US" dirty="0"/>
              <a:t>are gradually increasing in EC, LP and 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Deaths  increased in 6 provinces </a:t>
            </a:r>
            <a:r>
              <a:rPr lang="en-US" dirty="0"/>
              <a:t>in last 7 days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9332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261E2F-D57C-4689-BC6E-8108BD746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u="none" dirty="0"/>
              <a:t>National Oxygen Volume Trends</a:t>
            </a:r>
            <a:endParaRPr lang="en-GB" sz="3600" u="non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E6C43A-9D7F-45E4-8ECC-25E4A0AC8E3F}"/>
              </a:ext>
            </a:extLst>
          </p:cNvPr>
          <p:cNvSpPr txBox="1"/>
          <p:nvPr/>
        </p:nvSpPr>
        <p:spPr>
          <a:xfrm>
            <a:off x="1028702" y="2644170"/>
            <a:ext cx="3066368" cy="2308324"/>
          </a:xfrm>
          <a:prstGeom prst="rect">
            <a:avLst/>
          </a:prstGeom>
          <a:noFill/>
          <a:ln w="28575">
            <a:solidFill>
              <a:schemeClr val="accent4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At the national level: </a:t>
            </a:r>
            <a:r>
              <a:rPr lang="en-US" sz="2400" b="1" dirty="0"/>
              <a:t>Oxygen demand is increasing</a:t>
            </a:r>
            <a:r>
              <a:rPr lang="en-US" sz="2400" dirty="0"/>
              <a:t> both on the 7 day moving average and the 21 days moving aver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355450-669E-47FC-A5D1-1C20498F21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26652" t="36429" r="33393" b="12122"/>
          <a:stretch/>
        </p:blipFill>
        <p:spPr>
          <a:xfrm>
            <a:off x="4840725" y="1186371"/>
            <a:ext cx="6498091" cy="47066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BED2D55-0065-4400-A6CC-A03C414CA8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62768" t="20496" r="24196" b="70080"/>
          <a:stretch/>
        </p:blipFill>
        <p:spPr>
          <a:xfrm>
            <a:off x="5040086" y="6026664"/>
            <a:ext cx="1589314" cy="6463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7AB8F70-E6EA-469F-B7BF-9B7911899A0D}"/>
              </a:ext>
            </a:extLst>
          </p:cNvPr>
          <p:cNvSpPr txBox="1"/>
          <p:nvPr/>
        </p:nvSpPr>
        <p:spPr>
          <a:xfrm>
            <a:off x="4095070" y="6166132"/>
            <a:ext cx="997404" cy="36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5927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3AEF8-D07E-4B1A-AFBC-D9E5AB99112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6676"/>
            <a:ext cx="12192000" cy="1004888"/>
          </a:xfrm>
          <a:prstGeom prst="rect">
            <a:avLst/>
          </a:prstGeom>
        </p:spPr>
        <p:txBody>
          <a:bodyPr/>
          <a:lstStyle/>
          <a:p>
            <a:r>
              <a:rPr lang="en-US" sz="4000" b="1" dirty="0">
                <a:solidFill>
                  <a:schemeClr val="bg1"/>
                </a:solidFill>
              </a:rPr>
              <a:t>Justification for urgent  change in  the restrictions </a:t>
            </a:r>
            <a:endParaRPr lang="en-GB" sz="4000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65CACF2-95AF-4030-9A91-036A1C9C07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380452"/>
              </p:ext>
            </p:extLst>
          </p:nvPr>
        </p:nvGraphicFramePr>
        <p:xfrm>
          <a:off x="1556739" y="797918"/>
          <a:ext cx="8720222" cy="5530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94082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3AEF8-D07E-4B1A-AFBC-D9E5AB99112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8720"/>
            <a:ext cx="12192000" cy="1004888"/>
          </a:xfrm>
          <a:prstGeom prst="rect">
            <a:avLst/>
          </a:prstGeom>
        </p:spPr>
        <p:txBody>
          <a:bodyPr/>
          <a:lstStyle/>
          <a:p>
            <a:r>
              <a:rPr lang="en-US" sz="4000" b="1" dirty="0">
                <a:solidFill>
                  <a:schemeClr val="bg1"/>
                </a:solidFill>
              </a:rPr>
              <a:t>Justification for urgent  change in  the restrictions</a:t>
            </a:r>
            <a:endParaRPr lang="en-GB" sz="4000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66309D4-7CA1-4896-83D0-5807327CBF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5290674"/>
              </p:ext>
            </p:extLst>
          </p:nvPr>
        </p:nvGraphicFramePr>
        <p:xfrm>
          <a:off x="1677224" y="1043608"/>
          <a:ext cx="7929111" cy="5009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708862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2"/>
          <p:cNvSpPr/>
          <p:nvPr/>
        </p:nvSpPr>
        <p:spPr>
          <a:xfrm>
            <a:off x="-13525" y="9125"/>
            <a:ext cx="12192000" cy="5940900"/>
          </a:xfrm>
          <a:prstGeom prst="rect">
            <a:avLst/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dirty="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rPr>
              <a:t>Vaccine EVDS Registration and Roll-out Update</a:t>
            </a:r>
            <a:endParaRPr sz="2800" b="1"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63273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FEAEE-F51F-460C-BD3F-64CA2B279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0"/>
            <a:ext cx="7236296" cy="930276"/>
          </a:xfrm>
        </p:spPr>
        <p:txBody>
          <a:bodyPr/>
          <a:lstStyle/>
          <a:p>
            <a:r>
              <a:rPr lang="en-ZA" sz="3600" dirty="0"/>
              <a:t>Registrations as at 28 May at 10h40 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01EF83B-0F7E-465B-B542-9FB2C6199F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0769" y="1196752"/>
            <a:ext cx="11878573" cy="4626078"/>
          </a:xfrm>
        </p:spPr>
      </p:pic>
    </p:spTree>
    <p:extLst>
      <p:ext uri="{BB962C8B-B14F-4D97-AF65-F5344CB8AC3E}">
        <p14:creationId xmlns:p14="http://schemas.microsoft.com/office/powerpoint/2010/main" val="7934472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CEE45-3DA0-4672-9B75-C8C0332F0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4894" y="83976"/>
            <a:ext cx="7647451" cy="1112777"/>
          </a:xfrm>
        </p:spPr>
        <p:txBody>
          <a:bodyPr/>
          <a:lstStyle/>
          <a:p>
            <a:r>
              <a:rPr lang="en-ZA" sz="2800" dirty="0"/>
              <a:t>Vaccinations – As at Midnight on 26 May 202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123B0C-E96E-49B1-8785-19A8CD58A5AB}"/>
              </a:ext>
            </a:extLst>
          </p:cNvPr>
          <p:cNvSpPr txBox="1"/>
          <p:nvPr/>
        </p:nvSpPr>
        <p:spPr>
          <a:xfrm>
            <a:off x="4156232" y="5868999"/>
            <a:ext cx="651176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ZA" dirty="0">
                <a:solidFill>
                  <a:srgbClr val="252423"/>
                </a:solidFill>
                <a:latin typeface="Segoe UI" panose="020B0502040204020203" pitchFamily="34" charset="0"/>
              </a:rPr>
              <a:t>Disclaimer:</a:t>
            </a:r>
          </a:p>
          <a:p>
            <a:pPr algn="l"/>
            <a:r>
              <a:rPr lang="en-ZA" sz="1200" dirty="0">
                <a:solidFill>
                  <a:srgbClr val="252423"/>
                </a:solidFill>
              </a:rPr>
              <a:t>Data displayed in this Dashboard only contains vaccination records captured in the Electronic Vaccination Data System (EVDS) and excludes vaccination records captured on paper. Totals will be adjusted as back-capturing and data validation is done.</a:t>
            </a:r>
            <a:endParaRPr lang="en-ZA" sz="1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512DF7-8C24-4188-BC50-91D81E52C8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614EDE-F563-47A2-8180-BA4AB676245E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29396" y="990600"/>
            <a:ext cx="12321395" cy="495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9046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">
            <a:hlinkClick r:id="" action="ppaction://noaction"/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5215"/>
            <a:ext cx="12192000" cy="6988252"/>
          </a:xfrm>
          <a:prstGeom prst="rect">
            <a:avLst/>
          </a:prstGeom>
          <a:noFill/>
        </p:spPr>
      </p:pic>
      <p:sp>
        <p:nvSpPr>
          <p:cNvPr id="4" name="Title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OVID-19 Vaccination Sites</a:t>
            </a:r>
          </a:p>
        </p:txBody>
      </p:sp>
    </p:spTree>
    <p:extLst>
      <p:ext uri="{BB962C8B-B14F-4D97-AF65-F5344CB8AC3E}">
        <p14:creationId xmlns:p14="http://schemas.microsoft.com/office/powerpoint/2010/main" val="38262149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92AF86-59DB-4081-A2C1-F54254FE59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/>
              <a:t>Thank you 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103562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A81A6B-0453-46DB-9460-0B38CA396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3762" y="102742"/>
            <a:ext cx="0" cy="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troduction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5F0F85-2FEA-42AC-A951-DC4A86AB0B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91978"/>
            <a:ext cx="11462940" cy="4896073"/>
          </a:xfrm>
        </p:spPr>
        <p:txBody>
          <a:bodyPr/>
          <a:lstStyle/>
          <a:p>
            <a:r>
              <a:rPr lang="en-US" sz="2400" dirty="0"/>
              <a:t>There has been sustained increase in the daily new cases for the </a:t>
            </a:r>
            <a:r>
              <a:rPr lang="en-US" sz="2400" b="1" dirty="0"/>
              <a:t>three </a:t>
            </a:r>
            <a:r>
              <a:rPr lang="en-US" sz="2400" dirty="0"/>
              <a:t>consecutive weeks in all provinces</a:t>
            </a:r>
          </a:p>
          <a:p>
            <a:r>
              <a:rPr lang="en-US" sz="2400" dirty="0"/>
              <a:t>As of 26th May</a:t>
            </a:r>
          </a:p>
          <a:p>
            <a:pPr lvl="1"/>
            <a:r>
              <a:rPr lang="en-US" sz="2400" dirty="0"/>
              <a:t>Cumulatively of 1,645, 555 cases, recoveries  1,546, 583 (94.0%).</a:t>
            </a:r>
          </a:p>
          <a:p>
            <a:pPr lvl="1"/>
            <a:r>
              <a:rPr lang="en-US" sz="2400" dirty="0"/>
              <a:t>There are </a:t>
            </a:r>
            <a:r>
              <a:rPr lang="en-US" sz="2400" b="1" dirty="0"/>
              <a:t>56,077</a:t>
            </a:r>
            <a:r>
              <a:rPr lang="en-US" sz="2400" dirty="0"/>
              <a:t> deaths (CFR 3.4%)</a:t>
            </a:r>
          </a:p>
          <a:p>
            <a:pPr lvl="1"/>
            <a:r>
              <a:rPr lang="en-US" sz="2400" dirty="0"/>
              <a:t>There are currently </a:t>
            </a:r>
            <a:r>
              <a:rPr lang="en-US" sz="2400" b="1" dirty="0"/>
              <a:t>42 895 </a:t>
            </a:r>
            <a:r>
              <a:rPr lang="en-US" sz="2400" dirty="0"/>
              <a:t>active cases (12% hospitalized)</a:t>
            </a:r>
          </a:p>
          <a:p>
            <a:pPr lvl="1"/>
            <a:r>
              <a:rPr lang="en-US" sz="2400" dirty="0"/>
              <a:t>Test positivity rate is tending towards 10,1 %  </a:t>
            </a:r>
          </a:p>
          <a:p>
            <a:r>
              <a:rPr lang="en-US" sz="2400" dirty="0"/>
              <a:t>Lessons from our second wave response highlighted the importance of early response to sustained increase in new cases.</a:t>
            </a:r>
          </a:p>
          <a:p>
            <a:r>
              <a:rPr lang="en-US" sz="2400" dirty="0"/>
              <a:t>Lessons from other countries underline the need to </a:t>
            </a:r>
            <a:r>
              <a:rPr lang="en-US" sz="2400" b="1" dirty="0"/>
              <a:t>slow down transmission,</a:t>
            </a:r>
            <a:r>
              <a:rPr lang="en-US" sz="2400" dirty="0"/>
              <a:t>  facilitate vaccine penetration, and thus allow for the benefits to take effect – to avoid overwhelming the health system</a:t>
            </a:r>
            <a:r>
              <a:rPr lang="en-US" sz="2800" dirty="0"/>
              <a:t>. </a:t>
            </a:r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27098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A45709A-3C63-4678-8AFF-929B05F7D99E}"/>
              </a:ext>
            </a:extLst>
          </p:cNvPr>
          <p:cNvGraphicFramePr>
            <a:graphicFrameLocks/>
          </p:cNvGraphicFramePr>
          <p:nvPr/>
        </p:nvGraphicFramePr>
        <p:xfrm>
          <a:off x="5902507" y="1099877"/>
          <a:ext cx="6140918" cy="5146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69CAEF-3FEF-4CB4-ADCC-BF622F1A4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652" y="413208"/>
            <a:ext cx="11694695" cy="760500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ZA" sz="3600" b="1" dirty="0">
                <a:latin typeface="Arial" panose="020B0604020202020204" pitchFamily="34" charset="0"/>
                <a:cs typeface="Arial" panose="020B0604020202020204" pitchFamily="34" charset="0"/>
              </a:rPr>
              <a:t>Average daily tests &amp; proportion of positive tests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B4DA6681-C65D-4284-ACF4-8B36ABEBB129}"/>
              </a:ext>
            </a:extLst>
          </p:cNvPr>
          <p:cNvGraphicFramePr>
            <a:graphicFrameLocks/>
          </p:cNvGraphicFramePr>
          <p:nvPr/>
        </p:nvGraphicFramePr>
        <p:xfrm>
          <a:off x="86228" y="1071803"/>
          <a:ext cx="6365876" cy="5146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DA3F9F-535A-4ADE-9A7D-6DF4C543265F}"/>
              </a:ext>
            </a:extLst>
          </p:cNvPr>
          <p:cNvSpPr txBox="1"/>
          <p:nvPr/>
        </p:nvSpPr>
        <p:spPr>
          <a:xfrm>
            <a:off x="389074" y="6128726"/>
            <a:ext cx="17559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i="1" dirty="0">
                <a:latin typeface="Arial" panose="020B0604020202020204" pitchFamily="34" charset="0"/>
                <a:cs typeface="Arial" panose="020B0604020202020204" pitchFamily="34" charset="0"/>
              </a:rPr>
              <a:t>Lighter shade is an incomplete wee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4A0674-7F21-4348-BF55-6B67FB0403C8}"/>
              </a:ext>
            </a:extLst>
          </p:cNvPr>
          <p:cNvSpPr txBox="1"/>
          <p:nvPr/>
        </p:nvSpPr>
        <p:spPr>
          <a:xfrm>
            <a:off x="3048181" y="6218569"/>
            <a:ext cx="756266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206" marR="4483" algn="ctr">
              <a:spcBef>
                <a:spcPts val="88"/>
              </a:spcBef>
            </a:pPr>
            <a:r>
              <a:rPr lang="en-US" spc="-4" dirty="0">
                <a:solidFill>
                  <a:prstClr val="black"/>
                </a:solidFill>
                <a:latin typeface="Arial"/>
                <a:cs typeface="Arial"/>
              </a:rPr>
              <a:t>Cumulative number tests </a:t>
            </a:r>
            <a:r>
              <a:rPr lang="en-US" dirty="0">
                <a:solidFill>
                  <a:prstClr val="black"/>
                </a:solidFill>
                <a:latin typeface="Arial"/>
                <a:cs typeface="Arial"/>
              </a:rPr>
              <a:t>4 </a:t>
            </a:r>
            <a:r>
              <a:rPr lang="en-US" spc="-4" dirty="0">
                <a:solidFill>
                  <a:prstClr val="black"/>
                </a:solidFill>
                <a:latin typeface="Arial"/>
                <a:cs typeface="Arial"/>
              </a:rPr>
              <a:t>Mar 2020 – 27 May 2021 = 11,495,627</a:t>
            </a:r>
          </a:p>
        </p:txBody>
      </p:sp>
    </p:spTree>
    <p:extLst>
      <p:ext uri="{BB962C8B-B14F-4D97-AF65-F5344CB8AC3E}">
        <p14:creationId xmlns:p14="http://schemas.microsoft.com/office/powerpoint/2010/main" val="1051113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F393C41-5F40-4A89-89CA-EC4E9F278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579" y="280512"/>
            <a:ext cx="11776841" cy="1102461"/>
          </a:xfrm>
        </p:spPr>
        <p:txBody>
          <a:bodyPr>
            <a:noAutofit/>
          </a:bodyPr>
          <a:lstStyle/>
          <a:p>
            <a:r>
              <a:rPr lang="en-ZA" dirty="0"/>
              <a:t>Confirmed SARS-Cov-2 cases by pro</a:t>
            </a:r>
            <a:r>
              <a:rPr lang="en-ZA" sz="3600" b="1" dirty="0">
                <a:latin typeface="Arial" panose="020B0604020202020204" pitchFamily="34" charset="0"/>
                <a:cs typeface="Arial" panose="020B0604020202020204" pitchFamily="34" charset="0"/>
              </a:rPr>
              <a:t>vince</a:t>
            </a:r>
            <a:r>
              <a:rPr lang="en-ZA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ZA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ZA" sz="2000" dirty="0">
                <a:solidFill>
                  <a:schemeClr val="tx1"/>
                </a:solidFill>
              </a:rPr>
              <a:t>7-day moving average </a:t>
            </a:r>
            <a:r>
              <a:rPr lang="en-US" sz="2000" dirty="0">
                <a:solidFill>
                  <a:schemeClr val="tx1"/>
                </a:solidFill>
              </a:rPr>
              <a:t>cases per 100,000 population – up to 27 May 2021</a:t>
            </a:r>
            <a:r>
              <a:rPr lang="en-ZA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CDAE33-CC81-4A28-AD0F-65710ACA144C}"/>
              </a:ext>
            </a:extLst>
          </p:cNvPr>
          <p:cNvSpPr txBox="1"/>
          <p:nvPr/>
        </p:nvSpPr>
        <p:spPr>
          <a:xfrm>
            <a:off x="3242224" y="6423599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400" i="1" dirty="0">
                <a:latin typeface="Arial" panose="020B0604020202020204" pitchFamily="34" charset="0"/>
                <a:cs typeface="Arial" panose="020B0604020202020204" pitchFamily="34" charset="0"/>
              </a:rPr>
              <a:t>Data source: Department of Health; Analysis: Cheryl Baxter</a:t>
            </a:r>
            <a:endParaRPr lang="en-ZA" sz="140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DE9B569-CDEE-4BC8-9CA2-4CC00BBE0457}"/>
              </a:ext>
            </a:extLst>
          </p:cNvPr>
          <p:cNvCxnSpPr>
            <a:cxnSpLocks/>
          </p:cNvCxnSpPr>
          <p:nvPr/>
        </p:nvCxnSpPr>
        <p:spPr>
          <a:xfrm>
            <a:off x="1489166" y="5738952"/>
            <a:ext cx="879783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34C39EA4-0643-4DEA-B37E-EB8BDAD23900}"/>
              </a:ext>
            </a:extLst>
          </p:cNvPr>
          <p:cNvSpPr txBox="1"/>
          <p:nvPr/>
        </p:nvSpPr>
        <p:spPr>
          <a:xfrm>
            <a:off x="1576252" y="5346538"/>
            <a:ext cx="7793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>
                <a:solidFill>
                  <a:schemeClr val="bg1">
                    <a:lumMod val="75000"/>
                  </a:schemeClr>
                </a:solidFill>
              </a:rPr>
              <a:t>5/100,000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C1BF230-45E7-4680-8D4D-608AFDDEDA86}"/>
              </a:ext>
            </a:extLst>
          </p:cNvPr>
          <p:cNvCxnSpPr>
            <a:cxnSpLocks/>
          </p:cNvCxnSpPr>
          <p:nvPr/>
        </p:nvCxnSpPr>
        <p:spPr>
          <a:xfrm>
            <a:off x="1680755" y="5560590"/>
            <a:ext cx="0" cy="17836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14EB772-8C42-465A-B66F-91BBDB33FA5D}"/>
              </a:ext>
            </a:extLst>
          </p:cNvPr>
          <p:cNvGraphicFramePr>
            <a:graphicFrameLocks/>
          </p:cNvGraphicFramePr>
          <p:nvPr/>
        </p:nvGraphicFramePr>
        <p:xfrm>
          <a:off x="0" y="1025662"/>
          <a:ext cx="11864900" cy="5832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76478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F393C41-5F40-4A89-89CA-EC4E9F278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579" y="280512"/>
            <a:ext cx="11776841" cy="1102461"/>
          </a:xfrm>
        </p:spPr>
        <p:txBody>
          <a:bodyPr>
            <a:noAutofit/>
          </a:bodyPr>
          <a:lstStyle/>
          <a:p>
            <a:r>
              <a:rPr lang="en-ZA" dirty="0"/>
              <a:t>Confirmed SARS-Cov-2 cases by pro</a:t>
            </a:r>
            <a:r>
              <a:rPr lang="en-ZA" sz="3600" b="1" dirty="0">
                <a:latin typeface="Arial" panose="020B0604020202020204" pitchFamily="34" charset="0"/>
                <a:cs typeface="Arial" panose="020B0604020202020204" pitchFamily="34" charset="0"/>
              </a:rPr>
              <a:t>vince</a:t>
            </a:r>
            <a:r>
              <a:rPr lang="en-ZA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ZA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ZA" sz="2000" dirty="0">
                <a:solidFill>
                  <a:schemeClr val="tx1"/>
                </a:solidFill>
              </a:rPr>
              <a:t>7-day moving average </a:t>
            </a:r>
            <a:r>
              <a:rPr lang="en-US" sz="2000" dirty="0">
                <a:solidFill>
                  <a:schemeClr val="tx1"/>
                </a:solidFill>
              </a:rPr>
              <a:t>cases per 100,000 population – up to 27 May 2021</a:t>
            </a:r>
            <a:r>
              <a:rPr lang="en-ZA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14EB772-8C42-465A-B66F-91BBDB33FA5D}"/>
              </a:ext>
            </a:extLst>
          </p:cNvPr>
          <p:cNvGraphicFramePr>
            <a:graphicFrameLocks/>
          </p:cNvGraphicFramePr>
          <p:nvPr/>
        </p:nvGraphicFramePr>
        <p:xfrm>
          <a:off x="-4551" y="1025662"/>
          <a:ext cx="11864900" cy="5627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1">
            <a:extLst>
              <a:ext uri="{FF2B5EF4-FFF2-40B4-BE49-F238E27FC236}">
                <a16:creationId xmlns:a16="http://schemas.microsoft.com/office/drawing/2014/main" id="{9F623361-175C-45A1-9610-85DE6FE4E549}"/>
              </a:ext>
            </a:extLst>
          </p:cNvPr>
          <p:cNvSpPr txBox="1"/>
          <p:nvPr/>
        </p:nvSpPr>
        <p:spPr>
          <a:xfrm>
            <a:off x="7773557" y="4798633"/>
            <a:ext cx="1375853" cy="26994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 kern="1200" dirty="0">
                <a:solidFill>
                  <a:srgbClr val="B4CC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West</a:t>
            </a: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2E28F2A2-5245-4377-B1CE-48762B836404}"/>
              </a:ext>
            </a:extLst>
          </p:cNvPr>
          <p:cNvSpPr txBox="1"/>
          <p:nvPr/>
        </p:nvSpPr>
        <p:spPr>
          <a:xfrm>
            <a:off x="7773080" y="4628517"/>
            <a:ext cx="1375854" cy="26994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 kern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uteng</a:t>
            </a:r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B490713E-0002-4D36-AEA2-EA3DD9976318}"/>
              </a:ext>
            </a:extLst>
          </p:cNvPr>
          <p:cNvSpPr txBox="1"/>
          <p:nvPr/>
        </p:nvSpPr>
        <p:spPr>
          <a:xfrm>
            <a:off x="7799205" y="5493093"/>
            <a:ext cx="1375854" cy="269946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 kern="1200" dirty="0">
                <a:solidFill>
                  <a:srgbClr val="4F62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ern Cape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F45DCE08-AC54-4A47-B41B-42B8063634DB}"/>
              </a:ext>
            </a:extLst>
          </p:cNvPr>
          <p:cNvSpPr txBox="1"/>
          <p:nvPr/>
        </p:nvSpPr>
        <p:spPr>
          <a:xfrm>
            <a:off x="7799207" y="5358121"/>
            <a:ext cx="1375853" cy="26994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 kern="12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umalanga</a:t>
            </a: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570F96A2-3553-432D-9A21-9B75C8805C2F}"/>
              </a:ext>
            </a:extLst>
          </p:cNvPr>
          <p:cNvSpPr txBox="1"/>
          <p:nvPr/>
        </p:nvSpPr>
        <p:spPr>
          <a:xfrm>
            <a:off x="7773080" y="5113968"/>
            <a:ext cx="1375853" cy="26994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ZA" sz="12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34AD4A-8E9E-4A46-9CE8-EBB34B10E5D5}"/>
              </a:ext>
            </a:extLst>
          </p:cNvPr>
          <p:cNvSpPr txBox="1"/>
          <p:nvPr/>
        </p:nvSpPr>
        <p:spPr>
          <a:xfrm>
            <a:off x="3242224" y="6423599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1400" i="1" dirty="0">
                <a:latin typeface="Arial" panose="020B0604020202020204" pitchFamily="34" charset="0"/>
                <a:cs typeface="Arial" panose="020B0604020202020204" pitchFamily="34" charset="0"/>
              </a:rPr>
              <a:t>Data source: Department of Health; Analysis: Cheryl Baxter</a:t>
            </a:r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1290827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212517-8D33-4B22-86FD-FE1F2D814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emporal provincial trends in Covid-19 cas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8E1E3D4-EE42-4FEE-9B16-09F4EFD41B26}"/>
              </a:ext>
            </a:extLst>
          </p:cNvPr>
          <p:cNvSpPr/>
          <p:nvPr/>
        </p:nvSpPr>
        <p:spPr>
          <a:xfrm>
            <a:off x="3977334" y="6077667"/>
            <a:ext cx="183600" cy="183361"/>
          </a:xfrm>
          <a:prstGeom prst="rect">
            <a:avLst/>
          </a:prstGeom>
          <a:solidFill>
            <a:srgbClr val="FF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4B0CAEA-D9C7-4F2B-8BC3-38AABD15F160}"/>
              </a:ext>
            </a:extLst>
          </p:cNvPr>
          <p:cNvSpPr/>
          <p:nvPr/>
        </p:nvSpPr>
        <p:spPr>
          <a:xfrm>
            <a:off x="5106788" y="6077667"/>
            <a:ext cx="183600" cy="18336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BE4C38E-CA81-4CE0-B521-05769C63EDBF}"/>
              </a:ext>
            </a:extLst>
          </p:cNvPr>
          <p:cNvSpPr/>
          <p:nvPr/>
        </p:nvSpPr>
        <p:spPr>
          <a:xfrm>
            <a:off x="7733446" y="6077667"/>
            <a:ext cx="183600" cy="183361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E90B6B7-3D8D-48D5-867F-291FD3412132}"/>
              </a:ext>
            </a:extLst>
          </p:cNvPr>
          <p:cNvSpPr/>
          <p:nvPr/>
        </p:nvSpPr>
        <p:spPr>
          <a:xfrm>
            <a:off x="6301820" y="6077667"/>
            <a:ext cx="183600" cy="183361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6F2E18-718D-46FE-9DCC-5BC20A1867D0}"/>
              </a:ext>
            </a:extLst>
          </p:cNvPr>
          <p:cNvSpPr txBox="1"/>
          <p:nvPr/>
        </p:nvSpPr>
        <p:spPr>
          <a:xfrm>
            <a:off x="4161198" y="6024830"/>
            <a:ext cx="7665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0-4.99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7566AEF-EB8E-409A-8263-AD8182BDADC9}"/>
              </a:ext>
            </a:extLst>
          </p:cNvPr>
          <p:cNvSpPr txBox="1"/>
          <p:nvPr/>
        </p:nvSpPr>
        <p:spPr>
          <a:xfrm>
            <a:off x="4447417" y="5579470"/>
            <a:ext cx="29974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2000" b="1" dirty="0">
                <a:latin typeface="Arial" panose="020B0604020202020204" pitchFamily="34" charset="0"/>
                <a:cs typeface="Arial" panose="020B0604020202020204" pitchFamily="34" charset="0"/>
              </a:rPr>
              <a:t>Cases /100,000 /da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864A1BF-24C4-4A18-9592-41FEA9E52F7E}"/>
              </a:ext>
            </a:extLst>
          </p:cNvPr>
          <p:cNvSpPr txBox="1"/>
          <p:nvPr/>
        </p:nvSpPr>
        <p:spPr>
          <a:xfrm>
            <a:off x="5290388" y="6024830"/>
            <a:ext cx="8819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5 - 9.99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FDC49B4-6DDE-459A-BA9F-22C85220B094}"/>
              </a:ext>
            </a:extLst>
          </p:cNvPr>
          <p:cNvSpPr txBox="1"/>
          <p:nvPr/>
        </p:nvSpPr>
        <p:spPr>
          <a:xfrm>
            <a:off x="6477428" y="6024830"/>
            <a:ext cx="11095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10 - 14.99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694C7BA-866C-479C-B272-7E69D91F1ECD}"/>
              </a:ext>
            </a:extLst>
          </p:cNvPr>
          <p:cNvSpPr txBox="1"/>
          <p:nvPr/>
        </p:nvSpPr>
        <p:spPr>
          <a:xfrm>
            <a:off x="7917046" y="6024830"/>
            <a:ext cx="5325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&gt;15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3380C622-7822-498F-8570-F16D39A072FC}"/>
              </a:ext>
            </a:extLst>
          </p:cNvPr>
          <p:cNvSpPr txBox="1"/>
          <p:nvPr/>
        </p:nvSpPr>
        <p:spPr>
          <a:xfrm>
            <a:off x="2820963" y="6470432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1400" i="1" dirty="0">
                <a:latin typeface="Arial" panose="020B0604020202020204" pitchFamily="34" charset="0"/>
                <a:cs typeface="Arial" panose="020B0604020202020204" pitchFamily="34" charset="0"/>
              </a:rPr>
              <a:t>Data source: SA </a:t>
            </a:r>
            <a:r>
              <a:rPr lang="en-ZA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DoH</a:t>
            </a:r>
            <a:r>
              <a:rPr lang="en-ZA" sz="1400" i="1" dirty="0">
                <a:latin typeface="Arial" panose="020B0604020202020204" pitchFamily="34" charset="0"/>
                <a:cs typeface="Arial" panose="020B0604020202020204" pitchFamily="34" charset="0"/>
              </a:rPr>
              <a:t>; Analysis: Cheryl Baxter</a:t>
            </a:r>
            <a:endParaRPr lang="en-ZA" sz="1400" dirty="0"/>
          </a:p>
        </p:txBody>
      </p:sp>
      <p:grpSp>
        <p:nvGrpSpPr>
          <p:cNvPr id="169" name="Group 5">
            <a:extLst>
              <a:ext uri="{FF2B5EF4-FFF2-40B4-BE49-F238E27FC236}">
                <a16:creationId xmlns:a16="http://schemas.microsoft.com/office/drawing/2014/main" id="{6A183D7E-C4BF-40E7-8289-3839E51DD107}"/>
              </a:ext>
            </a:extLst>
          </p:cNvPr>
          <p:cNvGrpSpPr>
            <a:grpSpLocks/>
          </p:cNvGrpSpPr>
          <p:nvPr/>
        </p:nvGrpSpPr>
        <p:grpSpPr bwMode="auto">
          <a:xfrm>
            <a:off x="-38806" y="1961829"/>
            <a:ext cx="2981578" cy="2684977"/>
            <a:chOff x="2747963" y="2200275"/>
            <a:chExt cx="2943836" cy="2397125"/>
          </a:xfrm>
        </p:grpSpPr>
        <p:sp>
          <p:nvSpPr>
            <p:cNvPr id="170" name="Freeform 28">
              <a:extLst>
                <a:ext uri="{FF2B5EF4-FFF2-40B4-BE49-F238E27FC236}">
                  <a16:creationId xmlns:a16="http://schemas.microsoft.com/office/drawing/2014/main" id="{A9C59788-D572-4F05-88EF-E881C08C0C4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89438" y="2200275"/>
              <a:ext cx="903287" cy="577850"/>
            </a:xfrm>
            <a:custGeom>
              <a:avLst/>
              <a:gdLst>
                <a:gd name="T0" fmla="*/ 194827 w 459"/>
                <a:gd name="T1" fmla="*/ 206375 h 294"/>
                <a:gd name="T2" fmla="*/ 224346 w 459"/>
                <a:gd name="T3" fmla="*/ 188686 h 294"/>
                <a:gd name="T4" fmla="*/ 253865 w 459"/>
                <a:gd name="T5" fmla="*/ 165100 h 294"/>
                <a:gd name="T6" fmla="*/ 277480 w 459"/>
                <a:gd name="T7" fmla="*/ 123825 h 294"/>
                <a:gd name="T8" fmla="*/ 312903 w 459"/>
                <a:gd name="T9" fmla="*/ 88446 h 294"/>
                <a:gd name="T10" fmla="*/ 377846 w 459"/>
                <a:gd name="T11" fmla="*/ 76654 h 294"/>
                <a:gd name="T12" fmla="*/ 419172 w 459"/>
                <a:gd name="T13" fmla="*/ 47171 h 294"/>
                <a:gd name="T14" fmla="*/ 448692 w 459"/>
                <a:gd name="T15" fmla="*/ 17689 h 294"/>
                <a:gd name="T16" fmla="*/ 501826 w 459"/>
                <a:gd name="T17" fmla="*/ 11793 h 294"/>
                <a:gd name="T18" fmla="*/ 554961 w 459"/>
                <a:gd name="T19" fmla="*/ 5896 h 294"/>
                <a:gd name="T20" fmla="*/ 608095 w 459"/>
                <a:gd name="T21" fmla="*/ 29482 h 294"/>
                <a:gd name="T22" fmla="*/ 661230 w 459"/>
                <a:gd name="T23" fmla="*/ 41275 h 294"/>
                <a:gd name="T24" fmla="*/ 702557 w 459"/>
                <a:gd name="T25" fmla="*/ 35379 h 294"/>
                <a:gd name="T26" fmla="*/ 755691 w 459"/>
                <a:gd name="T27" fmla="*/ 35379 h 294"/>
                <a:gd name="T28" fmla="*/ 797018 w 459"/>
                <a:gd name="T29" fmla="*/ 47171 h 294"/>
                <a:gd name="T30" fmla="*/ 832441 w 459"/>
                <a:gd name="T31" fmla="*/ 129721 h 294"/>
                <a:gd name="T32" fmla="*/ 861960 w 459"/>
                <a:gd name="T33" fmla="*/ 259443 h 294"/>
                <a:gd name="T34" fmla="*/ 903287 w 459"/>
                <a:gd name="T35" fmla="*/ 336096 h 294"/>
                <a:gd name="T36" fmla="*/ 856056 w 459"/>
                <a:gd name="T37" fmla="*/ 341993 h 294"/>
                <a:gd name="T38" fmla="*/ 808826 w 459"/>
                <a:gd name="T39" fmla="*/ 353786 h 294"/>
                <a:gd name="T40" fmla="*/ 820633 w 459"/>
                <a:gd name="T41" fmla="*/ 406854 h 294"/>
                <a:gd name="T42" fmla="*/ 856056 w 459"/>
                <a:gd name="T43" fmla="*/ 454025 h 294"/>
                <a:gd name="T44" fmla="*/ 814729 w 459"/>
                <a:gd name="T45" fmla="*/ 489404 h 294"/>
                <a:gd name="T46" fmla="*/ 814729 w 459"/>
                <a:gd name="T47" fmla="*/ 512989 h 294"/>
                <a:gd name="T48" fmla="*/ 797018 w 459"/>
                <a:gd name="T49" fmla="*/ 518886 h 294"/>
                <a:gd name="T50" fmla="*/ 797018 w 459"/>
                <a:gd name="T51" fmla="*/ 501196 h 294"/>
                <a:gd name="T52" fmla="*/ 767499 w 459"/>
                <a:gd name="T53" fmla="*/ 471714 h 294"/>
                <a:gd name="T54" fmla="*/ 761595 w 459"/>
                <a:gd name="T55" fmla="*/ 442232 h 294"/>
                <a:gd name="T56" fmla="*/ 714364 w 459"/>
                <a:gd name="T57" fmla="*/ 436336 h 294"/>
                <a:gd name="T58" fmla="*/ 655326 w 459"/>
                <a:gd name="T59" fmla="*/ 442232 h 294"/>
                <a:gd name="T60" fmla="*/ 625807 w 459"/>
                <a:gd name="T61" fmla="*/ 465818 h 294"/>
                <a:gd name="T62" fmla="*/ 596287 w 459"/>
                <a:gd name="T63" fmla="*/ 501196 h 294"/>
                <a:gd name="T64" fmla="*/ 554961 w 459"/>
                <a:gd name="T65" fmla="*/ 524782 h 294"/>
                <a:gd name="T66" fmla="*/ 507730 w 459"/>
                <a:gd name="T67" fmla="*/ 542471 h 294"/>
                <a:gd name="T68" fmla="*/ 495922 w 459"/>
                <a:gd name="T69" fmla="*/ 507093 h 294"/>
                <a:gd name="T70" fmla="*/ 501826 w 459"/>
                <a:gd name="T71" fmla="*/ 471714 h 294"/>
                <a:gd name="T72" fmla="*/ 460499 w 459"/>
                <a:gd name="T73" fmla="*/ 501196 h 294"/>
                <a:gd name="T74" fmla="*/ 401461 w 459"/>
                <a:gd name="T75" fmla="*/ 507093 h 294"/>
                <a:gd name="T76" fmla="*/ 354230 w 459"/>
                <a:gd name="T77" fmla="*/ 530679 h 294"/>
                <a:gd name="T78" fmla="*/ 348326 w 459"/>
                <a:gd name="T79" fmla="*/ 554264 h 294"/>
                <a:gd name="T80" fmla="*/ 377846 w 459"/>
                <a:gd name="T81" fmla="*/ 560161 h 294"/>
                <a:gd name="T82" fmla="*/ 336519 w 459"/>
                <a:gd name="T83" fmla="*/ 577850 h 294"/>
                <a:gd name="T84" fmla="*/ 289288 w 459"/>
                <a:gd name="T85" fmla="*/ 554264 h 294"/>
                <a:gd name="T86" fmla="*/ 301096 w 459"/>
                <a:gd name="T87" fmla="*/ 536575 h 294"/>
                <a:gd name="T88" fmla="*/ 259769 w 459"/>
                <a:gd name="T89" fmla="*/ 512989 h 294"/>
                <a:gd name="T90" fmla="*/ 194827 w 459"/>
                <a:gd name="T91" fmla="*/ 512989 h 294"/>
                <a:gd name="T92" fmla="*/ 153500 w 459"/>
                <a:gd name="T93" fmla="*/ 536575 h 294"/>
                <a:gd name="T94" fmla="*/ 123981 w 459"/>
                <a:gd name="T95" fmla="*/ 507093 h 294"/>
                <a:gd name="T96" fmla="*/ 53135 w 459"/>
                <a:gd name="T97" fmla="*/ 495300 h 294"/>
                <a:gd name="T98" fmla="*/ 5904 w 459"/>
                <a:gd name="T99" fmla="*/ 477611 h 294"/>
                <a:gd name="T100" fmla="*/ 0 w 459"/>
                <a:gd name="T101" fmla="*/ 454025 h 294"/>
                <a:gd name="T102" fmla="*/ 29519 w 459"/>
                <a:gd name="T103" fmla="*/ 412750 h 294"/>
                <a:gd name="T104" fmla="*/ 64942 w 459"/>
                <a:gd name="T105" fmla="*/ 389164 h 294"/>
                <a:gd name="T106" fmla="*/ 82654 w 459"/>
                <a:gd name="T107" fmla="*/ 341993 h 294"/>
                <a:gd name="T108" fmla="*/ 94461 w 459"/>
                <a:gd name="T109" fmla="*/ 294821 h 294"/>
                <a:gd name="T110" fmla="*/ 106269 w 459"/>
                <a:gd name="T111" fmla="*/ 265339 h 294"/>
                <a:gd name="T112" fmla="*/ 129884 w 459"/>
                <a:gd name="T113" fmla="*/ 247650 h 294"/>
                <a:gd name="T114" fmla="*/ 153500 w 459"/>
                <a:gd name="T115" fmla="*/ 229961 h 2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459" h="294">
                  <a:moveTo>
                    <a:pt x="84" y="120"/>
                  </a:moveTo>
                  <a:lnTo>
                    <a:pt x="87" y="120"/>
                  </a:lnTo>
                  <a:lnTo>
                    <a:pt x="87" y="117"/>
                  </a:lnTo>
                  <a:lnTo>
                    <a:pt x="87" y="114"/>
                  </a:lnTo>
                  <a:lnTo>
                    <a:pt x="90" y="114"/>
                  </a:lnTo>
                  <a:lnTo>
                    <a:pt x="93" y="114"/>
                  </a:lnTo>
                  <a:lnTo>
                    <a:pt x="96" y="114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9" y="108"/>
                  </a:lnTo>
                  <a:lnTo>
                    <a:pt x="99" y="105"/>
                  </a:lnTo>
                  <a:lnTo>
                    <a:pt x="99" y="102"/>
                  </a:lnTo>
                  <a:lnTo>
                    <a:pt x="99" y="99"/>
                  </a:lnTo>
                  <a:lnTo>
                    <a:pt x="102" y="99"/>
                  </a:lnTo>
                  <a:lnTo>
                    <a:pt x="105" y="99"/>
                  </a:lnTo>
                  <a:lnTo>
                    <a:pt x="105" y="102"/>
                  </a:lnTo>
                  <a:lnTo>
                    <a:pt x="105" y="99"/>
                  </a:lnTo>
                  <a:lnTo>
                    <a:pt x="108" y="99"/>
                  </a:lnTo>
                  <a:lnTo>
                    <a:pt x="111" y="102"/>
                  </a:lnTo>
                  <a:lnTo>
                    <a:pt x="111" y="99"/>
                  </a:lnTo>
                  <a:lnTo>
                    <a:pt x="114" y="99"/>
                  </a:lnTo>
                  <a:lnTo>
                    <a:pt x="114" y="96"/>
                  </a:lnTo>
                  <a:lnTo>
                    <a:pt x="117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7" y="93"/>
                  </a:lnTo>
                  <a:lnTo>
                    <a:pt x="117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87"/>
                  </a:lnTo>
                  <a:lnTo>
                    <a:pt x="126" y="87"/>
                  </a:lnTo>
                  <a:lnTo>
                    <a:pt x="126" y="84"/>
                  </a:lnTo>
                  <a:lnTo>
                    <a:pt x="129" y="84"/>
                  </a:lnTo>
                  <a:lnTo>
                    <a:pt x="129" y="81"/>
                  </a:lnTo>
                  <a:lnTo>
                    <a:pt x="129" y="78"/>
                  </a:lnTo>
                  <a:lnTo>
                    <a:pt x="129" y="75"/>
                  </a:lnTo>
                  <a:lnTo>
                    <a:pt x="132" y="75"/>
                  </a:lnTo>
                  <a:lnTo>
                    <a:pt x="135" y="75"/>
                  </a:lnTo>
                  <a:lnTo>
                    <a:pt x="135" y="72"/>
                  </a:lnTo>
                  <a:lnTo>
                    <a:pt x="138" y="72"/>
                  </a:lnTo>
                  <a:lnTo>
                    <a:pt x="138" y="69"/>
                  </a:lnTo>
                  <a:lnTo>
                    <a:pt x="138" y="66"/>
                  </a:lnTo>
                  <a:lnTo>
                    <a:pt x="138" y="63"/>
                  </a:lnTo>
                  <a:lnTo>
                    <a:pt x="141" y="63"/>
                  </a:lnTo>
                  <a:lnTo>
                    <a:pt x="144" y="60"/>
                  </a:lnTo>
                  <a:lnTo>
                    <a:pt x="147" y="60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50" y="51"/>
                  </a:lnTo>
                  <a:lnTo>
                    <a:pt x="153" y="51"/>
                  </a:lnTo>
                  <a:lnTo>
                    <a:pt x="153" y="48"/>
                  </a:lnTo>
                  <a:lnTo>
                    <a:pt x="156" y="48"/>
                  </a:lnTo>
                  <a:lnTo>
                    <a:pt x="156" y="45"/>
                  </a:lnTo>
                  <a:lnTo>
                    <a:pt x="159" y="45"/>
                  </a:lnTo>
                  <a:lnTo>
                    <a:pt x="162" y="42"/>
                  </a:lnTo>
                  <a:lnTo>
                    <a:pt x="165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4" y="42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2" y="36"/>
                  </a:lnTo>
                  <a:lnTo>
                    <a:pt x="195" y="36"/>
                  </a:lnTo>
                  <a:lnTo>
                    <a:pt x="198" y="36"/>
                  </a:lnTo>
                  <a:lnTo>
                    <a:pt x="201" y="33"/>
                  </a:lnTo>
                  <a:lnTo>
                    <a:pt x="204" y="33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30"/>
                  </a:lnTo>
                  <a:lnTo>
                    <a:pt x="213" y="30"/>
                  </a:lnTo>
                  <a:lnTo>
                    <a:pt x="213" y="27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6" y="18"/>
                  </a:lnTo>
                  <a:lnTo>
                    <a:pt x="216" y="15"/>
                  </a:lnTo>
                  <a:lnTo>
                    <a:pt x="219" y="15"/>
                  </a:lnTo>
                  <a:lnTo>
                    <a:pt x="219" y="12"/>
                  </a:lnTo>
                  <a:lnTo>
                    <a:pt x="219" y="9"/>
                  </a:lnTo>
                  <a:lnTo>
                    <a:pt x="222" y="9"/>
                  </a:lnTo>
                  <a:lnTo>
                    <a:pt x="225" y="9"/>
                  </a:lnTo>
                  <a:lnTo>
                    <a:pt x="228" y="9"/>
                  </a:lnTo>
                  <a:lnTo>
                    <a:pt x="231" y="9"/>
                  </a:lnTo>
                  <a:lnTo>
                    <a:pt x="234" y="6"/>
                  </a:lnTo>
                  <a:lnTo>
                    <a:pt x="237" y="6"/>
                  </a:lnTo>
                  <a:lnTo>
                    <a:pt x="240" y="6"/>
                  </a:lnTo>
                  <a:lnTo>
                    <a:pt x="243" y="6"/>
                  </a:lnTo>
                  <a:lnTo>
                    <a:pt x="246" y="9"/>
                  </a:lnTo>
                  <a:lnTo>
                    <a:pt x="246" y="6"/>
                  </a:lnTo>
                  <a:lnTo>
                    <a:pt x="246" y="9"/>
                  </a:lnTo>
                  <a:lnTo>
                    <a:pt x="249" y="6"/>
                  </a:lnTo>
                  <a:lnTo>
                    <a:pt x="252" y="6"/>
                  </a:lnTo>
                  <a:lnTo>
                    <a:pt x="255" y="6"/>
                  </a:lnTo>
                  <a:lnTo>
                    <a:pt x="258" y="6"/>
                  </a:lnTo>
                  <a:lnTo>
                    <a:pt x="261" y="6"/>
                  </a:lnTo>
                  <a:lnTo>
                    <a:pt x="261" y="3"/>
                  </a:lnTo>
                  <a:lnTo>
                    <a:pt x="264" y="3"/>
                  </a:lnTo>
                  <a:lnTo>
                    <a:pt x="267" y="3"/>
                  </a:lnTo>
                  <a:lnTo>
                    <a:pt x="270" y="3"/>
                  </a:lnTo>
                  <a:lnTo>
                    <a:pt x="273" y="0"/>
                  </a:lnTo>
                  <a:lnTo>
                    <a:pt x="273" y="3"/>
                  </a:lnTo>
                  <a:lnTo>
                    <a:pt x="276" y="3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9"/>
                  </a:lnTo>
                  <a:lnTo>
                    <a:pt x="300" y="9"/>
                  </a:lnTo>
                  <a:lnTo>
                    <a:pt x="303" y="9"/>
                  </a:lnTo>
                  <a:lnTo>
                    <a:pt x="303" y="12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12" y="18"/>
                  </a:lnTo>
                  <a:lnTo>
                    <a:pt x="315" y="18"/>
                  </a:lnTo>
                  <a:lnTo>
                    <a:pt x="318" y="18"/>
                  </a:lnTo>
                  <a:lnTo>
                    <a:pt x="321" y="15"/>
                  </a:lnTo>
                  <a:lnTo>
                    <a:pt x="321" y="18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18"/>
                  </a:lnTo>
                  <a:lnTo>
                    <a:pt x="342" y="18"/>
                  </a:lnTo>
                  <a:lnTo>
                    <a:pt x="345" y="18"/>
                  </a:lnTo>
                  <a:lnTo>
                    <a:pt x="348" y="18"/>
                  </a:lnTo>
                  <a:lnTo>
                    <a:pt x="348" y="21"/>
                  </a:lnTo>
                  <a:lnTo>
                    <a:pt x="348" y="18"/>
                  </a:lnTo>
                  <a:lnTo>
                    <a:pt x="351" y="18"/>
                  </a:lnTo>
                  <a:lnTo>
                    <a:pt x="354" y="21"/>
                  </a:lnTo>
                  <a:lnTo>
                    <a:pt x="354" y="18"/>
                  </a:lnTo>
                  <a:lnTo>
                    <a:pt x="357" y="18"/>
                  </a:lnTo>
                  <a:lnTo>
                    <a:pt x="360" y="18"/>
                  </a:lnTo>
                  <a:lnTo>
                    <a:pt x="363" y="18"/>
                  </a:lnTo>
                  <a:lnTo>
                    <a:pt x="366" y="18"/>
                  </a:lnTo>
                  <a:lnTo>
                    <a:pt x="369" y="18"/>
                  </a:lnTo>
                  <a:lnTo>
                    <a:pt x="369" y="15"/>
                  </a:lnTo>
                  <a:lnTo>
                    <a:pt x="372" y="15"/>
                  </a:lnTo>
                  <a:lnTo>
                    <a:pt x="375" y="18"/>
                  </a:lnTo>
                  <a:lnTo>
                    <a:pt x="378" y="15"/>
                  </a:lnTo>
                  <a:lnTo>
                    <a:pt x="378" y="18"/>
                  </a:lnTo>
                  <a:lnTo>
                    <a:pt x="381" y="18"/>
                  </a:lnTo>
                  <a:lnTo>
                    <a:pt x="384" y="18"/>
                  </a:lnTo>
                  <a:lnTo>
                    <a:pt x="387" y="18"/>
                  </a:lnTo>
                  <a:lnTo>
                    <a:pt x="387" y="21"/>
                  </a:lnTo>
                  <a:lnTo>
                    <a:pt x="390" y="21"/>
                  </a:lnTo>
                  <a:lnTo>
                    <a:pt x="393" y="21"/>
                  </a:lnTo>
                  <a:lnTo>
                    <a:pt x="396" y="21"/>
                  </a:lnTo>
                  <a:lnTo>
                    <a:pt x="396" y="18"/>
                  </a:lnTo>
                  <a:lnTo>
                    <a:pt x="399" y="18"/>
                  </a:lnTo>
                  <a:lnTo>
                    <a:pt x="399" y="21"/>
                  </a:lnTo>
                  <a:lnTo>
                    <a:pt x="402" y="21"/>
                  </a:lnTo>
                  <a:lnTo>
                    <a:pt x="402" y="24"/>
                  </a:lnTo>
                  <a:lnTo>
                    <a:pt x="405" y="24"/>
                  </a:lnTo>
                  <a:lnTo>
                    <a:pt x="405" y="21"/>
                  </a:lnTo>
                  <a:lnTo>
                    <a:pt x="408" y="24"/>
                  </a:lnTo>
                  <a:lnTo>
                    <a:pt x="408" y="27"/>
                  </a:lnTo>
                  <a:lnTo>
                    <a:pt x="411" y="27"/>
                  </a:lnTo>
                  <a:lnTo>
                    <a:pt x="411" y="30"/>
                  </a:lnTo>
                  <a:lnTo>
                    <a:pt x="411" y="33"/>
                  </a:lnTo>
                  <a:lnTo>
                    <a:pt x="414" y="36"/>
                  </a:lnTo>
                  <a:lnTo>
                    <a:pt x="414" y="39"/>
                  </a:lnTo>
                  <a:lnTo>
                    <a:pt x="414" y="42"/>
                  </a:lnTo>
                  <a:lnTo>
                    <a:pt x="417" y="54"/>
                  </a:lnTo>
                  <a:lnTo>
                    <a:pt x="423" y="66"/>
                  </a:lnTo>
                  <a:lnTo>
                    <a:pt x="426" y="81"/>
                  </a:lnTo>
                  <a:lnTo>
                    <a:pt x="429" y="84"/>
                  </a:lnTo>
                  <a:lnTo>
                    <a:pt x="429" y="87"/>
                  </a:lnTo>
                  <a:lnTo>
                    <a:pt x="429" y="90"/>
                  </a:lnTo>
                  <a:lnTo>
                    <a:pt x="432" y="93"/>
                  </a:lnTo>
                  <a:lnTo>
                    <a:pt x="432" y="99"/>
                  </a:lnTo>
                  <a:lnTo>
                    <a:pt x="432" y="111"/>
                  </a:lnTo>
                  <a:lnTo>
                    <a:pt x="432" y="120"/>
                  </a:lnTo>
                  <a:lnTo>
                    <a:pt x="432" y="123"/>
                  </a:lnTo>
                  <a:lnTo>
                    <a:pt x="435" y="129"/>
                  </a:lnTo>
                  <a:lnTo>
                    <a:pt x="438" y="132"/>
                  </a:lnTo>
                  <a:lnTo>
                    <a:pt x="441" y="135"/>
                  </a:lnTo>
                  <a:lnTo>
                    <a:pt x="444" y="138"/>
                  </a:lnTo>
                  <a:lnTo>
                    <a:pt x="444" y="141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3"/>
                  </a:lnTo>
                  <a:lnTo>
                    <a:pt x="447" y="156"/>
                  </a:lnTo>
                  <a:lnTo>
                    <a:pt x="450" y="162"/>
                  </a:lnTo>
                  <a:lnTo>
                    <a:pt x="453" y="165"/>
                  </a:lnTo>
                  <a:lnTo>
                    <a:pt x="459" y="168"/>
                  </a:lnTo>
                  <a:lnTo>
                    <a:pt x="459" y="171"/>
                  </a:lnTo>
                  <a:lnTo>
                    <a:pt x="456" y="171"/>
                  </a:lnTo>
                  <a:lnTo>
                    <a:pt x="453" y="171"/>
                  </a:lnTo>
                  <a:lnTo>
                    <a:pt x="450" y="171"/>
                  </a:lnTo>
                  <a:lnTo>
                    <a:pt x="447" y="171"/>
                  </a:lnTo>
                  <a:lnTo>
                    <a:pt x="447" y="174"/>
                  </a:lnTo>
                  <a:lnTo>
                    <a:pt x="447" y="177"/>
                  </a:lnTo>
                  <a:lnTo>
                    <a:pt x="444" y="177"/>
                  </a:lnTo>
                  <a:lnTo>
                    <a:pt x="441" y="177"/>
                  </a:lnTo>
                  <a:lnTo>
                    <a:pt x="441" y="174"/>
                  </a:lnTo>
                  <a:lnTo>
                    <a:pt x="438" y="174"/>
                  </a:lnTo>
                  <a:lnTo>
                    <a:pt x="435" y="174"/>
                  </a:lnTo>
                  <a:lnTo>
                    <a:pt x="435" y="177"/>
                  </a:lnTo>
                  <a:lnTo>
                    <a:pt x="432" y="174"/>
                  </a:lnTo>
                  <a:lnTo>
                    <a:pt x="432" y="177"/>
                  </a:lnTo>
                  <a:lnTo>
                    <a:pt x="429" y="177"/>
                  </a:lnTo>
                  <a:lnTo>
                    <a:pt x="426" y="174"/>
                  </a:lnTo>
                  <a:lnTo>
                    <a:pt x="423" y="174"/>
                  </a:lnTo>
                  <a:lnTo>
                    <a:pt x="423" y="177"/>
                  </a:lnTo>
                  <a:lnTo>
                    <a:pt x="420" y="177"/>
                  </a:lnTo>
                  <a:lnTo>
                    <a:pt x="417" y="177"/>
                  </a:lnTo>
                  <a:lnTo>
                    <a:pt x="414" y="180"/>
                  </a:lnTo>
                  <a:lnTo>
                    <a:pt x="411" y="180"/>
                  </a:lnTo>
                  <a:lnTo>
                    <a:pt x="408" y="180"/>
                  </a:lnTo>
                  <a:lnTo>
                    <a:pt x="411" y="183"/>
                  </a:lnTo>
                  <a:lnTo>
                    <a:pt x="417" y="183"/>
                  </a:lnTo>
                  <a:lnTo>
                    <a:pt x="426" y="180"/>
                  </a:lnTo>
                  <a:lnTo>
                    <a:pt x="426" y="186"/>
                  </a:lnTo>
                  <a:lnTo>
                    <a:pt x="423" y="189"/>
                  </a:lnTo>
                  <a:lnTo>
                    <a:pt x="420" y="189"/>
                  </a:lnTo>
                  <a:lnTo>
                    <a:pt x="423" y="195"/>
                  </a:lnTo>
                  <a:lnTo>
                    <a:pt x="423" y="201"/>
                  </a:lnTo>
                  <a:lnTo>
                    <a:pt x="417" y="204"/>
                  </a:lnTo>
                  <a:lnTo>
                    <a:pt x="417" y="207"/>
                  </a:lnTo>
                  <a:lnTo>
                    <a:pt x="414" y="210"/>
                  </a:lnTo>
                  <a:lnTo>
                    <a:pt x="420" y="213"/>
                  </a:lnTo>
                  <a:lnTo>
                    <a:pt x="417" y="216"/>
                  </a:lnTo>
                  <a:lnTo>
                    <a:pt x="426" y="216"/>
                  </a:lnTo>
                  <a:lnTo>
                    <a:pt x="423" y="219"/>
                  </a:lnTo>
                  <a:lnTo>
                    <a:pt x="420" y="219"/>
                  </a:lnTo>
                  <a:lnTo>
                    <a:pt x="423" y="222"/>
                  </a:lnTo>
                  <a:lnTo>
                    <a:pt x="426" y="225"/>
                  </a:lnTo>
                  <a:lnTo>
                    <a:pt x="429" y="228"/>
                  </a:lnTo>
                  <a:lnTo>
                    <a:pt x="435" y="228"/>
                  </a:lnTo>
                  <a:lnTo>
                    <a:pt x="435" y="231"/>
                  </a:lnTo>
                  <a:lnTo>
                    <a:pt x="435" y="234"/>
                  </a:lnTo>
                  <a:lnTo>
                    <a:pt x="432" y="234"/>
                  </a:lnTo>
                  <a:lnTo>
                    <a:pt x="429" y="234"/>
                  </a:lnTo>
                  <a:lnTo>
                    <a:pt x="429" y="237"/>
                  </a:lnTo>
                  <a:lnTo>
                    <a:pt x="426" y="237"/>
                  </a:lnTo>
                  <a:lnTo>
                    <a:pt x="423" y="240"/>
                  </a:lnTo>
                  <a:lnTo>
                    <a:pt x="417" y="240"/>
                  </a:lnTo>
                  <a:lnTo>
                    <a:pt x="414" y="240"/>
                  </a:lnTo>
                  <a:lnTo>
                    <a:pt x="414" y="243"/>
                  </a:lnTo>
                  <a:lnTo>
                    <a:pt x="414" y="246"/>
                  </a:lnTo>
                  <a:lnTo>
                    <a:pt x="414" y="249"/>
                  </a:lnTo>
                  <a:lnTo>
                    <a:pt x="417" y="249"/>
                  </a:lnTo>
                  <a:lnTo>
                    <a:pt x="417" y="252"/>
                  </a:lnTo>
                  <a:lnTo>
                    <a:pt x="420" y="252"/>
                  </a:lnTo>
                  <a:lnTo>
                    <a:pt x="423" y="252"/>
                  </a:lnTo>
                  <a:lnTo>
                    <a:pt x="423" y="255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3" y="261"/>
                  </a:lnTo>
                  <a:lnTo>
                    <a:pt x="420" y="261"/>
                  </a:lnTo>
                  <a:lnTo>
                    <a:pt x="417" y="261"/>
                  </a:lnTo>
                  <a:lnTo>
                    <a:pt x="414" y="261"/>
                  </a:lnTo>
                  <a:lnTo>
                    <a:pt x="411" y="261"/>
                  </a:lnTo>
                  <a:lnTo>
                    <a:pt x="411" y="264"/>
                  </a:lnTo>
                  <a:lnTo>
                    <a:pt x="408" y="264"/>
                  </a:lnTo>
                  <a:lnTo>
                    <a:pt x="408" y="261"/>
                  </a:lnTo>
                  <a:lnTo>
                    <a:pt x="405" y="261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2" y="267"/>
                  </a:lnTo>
                  <a:lnTo>
                    <a:pt x="399" y="267"/>
                  </a:lnTo>
                  <a:lnTo>
                    <a:pt x="399" y="264"/>
                  </a:lnTo>
                  <a:lnTo>
                    <a:pt x="396" y="264"/>
                  </a:lnTo>
                  <a:lnTo>
                    <a:pt x="396" y="261"/>
                  </a:lnTo>
                  <a:lnTo>
                    <a:pt x="402" y="261"/>
                  </a:lnTo>
                  <a:lnTo>
                    <a:pt x="405" y="261"/>
                  </a:lnTo>
                  <a:lnTo>
                    <a:pt x="408" y="261"/>
                  </a:lnTo>
                  <a:lnTo>
                    <a:pt x="408" y="255"/>
                  </a:lnTo>
                  <a:lnTo>
                    <a:pt x="405" y="255"/>
                  </a:lnTo>
                  <a:lnTo>
                    <a:pt x="402" y="255"/>
                  </a:lnTo>
                  <a:lnTo>
                    <a:pt x="402" y="252"/>
                  </a:lnTo>
                  <a:lnTo>
                    <a:pt x="402" y="249"/>
                  </a:lnTo>
                  <a:lnTo>
                    <a:pt x="396" y="249"/>
                  </a:lnTo>
                  <a:lnTo>
                    <a:pt x="393" y="249"/>
                  </a:lnTo>
                  <a:lnTo>
                    <a:pt x="396" y="246"/>
                  </a:lnTo>
                  <a:lnTo>
                    <a:pt x="393" y="246"/>
                  </a:lnTo>
                  <a:lnTo>
                    <a:pt x="393" y="243"/>
                  </a:lnTo>
                  <a:lnTo>
                    <a:pt x="396" y="243"/>
                  </a:lnTo>
                  <a:lnTo>
                    <a:pt x="390" y="243"/>
                  </a:lnTo>
                  <a:lnTo>
                    <a:pt x="390" y="240"/>
                  </a:lnTo>
                  <a:lnTo>
                    <a:pt x="390" y="237"/>
                  </a:lnTo>
                  <a:lnTo>
                    <a:pt x="396" y="237"/>
                  </a:lnTo>
                  <a:lnTo>
                    <a:pt x="399" y="237"/>
                  </a:lnTo>
                  <a:lnTo>
                    <a:pt x="399" y="234"/>
                  </a:lnTo>
                  <a:lnTo>
                    <a:pt x="399" y="231"/>
                  </a:lnTo>
                  <a:lnTo>
                    <a:pt x="399" y="228"/>
                  </a:lnTo>
                  <a:lnTo>
                    <a:pt x="396" y="228"/>
                  </a:lnTo>
                  <a:lnTo>
                    <a:pt x="393" y="228"/>
                  </a:lnTo>
                  <a:lnTo>
                    <a:pt x="390" y="228"/>
                  </a:lnTo>
                  <a:lnTo>
                    <a:pt x="390" y="225"/>
                  </a:lnTo>
                  <a:lnTo>
                    <a:pt x="387" y="225"/>
                  </a:lnTo>
                  <a:lnTo>
                    <a:pt x="384" y="225"/>
                  </a:lnTo>
                  <a:lnTo>
                    <a:pt x="381" y="225"/>
                  </a:lnTo>
                  <a:lnTo>
                    <a:pt x="381" y="219"/>
                  </a:lnTo>
                  <a:lnTo>
                    <a:pt x="378" y="219"/>
                  </a:lnTo>
                  <a:lnTo>
                    <a:pt x="375" y="222"/>
                  </a:lnTo>
                  <a:lnTo>
                    <a:pt x="369" y="219"/>
                  </a:lnTo>
                  <a:lnTo>
                    <a:pt x="366" y="216"/>
                  </a:lnTo>
                  <a:lnTo>
                    <a:pt x="366" y="213"/>
                  </a:lnTo>
                  <a:lnTo>
                    <a:pt x="363" y="216"/>
                  </a:lnTo>
                  <a:lnTo>
                    <a:pt x="363" y="219"/>
                  </a:lnTo>
                  <a:lnTo>
                    <a:pt x="363" y="222"/>
                  </a:lnTo>
                  <a:lnTo>
                    <a:pt x="363" y="219"/>
                  </a:lnTo>
                  <a:lnTo>
                    <a:pt x="360" y="219"/>
                  </a:lnTo>
                  <a:lnTo>
                    <a:pt x="360" y="222"/>
                  </a:lnTo>
                  <a:lnTo>
                    <a:pt x="357" y="222"/>
                  </a:lnTo>
                  <a:lnTo>
                    <a:pt x="354" y="222"/>
                  </a:lnTo>
                  <a:lnTo>
                    <a:pt x="351" y="222"/>
                  </a:lnTo>
                  <a:lnTo>
                    <a:pt x="351" y="228"/>
                  </a:lnTo>
                  <a:lnTo>
                    <a:pt x="348" y="234"/>
                  </a:lnTo>
                  <a:lnTo>
                    <a:pt x="342" y="228"/>
                  </a:lnTo>
                  <a:lnTo>
                    <a:pt x="336" y="228"/>
                  </a:lnTo>
                  <a:lnTo>
                    <a:pt x="333" y="225"/>
                  </a:lnTo>
                  <a:lnTo>
                    <a:pt x="330" y="225"/>
                  </a:lnTo>
                  <a:lnTo>
                    <a:pt x="330" y="228"/>
                  </a:lnTo>
                  <a:lnTo>
                    <a:pt x="327" y="228"/>
                  </a:lnTo>
                  <a:lnTo>
                    <a:pt x="327" y="231"/>
                  </a:lnTo>
                  <a:lnTo>
                    <a:pt x="327" y="234"/>
                  </a:lnTo>
                  <a:lnTo>
                    <a:pt x="324" y="234"/>
                  </a:lnTo>
                  <a:lnTo>
                    <a:pt x="324" y="237"/>
                  </a:lnTo>
                  <a:lnTo>
                    <a:pt x="324" y="234"/>
                  </a:lnTo>
                  <a:lnTo>
                    <a:pt x="321" y="234"/>
                  </a:lnTo>
                  <a:lnTo>
                    <a:pt x="321" y="237"/>
                  </a:lnTo>
                  <a:lnTo>
                    <a:pt x="318" y="237"/>
                  </a:lnTo>
                  <a:lnTo>
                    <a:pt x="318" y="240"/>
                  </a:lnTo>
                  <a:lnTo>
                    <a:pt x="315" y="240"/>
                  </a:lnTo>
                  <a:lnTo>
                    <a:pt x="315" y="243"/>
                  </a:lnTo>
                  <a:lnTo>
                    <a:pt x="312" y="243"/>
                  </a:lnTo>
                  <a:lnTo>
                    <a:pt x="312" y="246"/>
                  </a:lnTo>
                  <a:lnTo>
                    <a:pt x="309" y="246"/>
                  </a:lnTo>
                  <a:lnTo>
                    <a:pt x="309" y="249"/>
                  </a:lnTo>
                  <a:lnTo>
                    <a:pt x="306" y="249"/>
                  </a:lnTo>
                  <a:lnTo>
                    <a:pt x="306" y="252"/>
                  </a:lnTo>
                  <a:lnTo>
                    <a:pt x="303" y="252"/>
                  </a:lnTo>
                  <a:lnTo>
                    <a:pt x="303" y="255"/>
                  </a:lnTo>
                  <a:lnTo>
                    <a:pt x="300" y="255"/>
                  </a:lnTo>
                  <a:lnTo>
                    <a:pt x="300" y="258"/>
                  </a:lnTo>
                  <a:lnTo>
                    <a:pt x="297" y="258"/>
                  </a:lnTo>
                  <a:lnTo>
                    <a:pt x="294" y="255"/>
                  </a:lnTo>
                  <a:lnTo>
                    <a:pt x="294" y="258"/>
                  </a:lnTo>
                  <a:lnTo>
                    <a:pt x="291" y="261"/>
                  </a:lnTo>
                  <a:lnTo>
                    <a:pt x="291" y="264"/>
                  </a:lnTo>
                  <a:lnTo>
                    <a:pt x="288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2" y="267"/>
                  </a:lnTo>
                  <a:lnTo>
                    <a:pt x="282" y="270"/>
                  </a:lnTo>
                  <a:lnTo>
                    <a:pt x="282" y="273"/>
                  </a:lnTo>
                  <a:lnTo>
                    <a:pt x="279" y="273"/>
                  </a:lnTo>
                  <a:lnTo>
                    <a:pt x="276" y="273"/>
                  </a:lnTo>
                  <a:lnTo>
                    <a:pt x="273" y="273"/>
                  </a:lnTo>
                  <a:lnTo>
                    <a:pt x="270" y="270"/>
                  </a:lnTo>
                  <a:lnTo>
                    <a:pt x="270" y="273"/>
                  </a:lnTo>
                  <a:lnTo>
                    <a:pt x="267" y="273"/>
                  </a:lnTo>
                  <a:lnTo>
                    <a:pt x="264" y="273"/>
                  </a:lnTo>
                  <a:lnTo>
                    <a:pt x="264" y="276"/>
                  </a:lnTo>
                  <a:lnTo>
                    <a:pt x="258" y="276"/>
                  </a:lnTo>
                  <a:lnTo>
                    <a:pt x="258" y="273"/>
                  </a:lnTo>
                  <a:lnTo>
                    <a:pt x="255" y="273"/>
                  </a:lnTo>
                  <a:lnTo>
                    <a:pt x="255" y="270"/>
                  </a:lnTo>
                  <a:lnTo>
                    <a:pt x="258" y="270"/>
                  </a:lnTo>
                  <a:lnTo>
                    <a:pt x="255" y="267"/>
                  </a:lnTo>
                  <a:lnTo>
                    <a:pt x="255" y="264"/>
                  </a:lnTo>
                  <a:lnTo>
                    <a:pt x="252" y="264"/>
                  </a:lnTo>
                  <a:lnTo>
                    <a:pt x="249" y="264"/>
                  </a:lnTo>
                  <a:lnTo>
                    <a:pt x="249" y="261"/>
                  </a:lnTo>
                  <a:lnTo>
                    <a:pt x="252" y="261"/>
                  </a:lnTo>
                  <a:lnTo>
                    <a:pt x="252" y="258"/>
                  </a:lnTo>
                  <a:lnTo>
                    <a:pt x="249" y="258"/>
                  </a:lnTo>
                  <a:lnTo>
                    <a:pt x="252" y="255"/>
                  </a:lnTo>
                  <a:lnTo>
                    <a:pt x="249" y="249"/>
                  </a:lnTo>
                  <a:lnTo>
                    <a:pt x="252" y="252"/>
                  </a:lnTo>
                  <a:lnTo>
                    <a:pt x="252" y="249"/>
                  </a:lnTo>
                  <a:lnTo>
                    <a:pt x="255" y="249"/>
                  </a:lnTo>
                  <a:lnTo>
                    <a:pt x="255" y="246"/>
                  </a:lnTo>
                  <a:lnTo>
                    <a:pt x="255" y="243"/>
                  </a:lnTo>
                  <a:lnTo>
                    <a:pt x="252" y="243"/>
                  </a:lnTo>
                  <a:lnTo>
                    <a:pt x="252" y="240"/>
                  </a:lnTo>
                  <a:lnTo>
                    <a:pt x="255" y="240"/>
                  </a:lnTo>
                  <a:lnTo>
                    <a:pt x="252" y="240"/>
                  </a:lnTo>
                  <a:lnTo>
                    <a:pt x="249" y="243"/>
                  </a:lnTo>
                  <a:lnTo>
                    <a:pt x="246" y="246"/>
                  </a:lnTo>
                  <a:lnTo>
                    <a:pt x="246" y="243"/>
                  </a:lnTo>
                  <a:lnTo>
                    <a:pt x="243" y="246"/>
                  </a:lnTo>
                  <a:lnTo>
                    <a:pt x="240" y="246"/>
                  </a:lnTo>
                  <a:lnTo>
                    <a:pt x="237" y="246"/>
                  </a:lnTo>
                  <a:lnTo>
                    <a:pt x="237" y="249"/>
                  </a:lnTo>
                  <a:lnTo>
                    <a:pt x="234" y="255"/>
                  </a:lnTo>
                  <a:lnTo>
                    <a:pt x="231" y="255"/>
                  </a:lnTo>
                  <a:lnTo>
                    <a:pt x="234" y="255"/>
                  </a:lnTo>
                  <a:lnTo>
                    <a:pt x="234" y="258"/>
                  </a:lnTo>
                  <a:lnTo>
                    <a:pt x="231" y="258"/>
                  </a:lnTo>
                  <a:lnTo>
                    <a:pt x="225" y="261"/>
                  </a:lnTo>
                  <a:lnTo>
                    <a:pt x="225" y="258"/>
                  </a:lnTo>
                  <a:lnTo>
                    <a:pt x="222" y="258"/>
                  </a:lnTo>
                  <a:lnTo>
                    <a:pt x="222" y="255"/>
                  </a:lnTo>
                  <a:lnTo>
                    <a:pt x="216" y="255"/>
                  </a:lnTo>
                  <a:lnTo>
                    <a:pt x="213" y="255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4" y="258"/>
                  </a:lnTo>
                  <a:lnTo>
                    <a:pt x="204" y="255"/>
                  </a:lnTo>
                  <a:lnTo>
                    <a:pt x="201" y="255"/>
                  </a:lnTo>
                  <a:lnTo>
                    <a:pt x="198" y="255"/>
                  </a:lnTo>
                  <a:lnTo>
                    <a:pt x="195" y="261"/>
                  </a:lnTo>
                  <a:lnTo>
                    <a:pt x="192" y="261"/>
                  </a:lnTo>
                  <a:lnTo>
                    <a:pt x="189" y="261"/>
                  </a:lnTo>
                  <a:lnTo>
                    <a:pt x="186" y="261"/>
                  </a:lnTo>
                  <a:lnTo>
                    <a:pt x="186" y="264"/>
                  </a:lnTo>
                  <a:lnTo>
                    <a:pt x="183" y="264"/>
                  </a:lnTo>
                  <a:lnTo>
                    <a:pt x="186" y="270"/>
                  </a:lnTo>
                  <a:lnTo>
                    <a:pt x="180" y="270"/>
                  </a:lnTo>
                  <a:lnTo>
                    <a:pt x="177" y="273"/>
                  </a:lnTo>
                  <a:lnTo>
                    <a:pt x="174" y="273"/>
                  </a:lnTo>
                  <a:lnTo>
                    <a:pt x="174" y="276"/>
                  </a:lnTo>
                  <a:lnTo>
                    <a:pt x="171" y="276"/>
                  </a:lnTo>
                  <a:lnTo>
                    <a:pt x="168" y="276"/>
                  </a:lnTo>
                  <a:lnTo>
                    <a:pt x="165" y="279"/>
                  </a:lnTo>
                  <a:lnTo>
                    <a:pt x="168" y="282"/>
                  </a:lnTo>
                  <a:lnTo>
                    <a:pt x="165" y="285"/>
                  </a:lnTo>
                  <a:lnTo>
                    <a:pt x="171" y="282"/>
                  </a:lnTo>
                  <a:lnTo>
                    <a:pt x="174" y="282"/>
                  </a:lnTo>
                  <a:lnTo>
                    <a:pt x="177" y="282"/>
                  </a:lnTo>
                  <a:lnTo>
                    <a:pt x="177" y="279"/>
                  </a:lnTo>
                  <a:lnTo>
                    <a:pt x="180" y="279"/>
                  </a:lnTo>
                  <a:lnTo>
                    <a:pt x="183" y="276"/>
                  </a:lnTo>
                  <a:lnTo>
                    <a:pt x="189" y="276"/>
                  </a:lnTo>
                  <a:lnTo>
                    <a:pt x="186" y="279"/>
                  </a:lnTo>
                  <a:lnTo>
                    <a:pt x="186" y="282"/>
                  </a:lnTo>
                  <a:lnTo>
                    <a:pt x="189" y="285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6" y="291"/>
                  </a:lnTo>
                  <a:lnTo>
                    <a:pt x="183" y="288"/>
                  </a:lnTo>
                  <a:lnTo>
                    <a:pt x="180" y="288"/>
                  </a:lnTo>
                  <a:lnTo>
                    <a:pt x="177" y="288"/>
                  </a:lnTo>
                  <a:lnTo>
                    <a:pt x="177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65" y="294"/>
                  </a:lnTo>
                  <a:lnTo>
                    <a:pt x="165" y="291"/>
                  </a:lnTo>
                  <a:lnTo>
                    <a:pt x="162" y="291"/>
                  </a:lnTo>
                  <a:lnTo>
                    <a:pt x="159" y="291"/>
                  </a:lnTo>
                  <a:lnTo>
                    <a:pt x="159" y="294"/>
                  </a:lnTo>
                  <a:lnTo>
                    <a:pt x="159" y="291"/>
                  </a:lnTo>
                  <a:lnTo>
                    <a:pt x="156" y="288"/>
                  </a:lnTo>
                  <a:lnTo>
                    <a:pt x="156" y="285"/>
                  </a:lnTo>
                  <a:lnTo>
                    <a:pt x="153" y="285"/>
                  </a:lnTo>
                  <a:lnTo>
                    <a:pt x="150" y="282"/>
                  </a:lnTo>
                  <a:lnTo>
                    <a:pt x="147" y="282"/>
                  </a:lnTo>
                  <a:lnTo>
                    <a:pt x="144" y="282"/>
                  </a:lnTo>
                  <a:lnTo>
                    <a:pt x="144" y="279"/>
                  </a:lnTo>
                  <a:lnTo>
                    <a:pt x="144" y="276"/>
                  </a:lnTo>
                  <a:lnTo>
                    <a:pt x="141" y="279"/>
                  </a:lnTo>
                  <a:lnTo>
                    <a:pt x="141" y="273"/>
                  </a:lnTo>
                  <a:lnTo>
                    <a:pt x="144" y="273"/>
                  </a:lnTo>
                  <a:lnTo>
                    <a:pt x="147" y="273"/>
                  </a:lnTo>
                  <a:lnTo>
                    <a:pt x="147" y="276"/>
                  </a:lnTo>
                  <a:lnTo>
                    <a:pt x="150" y="276"/>
                  </a:lnTo>
                  <a:lnTo>
                    <a:pt x="153" y="276"/>
                  </a:lnTo>
                  <a:lnTo>
                    <a:pt x="153" y="273"/>
                  </a:lnTo>
                  <a:lnTo>
                    <a:pt x="153" y="270"/>
                  </a:lnTo>
                  <a:lnTo>
                    <a:pt x="156" y="270"/>
                  </a:lnTo>
                  <a:lnTo>
                    <a:pt x="156" y="267"/>
                  </a:lnTo>
                  <a:lnTo>
                    <a:pt x="147" y="267"/>
                  </a:lnTo>
                  <a:lnTo>
                    <a:pt x="144" y="264"/>
                  </a:lnTo>
                  <a:lnTo>
                    <a:pt x="141" y="264"/>
                  </a:lnTo>
                  <a:lnTo>
                    <a:pt x="138" y="264"/>
                  </a:lnTo>
                  <a:lnTo>
                    <a:pt x="135" y="264"/>
                  </a:lnTo>
                  <a:lnTo>
                    <a:pt x="132" y="264"/>
                  </a:lnTo>
                  <a:lnTo>
                    <a:pt x="135" y="261"/>
                  </a:lnTo>
                  <a:lnTo>
                    <a:pt x="132" y="261"/>
                  </a:lnTo>
                  <a:lnTo>
                    <a:pt x="129" y="261"/>
                  </a:lnTo>
                  <a:lnTo>
                    <a:pt x="129" y="264"/>
                  </a:lnTo>
                  <a:lnTo>
                    <a:pt x="126" y="264"/>
                  </a:lnTo>
                  <a:lnTo>
                    <a:pt x="123" y="264"/>
                  </a:lnTo>
                  <a:lnTo>
                    <a:pt x="120" y="261"/>
                  </a:lnTo>
                  <a:lnTo>
                    <a:pt x="117" y="261"/>
                  </a:lnTo>
                  <a:lnTo>
                    <a:pt x="114" y="261"/>
                  </a:lnTo>
                  <a:lnTo>
                    <a:pt x="111" y="261"/>
                  </a:lnTo>
                  <a:lnTo>
                    <a:pt x="108" y="264"/>
                  </a:lnTo>
                  <a:lnTo>
                    <a:pt x="102" y="261"/>
                  </a:lnTo>
                  <a:lnTo>
                    <a:pt x="99" y="261"/>
                  </a:lnTo>
                  <a:lnTo>
                    <a:pt x="99" y="264"/>
                  </a:lnTo>
                  <a:lnTo>
                    <a:pt x="99" y="267"/>
                  </a:lnTo>
                  <a:lnTo>
                    <a:pt x="99" y="270"/>
                  </a:lnTo>
                  <a:lnTo>
                    <a:pt x="96" y="270"/>
                  </a:lnTo>
                  <a:lnTo>
                    <a:pt x="96" y="273"/>
                  </a:lnTo>
                  <a:lnTo>
                    <a:pt x="93" y="270"/>
                  </a:lnTo>
                  <a:lnTo>
                    <a:pt x="90" y="270"/>
                  </a:lnTo>
                  <a:lnTo>
                    <a:pt x="87" y="270"/>
                  </a:lnTo>
                  <a:lnTo>
                    <a:pt x="84" y="270"/>
                  </a:lnTo>
                  <a:lnTo>
                    <a:pt x="81" y="270"/>
                  </a:lnTo>
                  <a:lnTo>
                    <a:pt x="78" y="273"/>
                  </a:lnTo>
                  <a:lnTo>
                    <a:pt x="75" y="267"/>
                  </a:lnTo>
                  <a:lnTo>
                    <a:pt x="72" y="267"/>
                  </a:lnTo>
                  <a:lnTo>
                    <a:pt x="69" y="270"/>
                  </a:lnTo>
                  <a:lnTo>
                    <a:pt x="69" y="267"/>
                  </a:lnTo>
                  <a:lnTo>
                    <a:pt x="66" y="267"/>
                  </a:lnTo>
                  <a:lnTo>
                    <a:pt x="66" y="264"/>
                  </a:lnTo>
                  <a:lnTo>
                    <a:pt x="69" y="264"/>
                  </a:lnTo>
                  <a:lnTo>
                    <a:pt x="69" y="261"/>
                  </a:lnTo>
                  <a:lnTo>
                    <a:pt x="66" y="258"/>
                  </a:lnTo>
                  <a:lnTo>
                    <a:pt x="63" y="261"/>
                  </a:lnTo>
                  <a:lnTo>
                    <a:pt x="63" y="258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1" y="237"/>
                  </a:lnTo>
                  <a:lnTo>
                    <a:pt x="48" y="237"/>
                  </a:lnTo>
                  <a:lnTo>
                    <a:pt x="48" y="243"/>
                  </a:lnTo>
                  <a:lnTo>
                    <a:pt x="45" y="243"/>
                  </a:lnTo>
                  <a:lnTo>
                    <a:pt x="42" y="246"/>
                  </a:lnTo>
                  <a:lnTo>
                    <a:pt x="30" y="249"/>
                  </a:lnTo>
                  <a:lnTo>
                    <a:pt x="30" y="252"/>
                  </a:lnTo>
                  <a:lnTo>
                    <a:pt x="27" y="252"/>
                  </a:lnTo>
                  <a:lnTo>
                    <a:pt x="24" y="252"/>
                  </a:lnTo>
                  <a:lnTo>
                    <a:pt x="18" y="246"/>
                  </a:lnTo>
                  <a:lnTo>
                    <a:pt x="18" y="252"/>
                  </a:lnTo>
                  <a:lnTo>
                    <a:pt x="15" y="249"/>
                  </a:lnTo>
                  <a:lnTo>
                    <a:pt x="12" y="249"/>
                  </a:lnTo>
                  <a:lnTo>
                    <a:pt x="12" y="246"/>
                  </a:lnTo>
                  <a:lnTo>
                    <a:pt x="9" y="246"/>
                  </a:lnTo>
                  <a:lnTo>
                    <a:pt x="3" y="246"/>
                  </a:lnTo>
                  <a:lnTo>
                    <a:pt x="6" y="246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6"/>
                  </a:lnTo>
                  <a:lnTo>
                    <a:pt x="3" y="243"/>
                  </a:lnTo>
                  <a:lnTo>
                    <a:pt x="3" y="240"/>
                  </a:lnTo>
                  <a:lnTo>
                    <a:pt x="0" y="240"/>
                  </a:lnTo>
                  <a:lnTo>
                    <a:pt x="0" y="237"/>
                  </a:lnTo>
                  <a:lnTo>
                    <a:pt x="3" y="237"/>
                  </a:lnTo>
                  <a:lnTo>
                    <a:pt x="3" y="234"/>
                  </a:lnTo>
                  <a:lnTo>
                    <a:pt x="0" y="234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0" y="231"/>
                  </a:lnTo>
                  <a:lnTo>
                    <a:pt x="3" y="231"/>
                  </a:lnTo>
                  <a:lnTo>
                    <a:pt x="3" y="228"/>
                  </a:lnTo>
                  <a:lnTo>
                    <a:pt x="6" y="228"/>
                  </a:lnTo>
                  <a:lnTo>
                    <a:pt x="6" y="225"/>
                  </a:lnTo>
                  <a:lnTo>
                    <a:pt x="6" y="222"/>
                  </a:lnTo>
                  <a:lnTo>
                    <a:pt x="9" y="219"/>
                  </a:lnTo>
                  <a:lnTo>
                    <a:pt x="9" y="216"/>
                  </a:lnTo>
                  <a:lnTo>
                    <a:pt x="12" y="216"/>
                  </a:lnTo>
                  <a:lnTo>
                    <a:pt x="12" y="213"/>
                  </a:lnTo>
                  <a:lnTo>
                    <a:pt x="15" y="213"/>
                  </a:lnTo>
                  <a:lnTo>
                    <a:pt x="15" y="210"/>
                  </a:lnTo>
                  <a:lnTo>
                    <a:pt x="18" y="210"/>
                  </a:lnTo>
                  <a:lnTo>
                    <a:pt x="18" y="207"/>
                  </a:lnTo>
                  <a:lnTo>
                    <a:pt x="21" y="207"/>
                  </a:lnTo>
                  <a:lnTo>
                    <a:pt x="21" y="204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7" y="201"/>
                  </a:lnTo>
                  <a:lnTo>
                    <a:pt x="30" y="201"/>
                  </a:lnTo>
                  <a:lnTo>
                    <a:pt x="30" y="198"/>
                  </a:lnTo>
                  <a:lnTo>
                    <a:pt x="33" y="201"/>
                  </a:lnTo>
                  <a:lnTo>
                    <a:pt x="33" y="198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9" y="195"/>
                  </a:lnTo>
                  <a:lnTo>
                    <a:pt x="39" y="192"/>
                  </a:lnTo>
                  <a:lnTo>
                    <a:pt x="39" y="189"/>
                  </a:lnTo>
                  <a:lnTo>
                    <a:pt x="39" y="186"/>
                  </a:lnTo>
                  <a:lnTo>
                    <a:pt x="39" y="183"/>
                  </a:lnTo>
                  <a:lnTo>
                    <a:pt x="39" y="180"/>
                  </a:lnTo>
                  <a:lnTo>
                    <a:pt x="39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5" y="168"/>
                  </a:lnTo>
                  <a:lnTo>
                    <a:pt x="45" y="165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1" y="141"/>
                  </a:lnTo>
                  <a:lnTo>
                    <a:pt x="51" y="138"/>
                  </a:lnTo>
                  <a:lnTo>
                    <a:pt x="51" y="141"/>
                  </a:lnTo>
                  <a:lnTo>
                    <a:pt x="54" y="141"/>
                  </a:lnTo>
                  <a:lnTo>
                    <a:pt x="57" y="141"/>
                  </a:lnTo>
                  <a:lnTo>
                    <a:pt x="57" y="138"/>
                  </a:lnTo>
                  <a:lnTo>
                    <a:pt x="54" y="138"/>
                  </a:lnTo>
                  <a:lnTo>
                    <a:pt x="54" y="135"/>
                  </a:lnTo>
                  <a:lnTo>
                    <a:pt x="57" y="135"/>
                  </a:lnTo>
                  <a:lnTo>
                    <a:pt x="60" y="135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6" y="129"/>
                  </a:lnTo>
                  <a:lnTo>
                    <a:pt x="66" y="126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8" y="120"/>
                  </a:lnTo>
                  <a:lnTo>
                    <a:pt x="78" y="117"/>
                  </a:lnTo>
                  <a:lnTo>
                    <a:pt x="81" y="117"/>
                  </a:lnTo>
                  <a:lnTo>
                    <a:pt x="78" y="117"/>
                  </a:lnTo>
                  <a:lnTo>
                    <a:pt x="78" y="120"/>
                  </a:lnTo>
                  <a:lnTo>
                    <a:pt x="81" y="120"/>
                  </a:lnTo>
                  <a:lnTo>
                    <a:pt x="81" y="117"/>
                  </a:lnTo>
                  <a:lnTo>
                    <a:pt x="84" y="117"/>
                  </a:lnTo>
                  <a:lnTo>
                    <a:pt x="84" y="12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1" name="Freeform 29">
              <a:extLst>
                <a:ext uri="{FF2B5EF4-FFF2-40B4-BE49-F238E27FC236}">
                  <a16:creationId xmlns:a16="http://schemas.microsoft.com/office/drawing/2014/main" id="{E17F56EB-EB18-4DE7-98A2-89D54DF502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91063" y="2530475"/>
              <a:ext cx="625475" cy="647700"/>
            </a:xfrm>
            <a:custGeom>
              <a:avLst/>
              <a:gdLst>
                <a:gd name="T0" fmla="*/ 536964 w 318"/>
                <a:gd name="T1" fmla="*/ 23553 h 330"/>
                <a:gd name="T2" fmla="*/ 542865 w 318"/>
                <a:gd name="T3" fmla="*/ 17665 h 330"/>
                <a:gd name="T4" fmla="*/ 578269 w 318"/>
                <a:gd name="T5" fmla="*/ 5888 h 330"/>
                <a:gd name="T6" fmla="*/ 607773 w 318"/>
                <a:gd name="T7" fmla="*/ 35329 h 330"/>
                <a:gd name="T8" fmla="*/ 619574 w 318"/>
                <a:gd name="T9" fmla="*/ 105987 h 330"/>
                <a:gd name="T10" fmla="*/ 625475 w 318"/>
                <a:gd name="T11" fmla="*/ 194310 h 330"/>
                <a:gd name="T12" fmla="*/ 619574 w 318"/>
                <a:gd name="T13" fmla="*/ 264968 h 330"/>
                <a:gd name="T14" fmla="*/ 613674 w 318"/>
                <a:gd name="T15" fmla="*/ 329738 h 330"/>
                <a:gd name="T16" fmla="*/ 578269 w 318"/>
                <a:gd name="T17" fmla="*/ 359179 h 330"/>
                <a:gd name="T18" fmla="*/ 477957 w 318"/>
                <a:gd name="T19" fmla="*/ 365067 h 330"/>
                <a:gd name="T20" fmla="*/ 454354 w 318"/>
                <a:gd name="T21" fmla="*/ 412173 h 330"/>
                <a:gd name="T22" fmla="*/ 424851 w 318"/>
                <a:gd name="T23" fmla="*/ 482831 h 330"/>
                <a:gd name="T24" fmla="*/ 436652 w 318"/>
                <a:gd name="T25" fmla="*/ 518160 h 330"/>
                <a:gd name="T26" fmla="*/ 460255 w 318"/>
                <a:gd name="T27" fmla="*/ 565265 h 330"/>
                <a:gd name="T28" fmla="*/ 495659 w 318"/>
                <a:gd name="T29" fmla="*/ 594706 h 330"/>
                <a:gd name="T30" fmla="*/ 460255 w 318"/>
                <a:gd name="T31" fmla="*/ 618259 h 330"/>
                <a:gd name="T32" fmla="*/ 430752 w 318"/>
                <a:gd name="T33" fmla="*/ 618259 h 330"/>
                <a:gd name="T34" fmla="*/ 354042 w 318"/>
                <a:gd name="T35" fmla="*/ 606483 h 330"/>
                <a:gd name="T36" fmla="*/ 318638 w 318"/>
                <a:gd name="T37" fmla="*/ 630035 h 330"/>
                <a:gd name="T38" fmla="*/ 265532 w 318"/>
                <a:gd name="T39" fmla="*/ 624147 h 330"/>
                <a:gd name="T40" fmla="*/ 236028 w 318"/>
                <a:gd name="T41" fmla="*/ 647700 h 330"/>
                <a:gd name="T42" fmla="*/ 212425 w 318"/>
                <a:gd name="T43" fmla="*/ 618259 h 330"/>
                <a:gd name="T44" fmla="*/ 177021 w 318"/>
                <a:gd name="T45" fmla="*/ 588818 h 330"/>
                <a:gd name="T46" fmla="*/ 141617 w 318"/>
                <a:gd name="T47" fmla="*/ 582930 h 330"/>
                <a:gd name="T48" fmla="*/ 129816 w 318"/>
                <a:gd name="T49" fmla="*/ 553489 h 330"/>
                <a:gd name="T50" fmla="*/ 94411 w 318"/>
                <a:gd name="T51" fmla="*/ 559377 h 330"/>
                <a:gd name="T52" fmla="*/ 70808 w 318"/>
                <a:gd name="T53" fmla="*/ 553489 h 330"/>
                <a:gd name="T54" fmla="*/ 47206 w 318"/>
                <a:gd name="T55" fmla="*/ 559377 h 330"/>
                <a:gd name="T56" fmla="*/ 29504 w 318"/>
                <a:gd name="T57" fmla="*/ 553489 h 330"/>
                <a:gd name="T58" fmla="*/ 5901 w 318"/>
                <a:gd name="T59" fmla="*/ 529936 h 330"/>
                <a:gd name="T60" fmla="*/ 29504 w 318"/>
                <a:gd name="T61" fmla="*/ 512272 h 330"/>
                <a:gd name="T62" fmla="*/ 47206 w 318"/>
                <a:gd name="T63" fmla="*/ 465166 h 330"/>
                <a:gd name="T64" fmla="*/ 88511 w 318"/>
                <a:gd name="T65" fmla="*/ 459278 h 330"/>
                <a:gd name="T66" fmla="*/ 88511 w 318"/>
                <a:gd name="T67" fmla="*/ 429837 h 330"/>
                <a:gd name="T68" fmla="*/ 41305 w 318"/>
                <a:gd name="T69" fmla="*/ 394508 h 330"/>
                <a:gd name="T70" fmla="*/ 88511 w 318"/>
                <a:gd name="T71" fmla="*/ 370955 h 330"/>
                <a:gd name="T72" fmla="*/ 123915 w 318"/>
                <a:gd name="T73" fmla="*/ 323850 h 330"/>
                <a:gd name="T74" fmla="*/ 141617 w 318"/>
                <a:gd name="T75" fmla="*/ 276745 h 330"/>
                <a:gd name="T76" fmla="*/ 153418 w 318"/>
                <a:gd name="T77" fmla="*/ 241415 h 330"/>
                <a:gd name="T78" fmla="*/ 100312 w 318"/>
                <a:gd name="T79" fmla="*/ 270856 h 330"/>
                <a:gd name="T80" fmla="*/ 100312 w 318"/>
                <a:gd name="T81" fmla="*/ 223751 h 330"/>
                <a:gd name="T82" fmla="*/ 76709 w 318"/>
                <a:gd name="T83" fmla="*/ 211975 h 330"/>
                <a:gd name="T84" fmla="*/ 29504 w 318"/>
                <a:gd name="T85" fmla="*/ 211975 h 330"/>
                <a:gd name="T86" fmla="*/ 76709 w 318"/>
                <a:gd name="T87" fmla="*/ 182534 h 330"/>
                <a:gd name="T88" fmla="*/ 135716 w 318"/>
                <a:gd name="T89" fmla="*/ 176645 h 330"/>
                <a:gd name="T90" fmla="*/ 177021 w 318"/>
                <a:gd name="T91" fmla="*/ 153093 h 330"/>
                <a:gd name="T92" fmla="*/ 194723 w 318"/>
                <a:gd name="T93" fmla="*/ 158981 h 330"/>
                <a:gd name="T94" fmla="*/ 200624 w 318"/>
                <a:gd name="T95" fmla="*/ 194310 h 330"/>
                <a:gd name="T96" fmla="*/ 236028 w 318"/>
                <a:gd name="T97" fmla="*/ 206086 h 330"/>
                <a:gd name="T98" fmla="*/ 277333 w 318"/>
                <a:gd name="T99" fmla="*/ 176645 h 330"/>
                <a:gd name="T100" fmla="*/ 312738 w 318"/>
                <a:gd name="T101" fmla="*/ 153093 h 330"/>
                <a:gd name="T102" fmla="*/ 342241 w 318"/>
                <a:gd name="T103" fmla="*/ 129540 h 330"/>
                <a:gd name="T104" fmla="*/ 395347 w 318"/>
                <a:gd name="T105" fmla="*/ 105987 h 330"/>
                <a:gd name="T106" fmla="*/ 436652 w 318"/>
                <a:gd name="T107" fmla="*/ 105987 h 330"/>
                <a:gd name="T108" fmla="*/ 483858 w 318"/>
                <a:gd name="T109" fmla="*/ 123652 h 330"/>
                <a:gd name="T110" fmla="*/ 472057 w 318"/>
                <a:gd name="T111" fmla="*/ 158981 h 330"/>
                <a:gd name="T112" fmla="*/ 477957 w 318"/>
                <a:gd name="T113" fmla="*/ 188422 h 330"/>
                <a:gd name="T114" fmla="*/ 495659 w 318"/>
                <a:gd name="T115" fmla="*/ 182534 h 330"/>
                <a:gd name="T116" fmla="*/ 531064 w 318"/>
                <a:gd name="T117" fmla="*/ 170757 h 330"/>
                <a:gd name="T118" fmla="*/ 536964 w 318"/>
                <a:gd name="T119" fmla="*/ 135428 h 330"/>
                <a:gd name="T120" fmla="*/ 531064 w 318"/>
                <a:gd name="T121" fmla="*/ 100099 h 3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18" h="330">
                  <a:moveTo>
                    <a:pt x="264" y="48"/>
                  </a:moveTo>
                  <a:lnTo>
                    <a:pt x="267" y="45"/>
                  </a:lnTo>
                  <a:lnTo>
                    <a:pt x="261" y="42"/>
                  </a:lnTo>
                  <a:lnTo>
                    <a:pt x="264" y="39"/>
                  </a:lnTo>
                  <a:lnTo>
                    <a:pt x="264" y="36"/>
                  </a:lnTo>
                  <a:lnTo>
                    <a:pt x="270" y="33"/>
                  </a:lnTo>
                  <a:lnTo>
                    <a:pt x="270" y="27"/>
                  </a:lnTo>
                  <a:lnTo>
                    <a:pt x="267" y="21"/>
                  </a:lnTo>
                  <a:lnTo>
                    <a:pt x="270" y="21"/>
                  </a:lnTo>
                  <a:lnTo>
                    <a:pt x="273" y="18"/>
                  </a:lnTo>
                  <a:lnTo>
                    <a:pt x="273" y="12"/>
                  </a:lnTo>
                  <a:lnTo>
                    <a:pt x="264" y="15"/>
                  </a:lnTo>
                  <a:lnTo>
                    <a:pt x="258" y="15"/>
                  </a:lnTo>
                  <a:lnTo>
                    <a:pt x="255" y="12"/>
                  </a:lnTo>
                  <a:lnTo>
                    <a:pt x="258" y="12"/>
                  </a:lnTo>
                  <a:lnTo>
                    <a:pt x="261" y="12"/>
                  </a:lnTo>
                  <a:lnTo>
                    <a:pt x="264" y="9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0" y="6"/>
                  </a:lnTo>
                  <a:lnTo>
                    <a:pt x="273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79" y="6"/>
                  </a:lnTo>
                  <a:lnTo>
                    <a:pt x="282" y="9"/>
                  </a:lnTo>
                  <a:lnTo>
                    <a:pt x="282" y="6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9"/>
                  </a:lnTo>
                  <a:lnTo>
                    <a:pt x="291" y="9"/>
                  </a:lnTo>
                  <a:lnTo>
                    <a:pt x="294" y="9"/>
                  </a:lnTo>
                  <a:lnTo>
                    <a:pt x="294" y="6"/>
                  </a:lnTo>
                  <a:lnTo>
                    <a:pt x="294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6" y="3"/>
                  </a:lnTo>
                  <a:lnTo>
                    <a:pt x="306" y="0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09" y="18"/>
                  </a:lnTo>
                  <a:lnTo>
                    <a:pt x="309" y="21"/>
                  </a:lnTo>
                  <a:lnTo>
                    <a:pt x="309" y="24"/>
                  </a:lnTo>
                  <a:lnTo>
                    <a:pt x="312" y="24"/>
                  </a:lnTo>
                  <a:lnTo>
                    <a:pt x="312" y="27"/>
                  </a:lnTo>
                  <a:lnTo>
                    <a:pt x="315" y="30"/>
                  </a:lnTo>
                  <a:lnTo>
                    <a:pt x="315" y="33"/>
                  </a:lnTo>
                  <a:lnTo>
                    <a:pt x="315" y="36"/>
                  </a:lnTo>
                  <a:lnTo>
                    <a:pt x="315" y="39"/>
                  </a:lnTo>
                  <a:lnTo>
                    <a:pt x="315" y="42"/>
                  </a:lnTo>
                  <a:lnTo>
                    <a:pt x="318" y="48"/>
                  </a:lnTo>
                  <a:lnTo>
                    <a:pt x="315" y="54"/>
                  </a:lnTo>
                  <a:lnTo>
                    <a:pt x="315" y="60"/>
                  </a:lnTo>
                  <a:lnTo>
                    <a:pt x="315" y="63"/>
                  </a:lnTo>
                  <a:lnTo>
                    <a:pt x="315" y="69"/>
                  </a:lnTo>
                  <a:lnTo>
                    <a:pt x="315" y="72"/>
                  </a:lnTo>
                  <a:lnTo>
                    <a:pt x="315" y="78"/>
                  </a:lnTo>
                  <a:lnTo>
                    <a:pt x="318" y="84"/>
                  </a:lnTo>
                  <a:lnTo>
                    <a:pt x="318" y="87"/>
                  </a:lnTo>
                  <a:lnTo>
                    <a:pt x="318" y="90"/>
                  </a:lnTo>
                  <a:lnTo>
                    <a:pt x="318" y="93"/>
                  </a:lnTo>
                  <a:lnTo>
                    <a:pt x="318" y="96"/>
                  </a:lnTo>
                  <a:lnTo>
                    <a:pt x="318" y="99"/>
                  </a:lnTo>
                  <a:lnTo>
                    <a:pt x="318" y="102"/>
                  </a:lnTo>
                  <a:lnTo>
                    <a:pt x="318" y="108"/>
                  </a:lnTo>
                  <a:lnTo>
                    <a:pt x="318" y="111"/>
                  </a:lnTo>
                  <a:lnTo>
                    <a:pt x="318" y="114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32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5" y="138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7"/>
                  </a:lnTo>
                  <a:lnTo>
                    <a:pt x="315" y="150"/>
                  </a:lnTo>
                  <a:lnTo>
                    <a:pt x="315" y="153"/>
                  </a:lnTo>
                  <a:lnTo>
                    <a:pt x="315" y="156"/>
                  </a:lnTo>
                  <a:lnTo>
                    <a:pt x="315" y="159"/>
                  </a:lnTo>
                  <a:lnTo>
                    <a:pt x="312" y="162"/>
                  </a:lnTo>
                  <a:lnTo>
                    <a:pt x="312" y="165"/>
                  </a:lnTo>
                  <a:lnTo>
                    <a:pt x="312" y="168"/>
                  </a:lnTo>
                  <a:lnTo>
                    <a:pt x="312" y="171"/>
                  </a:lnTo>
                  <a:lnTo>
                    <a:pt x="309" y="174"/>
                  </a:lnTo>
                  <a:lnTo>
                    <a:pt x="312" y="177"/>
                  </a:lnTo>
                  <a:lnTo>
                    <a:pt x="312" y="180"/>
                  </a:lnTo>
                  <a:lnTo>
                    <a:pt x="312" y="183"/>
                  </a:lnTo>
                  <a:lnTo>
                    <a:pt x="315" y="183"/>
                  </a:lnTo>
                  <a:lnTo>
                    <a:pt x="312" y="186"/>
                  </a:lnTo>
                  <a:lnTo>
                    <a:pt x="306" y="189"/>
                  </a:lnTo>
                  <a:lnTo>
                    <a:pt x="303" y="186"/>
                  </a:lnTo>
                  <a:lnTo>
                    <a:pt x="297" y="183"/>
                  </a:lnTo>
                  <a:lnTo>
                    <a:pt x="294" y="183"/>
                  </a:lnTo>
                  <a:lnTo>
                    <a:pt x="291" y="177"/>
                  </a:lnTo>
                  <a:lnTo>
                    <a:pt x="288" y="177"/>
                  </a:lnTo>
                  <a:lnTo>
                    <a:pt x="279" y="171"/>
                  </a:lnTo>
                  <a:lnTo>
                    <a:pt x="273" y="168"/>
                  </a:lnTo>
                  <a:lnTo>
                    <a:pt x="270" y="165"/>
                  </a:lnTo>
                  <a:lnTo>
                    <a:pt x="267" y="162"/>
                  </a:lnTo>
                  <a:lnTo>
                    <a:pt x="258" y="165"/>
                  </a:lnTo>
                  <a:lnTo>
                    <a:pt x="255" y="171"/>
                  </a:lnTo>
                  <a:lnTo>
                    <a:pt x="252" y="171"/>
                  </a:lnTo>
                  <a:lnTo>
                    <a:pt x="243" y="180"/>
                  </a:lnTo>
                  <a:lnTo>
                    <a:pt x="243" y="186"/>
                  </a:lnTo>
                  <a:lnTo>
                    <a:pt x="240" y="189"/>
                  </a:lnTo>
                  <a:lnTo>
                    <a:pt x="240" y="192"/>
                  </a:lnTo>
                  <a:lnTo>
                    <a:pt x="240" y="195"/>
                  </a:lnTo>
                  <a:lnTo>
                    <a:pt x="237" y="195"/>
                  </a:lnTo>
                  <a:lnTo>
                    <a:pt x="237" y="198"/>
                  </a:lnTo>
                  <a:lnTo>
                    <a:pt x="237" y="201"/>
                  </a:lnTo>
                  <a:lnTo>
                    <a:pt x="234" y="201"/>
                  </a:lnTo>
                  <a:lnTo>
                    <a:pt x="234" y="204"/>
                  </a:lnTo>
                  <a:lnTo>
                    <a:pt x="234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3"/>
                  </a:lnTo>
                  <a:lnTo>
                    <a:pt x="228" y="213"/>
                  </a:lnTo>
                  <a:lnTo>
                    <a:pt x="225" y="216"/>
                  </a:lnTo>
                  <a:lnTo>
                    <a:pt x="222" y="219"/>
                  </a:lnTo>
                  <a:lnTo>
                    <a:pt x="219" y="225"/>
                  </a:lnTo>
                  <a:lnTo>
                    <a:pt x="219" y="228"/>
                  </a:lnTo>
                  <a:lnTo>
                    <a:pt x="216" y="231"/>
                  </a:lnTo>
                  <a:lnTo>
                    <a:pt x="216" y="234"/>
                  </a:lnTo>
                  <a:lnTo>
                    <a:pt x="216" y="237"/>
                  </a:lnTo>
                  <a:lnTo>
                    <a:pt x="216" y="243"/>
                  </a:lnTo>
                  <a:lnTo>
                    <a:pt x="216" y="246"/>
                  </a:lnTo>
                  <a:lnTo>
                    <a:pt x="216" y="249"/>
                  </a:lnTo>
                  <a:lnTo>
                    <a:pt x="216" y="255"/>
                  </a:lnTo>
                  <a:lnTo>
                    <a:pt x="216" y="258"/>
                  </a:lnTo>
                  <a:lnTo>
                    <a:pt x="216" y="261"/>
                  </a:lnTo>
                  <a:lnTo>
                    <a:pt x="216" y="264"/>
                  </a:lnTo>
                  <a:lnTo>
                    <a:pt x="216" y="267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1"/>
                  </a:lnTo>
                  <a:lnTo>
                    <a:pt x="222" y="264"/>
                  </a:lnTo>
                  <a:lnTo>
                    <a:pt x="225" y="267"/>
                  </a:lnTo>
                  <a:lnTo>
                    <a:pt x="225" y="270"/>
                  </a:lnTo>
                  <a:lnTo>
                    <a:pt x="228" y="270"/>
                  </a:lnTo>
                  <a:lnTo>
                    <a:pt x="228" y="273"/>
                  </a:lnTo>
                  <a:lnTo>
                    <a:pt x="231" y="273"/>
                  </a:lnTo>
                  <a:lnTo>
                    <a:pt x="231" y="276"/>
                  </a:lnTo>
                  <a:lnTo>
                    <a:pt x="231" y="279"/>
                  </a:lnTo>
                  <a:lnTo>
                    <a:pt x="228" y="282"/>
                  </a:lnTo>
                  <a:lnTo>
                    <a:pt x="231" y="285"/>
                  </a:lnTo>
                  <a:lnTo>
                    <a:pt x="231" y="288"/>
                  </a:lnTo>
                  <a:lnTo>
                    <a:pt x="234" y="288"/>
                  </a:lnTo>
                  <a:lnTo>
                    <a:pt x="234" y="291"/>
                  </a:lnTo>
                  <a:lnTo>
                    <a:pt x="237" y="291"/>
                  </a:lnTo>
                  <a:lnTo>
                    <a:pt x="237" y="294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43" y="297"/>
                  </a:lnTo>
                  <a:lnTo>
                    <a:pt x="243" y="300"/>
                  </a:lnTo>
                  <a:lnTo>
                    <a:pt x="246" y="300"/>
                  </a:lnTo>
                  <a:lnTo>
                    <a:pt x="246" y="303"/>
                  </a:lnTo>
                  <a:lnTo>
                    <a:pt x="249" y="303"/>
                  </a:lnTo>
                  <a:lnTo>
                    <a:pt x="252" y="303"/>
                  </a:lnTo>
                  <a:lnTo>
                    <a:pt x="255" y="306"/>
                  </a:lnTo>
                  <a:lnTo>
                    <a:pt x="252" y="309"/>
                  </a:lnTo>
                  <a:lnTo>
                    <a:pt x="249" y="312"/>
                  </a:lnTo>
                  <a:lnTo>
                    <a:pt x="246" y="318"/>
                  </a:lnTo>
                  <a:lnTo>
                    <a:pt x="243" y="318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5"/>
                  </a:lnTo>
                  <a:lnTo>
                    <a:pt x="237" y="315"/>
                  </a:lnTo>
                  <a:lnTo>
                    <a:pt x="234" y="315"/>
                  </a:lnTo>
                  <a:lnTo>
                    <a:pt x="231" y="315"/>
                  </a:lnTo>
                  <a:lnTo>
                    <a:pt x="231" y="318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5" y="315"/>
                  </a:lnTo>
                  <a:lnTo>
                    <a:pt x="225" y="312"/>
                  </a:lnTo>
                  <a:lnTo>
                    <a:pt x="222" y="312"/>
                  </a:lnTo>
                  <a:lnTo>
                    <a:pt x="222" y="315"/>
                  </a:lnTo>
                  <a:lnTo>
                    <a:pt x="219" y="315"/>
                  </a:lnTo>
                  <a:lnTo>
                    <a:pt x="213" y="312"/>
                  </a:lnTo>
                  <a:lnTo>
                    <a:pt x="207" y="309"/>
                  </a:lnTo>
                  <a:lnTo>
                    <a:pt x="204" y="309"/>
                  </a:lnTo>
                  <a:lnTo>
                    <a:pt x="198" y="312"/>
                  </a:lnTo>
                  <a:lnTo>
                    <a:pt x="195" y="312"/>
                  </a:lnTo>
                  <a:lnTo>
                    <a:pt x="192" y="312"/>
                  </a:lnTo>
                  <a:lnTo>
                    <a:pt x="189" y="312"/>
                  </a:lnTo>
                  <a:lnTo>
                    <a:pt x="186" y="312"/>
                  </a:lnTo>
                  <a:lnTo>
                    <a:pt x="183" y="312"/>
                  </a:lnTo>
                  <a:lnTo>
                    <a:pt x="183" y="309"/>
                  </a:lnTo>
                  <a:lnTo>
                    <a:pt x="180" y="309"/>
                  </a:lnTo>
                  <a:lnTo>
                    <a:pt x="180" y="312"/>
                  </a:lnTo>
                  <a:lnTo>
                    <a:pt x="177" y="312"/>
                  </a:lnTo>
                  <a:lnTo>
                    <a:pt x="174" y="312"/>
                  </a:lnTo>
                  <a:lnTo>
                    <a:pt x="171" y="312"/>
                  </a:lnTo>
                  <a:lnTo>
                    <a:pt x="171" y="315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5" y="315"/>
                  </a:lnTo>
                  <a:lnTo>
                    <a:pt x="165" y="318"/>
                  </a:lnTo>
                  <a:lnTo>
                    <a:pt x="162" y="318"/>
                  </a:lnTo>
                  <a:lnTo>
                    <a:pt x="162" y="321"/>
                  </a:lnTo>
                  <a:lnTo>
                    <a:pt x="159" y="321"/>
                  </a:lnTo>
                  <a:lnTo>
                    <a:pt x="156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1"/>
                  </a:lnTo>
                  <a:lnTo>
                    <a:pt x="147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8"/>
                  </a:lnTo>
                  <a:lnTo>
                    <a:pt x="138" y="318"/>
                  </a:lnTo>
                  <a:lnTo>
                    <a:pt x="135" y="318"/>
                  </a:lnTo>
                  <a:lnTo>
                    <a:pt x="135" y="321"/>
                  </a:lnTo>
                  <a:lnTo>
                    <a:pt x="132" y="321"/>
                  </a:lnTo>
                  <a:lnTo>
                    <a:pt x="132" y="324"/>
                  </a:lnTo>
                  <a:lnTo>
                    <a:pt x="132" y="327"/>
                  </a:lnTo>
                  <a:lnTo>
                    <a:pt x="132" y="324"/>
                  </a:lnTo>
                  <a:lnTo>
                    <a:pt x="129" y="324"/>
                  </a:lnTo>
                  <a:lnTo>
                    <a:pt x="126" y="324"/>
                  </a:lnTo>
                  <a:lnTo>
                    <a:pt x="123" y="324"/>
                  </a:lnTo>
                  <a:lnTo>
                    <a:pt x="123" y="327"/>
                  </a:lnTo>
                  <a:lnTo>
                    <a:pt x="123" y="330"/>
                  </a:lnTo>
                  <a:lnTo>
                    <a:pt x="120" y="330"/>
                  </a:lnTo>
                  <a:lnTo>
                    <a:pt x="117" y="330"/>
                  </a:lnTo>
                  <a:lnTo>
                    <a:pt x="114" y="330"/>
                  </a:lnTo>
                  <a:lnTo>
                    <a:pt x="114" y="327"/>
                  </a:lnTo>
                  <a:lnTo>
                    <a:pt x="114" y="324"/>
                  </a:lnTo>
                  <a:lnTo>
                    <a:pt x="111" y="324"/>
                  </a:lnTo>
                  <a:lnTo>
                    <a:pt x="111" y="321"/>
                  </a:lnTo>
                  <a:lnTo>
                    <a:pt x="111" y="318"/>
                  </a:lnTo>
                  <a:lnTo>
                    <a:pt x="108" y="318"/>
                  </a:lnTo>
                  <a:lnTo>
                    <a:pt x="108" y="321"/>
                  </a:lnTo>
                  <a:lnTo>
                    <a:pt x="108" y="318"/>
                  </a:lnTo>
                  <a:lnTo>
                    <a:pt x="108" y="315"/>
                  </a:lnTo>
                  <a:lnTo>
                    <a:pt x="105" y="315"/>
                  </a:lnTo>
                  <a:lnTo>
                    <a:pt x="105" y="312"/>
                  </a:lnTo>
                  <a:lnTo>
                    <a:pt x="105" y="309"/>
                  </a:lnTo>
                  <a:lnTo>
                    <a:pt x="102" y="309"/>
                  </a:lnTo>
                  <a:lnTo>
                    <a:pt x="102" y="306"/>
                  </a:lnTo>
                  <a:lnTo>
                    <a:pt x="99" y="306"/>
                  </a:lnTo>
                  <a:lnTo>
                    <a:pt x="96" y="306"/>
                  </a:lnTo>
                  <a:lnTo>
                    <a:pt x="93" y="306"/>
                  </a:lnTo>
                  <a:lnTo>
                    <a:pt x="93" y="303"/>
                  </a:lnTo>
                  <a:lnTo>
                    <a:pt x="90" y="303"/>
                  </a:lnTo>
                  <a:lnTo>
                    <a:pt x="90" y="300"/>
                  </a:lnTo>
                  <a:lnTo>
                    <a:pt x="87" y="300"/>
                  </a:lnTo>
                  <a:lnTo>
                    <a:pt x="84" y="300"/>
                  </a:lnTo>
                  <a:lnTo>
                    <a:pt x="84" y="297"/>
                  </a:lnTo>
                  <a:lnTo>
                    <a:pt x="81" y="297"/>
                  </a:lnTo>
                  <a:lnTo>
                    <a:pt x="81" y="294"/>
                  </a:lnTo>
                  <a:lnTo>
                    <a:pt x="81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297"/>
                  </a:lnTo>
                  <a:lnTo>
                    <a:pt x="72" y="297"/>
                  </a:lnTo>
                  <a:lnTo>
                    <a:pt x="72" y="294"/>
                  </a:lnTo>
                  <a:lnTo>
                    <a:pt x="72" y="291"/>
                  </a:lnTo>
                  <a:lnTo>
                    <a:pt x="69" y="291"/>
                  </a:lnTo>
                  <a:lnTo>
                    <a:pt x="69" y="288"/>
                  </a:lnTo>
                  <a:lnTo>
                    <a:pt x="72" y="288"/>
                  </a:lnTo>
                  <a:lnTo>
                    <a:pt x="69" y="288"/>
                  </a:lnTo>
                  <a:lnTo>
                    <a:pt x="69" y="285"/>
                  </a:lnTo>
                  <a:lnTo>
                    <a:pt x="69" y="282"/>
                  </a:lnTo>
                  <a:lnTo>
                    <a:pt x="69" y="285"/>
                  </a:lnTo>
                  <a:lnTo>
                    <a:pt x="66" y="285"/>
                  </a:lnTo>
                  <a:lnTo>
                    <a:pt x="66" y="282"/>
                  </a:lnTo>
                  <a:lnTo>
                    <a:pt x="63" y="282"/>
                  </a:lnTo>
                  <a:lnTo>
                    <a:pt x="60" y="282"/>
                  </a:lnTo>
                  <a:lnTo>
                    <a:pt x="60" y="285"/>
                  </a:lnTo>
                  <a:lnTo>
                    <a:pt x="57" y="285"/>
                  </a:lnTo>
                  <a:lnTo>
                    <a:pt x="54" y="285"/>
                  </a:lnTo>
                  <a:lnTo>
                    <a:pt x="57" y="285"/>
                  </a:lnTo>
                  <a:lnTo>
                    <a:pt x="57" y="288"/>
                  </a:lnTo>
                  <a:lnTo>
                    <a:pt x="54" y="288"/>
                  </a:lnTo>
                  <a:lnTo>
                    <a:pt x="54" y="285"/>
                  </a:lnTo>
                  <a:lnTo>
                    <a:pt x="51" y="285"/>
                  </a:lnTo>
                  <a:lnTo>
                    <a:pt x="48" y="285"/>
                  </a:lnTo>
                  <a:lnTo>
                    <a:pt x="48" y="282"/>
                  </a:lnTo>
                  <a:lnTo>
                    <a:pt x="48" y="285"/>
                  </a:lnTo>
                  <a:lnTo>
                    <a:pt x="45" y="285"/>
                  </a:lnTo>
                  <a:lnTo>
                    <a:pt x="45" y="282"/>
                  </a:lnTo>
                  <a:lnTo>
                    <a:pt x="42" y="282"/>
                  </a:lnTo>
                  <a:lnTo>
                    <a:pt x="42" y="279"/>
                  </a:lnTo>
                  <a:lnTo>
                    <a:pt x="39" y="279"/>
                  </a:lnTo>
                  <a:lnTo>
                    <a:pt x="36" y="279"/>
                  </a:lnTo>
                  <a:lnTo>
                    <a:pt x="33" y="279"/>
                  </a:lnTo>
                  <a:lnTo>
                    <a:pt x="33" y="282"/>
                  </a:lnTo>
                  <a:lnTo>
                    <a:pt x="36" y="282"/>
                  </a:lnTo>
                  <a:lnTo>
                    <a:pt x="36" y="285"/>
                  </a:lnTo>
                  <a:lnTo>
                    <a:pt x="33" y="285"/>
                  </a:lnTo>
                  <a:lnTo>
                    <a:pt x="33" y="282"/>
                  </a:lnTo>
                  <a:lnTo>
                    <a:pt x="33" y="285"/>
                  </a:lnTo>
                  <a:lnTo>
                    <a:pt x="30" y="285"/>
                  </a:lnTo>
                  <a:lnTo>
                    <a:pt x="27" y="285"/>
                  </a:lnTo>
                  <a:lnTo>
                    <a:pt x="27" y="288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27" y="285"/>
                  </a:lnTo>
                  <a:lnTo>
                    <a:pt x="24" y="285"/>
                  </a:lnTo>
                  <a:lnTo>
                    <a:pt x="24" y="282"/>
                  </a:lnTo>
                  <a:lnTo>
                    <a:pt x="24" y="279"/>
                  </a:lnTo>
                  <a:lnTo>
                    <a:pt x="21" y="279"/>
                  </a:lnTo>
                  <a:lnTo>
                    <a:pt x="21" y="282"/>
                  </a:lnTo>
                  <a:lnTo>
                    <a:pt x="18" y="279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85"/>
                  </a:lnTo>
                  <a:lnTo>
                    <a:pt x="15" y="282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79"/>
                  </a:lnTo>
                  <a:lnTo>
                    <a:pt x="15" y="276"/>
                  </a:lnTo>
                  <a:lnTo>
                    <a:pt x="12" y="276"/>
                  </a:lnTo>
                  <a:lnTo>
                    <a:pt x="9" y="276"/>
                  </a:lnTo>
                  <a:lnTo>
                    <a:pt x="9" y="279"/>
                  </a:lnTo>
                  <a:lnTo>
                    <a:pt x="9" y="276"/>
                  </a:lnTo>
                  <a:lnTo>
                    <a:pt x="6" y="276"/>
                  </a:lnTo>
                  <a:lnTo>
                    <a:pt x="3" y="273"/>
                  </a:lnTo>
                  <a:lnTo>
                    <a:pt x="0" y="273"/>
                  </a:lnTo>
                  <a:lnTo>
                    <a:pt x="0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6" y="264"/>
                  </a:lnTo>
                  <a:lnTo>
                    <a:pt x="9" y="261"/>
                  </a:lnTo>
                  <a:lnTo>
                    <a:pt x="12" y="261"/>
                  </a:lnTo>
                  <a:lnTo>
                    <a:pt x="15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2" y="255"/>
                  </a:lnTo>
                  <a:lnTo>
                    <a:pt x="15" y="249"/>
                  </a:lnTo>
                  <a:lnTo>
                    <a:pt x="18" y="249"/>
                  </a:lnTo>
                  <a:lnTo>
                    <a:pt x="21" y="249"/>
                  </a:lnTo>
                  <a:lnTo>
                    <a:pt x="21" y="246"/>
                  </a:lnTo>
                  <a:lnTo>
                    <a:pt x="24" y="246"/>
                  </a:lnTo>
                  <a:lnTo>
                    <a:pt x="24" y="243"/>
                  </a:lnTo>
                  <a:lnTo>
                    <a:pt x="24" y="240"/>
                  </a:lnTo>
                  <a:lnTo>
                    <a:pt x="24" y="237"/>
                  </a:lnTo>
                  <a:lnTo>
                    <a:pt x="30" y="237"/>
                  </a:lnTo>
                  <a:lnTo>
                    <a:pt x="27" y="237"/>
                  </a:lnTo>
                  <a:lnTo>
                    <a:pt x="30" y="237"/>
                  </a:lnTo>
                  <a:lnTo>
                    <a:pt x="30" y="240"/>
                  </a:lnTo>
                  <a:lnTo>
                    <a:pt x="33" y="240"/>
                  </a:lnTo>
                  <a:lnTo>
                    <a:pt x="33" y="237"/>
                  </a:lnTo>
                  <a:lnTo>
                    <a:pt x="36" y="237"/>
                  </a:lnTo>
                  <a:lnTo>
                    <a:pt x="39" y="237"/>
                  </a:lnTo>
                  <a:lnTo>
                    <a:pt x="42" y="237"/>
                  </a:lnTo>
                  <a:lnTo>
                    <a:pt x="45" y="237"/>
                  </a:lnTo>
                  <a:lnTo>
                    <a:pt x="45" y="234"/>
                  </a:lnTo>
                  <a:lnTo>
                    <a:pt x="45" y="231"/>
                  </a:lnTo>
                  <a:lnTo>
                    <a:pt x="48" y="231"/>
                  </a:lnTo>
                  <a:lnTo>
                    <a:pt x="45" y="231"/>
                  </a:lnTo>
                  <a:lnTo>
                    <a:pt x="45" y="228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54" y="225"/>
                  </a:lnTo>
                  <a:lnTo>
                    <a:pt x="51" y="222"/>
                  </a:lnTo>
                  <a:lnTo>
                    <a:pt x="48" y="222"/>
                  </a:lnTo>
                  <a:lnTo>
                    <a:pt x="48" y="216"/>
                  </a:lnTo>
                  <a:lnTo>
                    <a:pt x="45" y="219"/>
                  </a:lnTo>
                  <a:lnTo>
                    <a:pt x="42" y="219"/>
                  </a:lnTo>
                  <a:lnTo>
                    <a:pt x="39" y="222"/>
                  </a:lnTo>
                  <a:lnTo>
                    <a:pt x="36" y="219"/>
                  </a:lnTo>
                  <a:lnTo>
                    <a:pt x="33" y="216"/>
                  </a:lnTo>
                  <a:lnTo>
                    <a:pt x="33" y="213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7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1" y="201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4" y="195"/>
                  </a:lnTo>
                  <a:lnTo>
                    <a:pt x="27" y="192"/>
                  </a:lnTo>
                  <a:lnTo>
                    <a:pt x="30" y="195"/>
                  </a:lnTo>
                  <a:lnTo>
                    <a:pt x="30" y="189"/>
                  </a:lnTo>
                  <a:lnTo>
                    <a:pt x="33" y="186"/>
                  </a:lnTo>
                  <a:lnTo>
                    <a:pt x="39" y="189"/>
                  </a:lnTo>
                  <a:lnTo>
                    <a:pt x="45" y="189"/>
                  </a:lnTo>
                  <a:lnTo>
                    <a:pt x="45" y="186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4" y="189"/>
                  </a:lnTo>
                  <a:lnTo>
                    <a:pt x="54" y="186"/>
                  </a:lnTo>
                  <a:lnTo>
                    <a:pt x="54" y="183"/>
                  </a:lnTo>
                  <a:lnTo>
                    <a:pt x="54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60" y="171"/>
                  </a:lnTo>
                  <a:lnTo>
                    <a:pt x="60" y="168"/>
                  </a:lnTo>
                  <a:lnTo>
                    <a:pt x="63" y="165"/>
                  </a:lnTo>
                  <a:lnTo>
                    <a:pt x="60" y="162"/>
                  </a:lnTo>
                  <a:lnTo>
                    <a:pt x="63" y="159"/>
                  </a:lnTo>
                  <a:lnTo>
                    <a:pt x="66" y="156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75" y="138"/>
                  </a:lnTo>
                  <a:lnTo>
                    <a:pt x="78" y="138"/>
                  </a:lnTo>
                  <a:lnTo>
                    <a:pt x="78" y="135"/>
                  </a:lnTo>
                  <a:lnTo>
                    <a:pt x="81" y="135"/>
                  </a:lnTo>
                  <a:lnTo>
                    <a:pt x="84" y="129"/>
                  </a:lnTo>
                  <a:lnTo>
                    <a:pt x="84" y="126"/>
                  </a:lnTo>
                  <a:lnTo>
                    <a:pt x="81" y="129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75" y="126"/>
                  </a:lnTo>
                  <a:lnTo>
                    <a:pt x="69" y="126"/>
                  </a:lnTo>
                  <a:lnTo>
                    <a:pt x="66" y="129"/>
                  </a:lnTo>
                  <a:lnTo>
                    <a:pt x="63" y="129"/>
                  </a:lnTo>
                  <a:lnTo>
                    <a:pt x="63" y="132"/>
                  </a:lnTo>
                  <a:lnTo>
                    <a:pt x="60" y="132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4" y="135"/>
                  </a:lnTo>
                  <a:lnTo>
                    <a:pt x="54" y="138"/>
                  </a:lnTo>
                  <a:lnTo>
                    <a:pt x="51" y="138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5" y="132"/>
                  </a:lnTo>
                  <a:lnTo>
                    <a:pt x="45" y="129"/>
                  </a:lnTo>
                  <a:lnTo>
                    <a:pt x="48" y="126"/>
                  </a:lnTo>
                  <a:lnTo>
                    <a:pt x="51" y="123"/>
                  </a:lnTo>
                  <a:lnTo>
                    <a:pt x="54" y="120"/>
                  </a:lnTo>
                  <a:lnTo>
                    <a:pt x="54" y="117"/>
                  </a:lnTo>
                  <a:lnTo>
                    <a:pt x="54" y="114"/>
                  </a:lnTo>
                  <a:lnTo>
                    <a:pt x="51" y="114"/>
                  </a:lnTo>
                  <a:lnTo>
                    <a:pt x="51" y="111"/>
                  </a:lnTo>
                  <a:lnTo>
                    <a:pt x="54" y="114"/>
                  </a:lnTo>
                  <a:lnTo>
                    <a:pt x="57" y="111"/>
                  </a:lnTo>
                  <a:lnTo>
                    <a:pt x="54" y="111"/>
                  </a:lnTo>
                  <a:lnTo>
                    <a:pt x="57" y="108"/>
                  </a:lnTo>
                  <a:lnTo>
                    <a:pt x="54" y="111"/>
                  </a:lnTo>
                  <a:lnTo>
                    <a:pt x="51" y="111"/>
                  </a:lnTo>
                  <a:lnTo>
                    <a:pt x="51" y="108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7" y="111"/>
                  </a:lnTo>
                  <a:lnTo>
                    <a:pt x="24" y="111"/>
                  </a:lnTo>
                  <a:lnTo>
                    <a:pt x="24" y="114"/>
                  </a:lnTo>
                  <a:lnTo>
                    <a:pt x="21" y="114"/>
                  </a:lnTo>
                  <a:lnTo>
                    <a:pt x="18" y="114"/>
                  </a:lnTo>
                  <a:lnTo>
                    <a:pt x="12" y="117"/>
                  </a:lnTo>
                  <a:lnTo>
                    <a:pt x="15" y="114"/>
                  </a:lnTo>
                  <a:lnTo>
                    <a:pt x="12" y="111"/>
                  </a:lnTo>
                  <a:lnTo>
                    <a:pt x="15" y="108"/>
                  </a:lnTo>
                  <a:lnTo>
                    <a:pt x="18" y="108"/>
                  </a:lnTo>
                  <a:lnTo>
                    <a:pt x="21" y="108"/>
                  </a:lnTo>
                  <a:lnTo>
                    <a:pt x="21" y="105"/>
                  </a:lnTo>
                  <a:lnTo>
                    <a:pt x="24" y="105"/>
                  </a:lnTo>
                  <a:lnTo>
                    <a:pt x="27" y="102"/>
                  </a:lnTo>
                  <a:lnTo>
                    <a:pt x="33" y="102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9" y="93"/>
                  </a:lnTo>
                  <a:lnTo>
                    <a:pt x="42" y="93"/>
                  </a:lnTo>
                  <a:lnTo>
                    <a:pt x="45" y="87"/>
                  </a:lnTo>
                  <a:lnTo>
                    <a:pt x="48" y="87"/>
                  </a:lnTo>
                  <a:lnTo>
                    <a:pt x="51" y="87"/>
                  </a:lnTo>
                  <a:lnTo>
                    <a:pt x="51" y="90"/>
                  </a:lnTo>
                  <a:lnTo>
                    <a:pt x="54" y="87"/>
                  </a:lnTo>
                  <a:lnTo>
                    <a:pt x="57" y="87"/>
                  </a:lnTo>
                  <a:lnTo>
                    <a:pt x="60" y="87"/>
                  </a:lnTo>
                  <a:lnTo>
                    <a:pt x="63" y="87"/>
                  </a:lnTo>
                  <a:lnTo>
                    <a:pt x="69" y="87"/>
                  </a:lnTo>
                  <a:lnTo>
                    <a:pt x="69" y="90"/>
                  </a:lnTo>
                  <a:lnTo>
                    <a:pt x="72" y="90"/>
                  </a:lnTo>
                  <a:lnTo>
                    <a:pt x="72" y="93"/>
                  </a:lnTo>
                  <a:lnTo>
                    <a:pt x="78" y="90"/>
                  </a:lnTo>
                  <a:lnTo>
                    <a:pt x="81" y="90"/>
                  </a:lnTo>
                  <a:lnTo>
                    <a:pt x="81" y="87"/>
                  </a:lnTo>
                  <a:lnTo>
                    <a:pt x="78" y="87"/>
                  </a:lnTo>
                  <a:lnTo>
                    <a:pt x="81" y="87"/>
                  </a:lnTo>
                  <a:lnTo>
                    <a:pt x="84" y="81"/>
                  </a:lnTo>
                  <a:lnTo>
                    <a:pt x="84" y="78"/>
                  </a:lnTo>
                  <a:lnTo>
                    <a:pt x="87" y="78"/>
                  </a:lnTo>
                  <a:lnTo>
                    <a:pt x="90" y="78"/>
                  </a:lnTo>
                  <a:lnTo>
                    <a:pt x="93" y="75"/>
                  </a:lnTo>
                  <a:lnTo>
                    <a:pt x="93" y="78"/>
                  </a:lnTo>
                  <a:lnTo>
                    <a:pt x="96" y="75"/>
                  </a:lnTo>
                  <a:lnTo>
                    <a:pt x="99" y="72"/>
                  </a:lnTo>
                  <a:lnTo>
                    <a:pt x="102" y="72"/>
                  </a:lnTo>
                  <a:lnTo>
                    <a:pt x="99" y="72"/>
                  </a:lnTo>
                  <a:lnTo>
                    <a:pt x="99" y="75"/>
                  </a:lnTo>
                  <a:lnTo>
                    <a:pt x="102" y="75"/>
                  </a:lnTo>
                  <a:lnTo>
                    <a:pt x="102" y="78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96" y="81"/>
                  </a:lnTo>
                  <a:lnTo>
                    <a:pt x="99" y="87"/>
                  </a:lnTo>
                  <a:lnTo>
                    <a:pt x="96" y="90"/>
                  </a:lnTo>
                  <a:lnTo>
                    <a:pt x="99" y="90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2" y="99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5" y="105"/>
                  </a:lnTo>
                  <a:lnTo>
                    <a:pt x="105" y="108"/>
                  </a:lnTo>
                  <a:lnTo>
                    <a:pt x="111" y="108"/>
                  </a:lnTo>
                  <a:lnTo>
                    <a:pt x="111" y="105"/>
                  </a:lnTo>
                  <a:lnTo>
                    <a:pt x="114" y="105"/>
                  </a:lnTo>
                  <a:lnTo>
                    <a:pt x="117" y="105"/>
                  </a:lnTo>
                  <a:lnTo>
                    <a:pt x="117" y="102"/>
                  </a:lnTo>
                  <a:lnTo>
                    <a:pt x="120" y="105"/>
                  </a:lnTo>
                  <a:lnTo>
                    <a:pt x="123" y="105"/>
                  </a:lnTo>
                  <a:lnTo>
                    <a:pt x="126" y="105"/>
                  </a:lnTo>
                  <a:lnTo>
                    <a:pt x="129" y="105"/>
                  </a:lnTo>
                  <a:lnTo>
                    <a:pt x="129" y="102"/>
                  </a:lnTo>
                  <a:lnTo>
                    <a:pt x="129" y="99"/>
                  </a:lnTo>
                  <a:lnTo>
                    <a:pt x="132" y="102"/>
                  </a:lnTo>
                  <a:lnTo>
                    <a:pt x="132" y="99"/>
                  </a:lnTo>
                  <a:lnTo>
                    <a:pt x="135" y="99"/>
                  </a:lnTo>
                  <a:lnTo>
                    <a:pt x="138" y="96"/>
                  </a:lnTo>
                  <a:lnTo>
                    <a:pt x="138" y="93"/>
                  </a:lnTo>
                  <a:lnTo>
                    <a:pt x="141" y="90"/>
                  </a:lnTo>
                  <a:lnTo>
                    <a:pt x="141" y="87"/>
                  </a:lnTo>
                  <a:lnTo>
                    <a:pt x="144" y="90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62" y="75"/>
                  </a:lnTo>
                  <a:lnTo>
                    <a:pt x="162" y="72"/>
                  </a:lnTo>
                  <a:lnTo>
                    <a:pt x="165" y="72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1" y="69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3"/>
                  </a:lnTo>
                  <a:lnTo>
                    <a:pt x="174" y="60"/>
                  </a:lnTo>
                  <a:lnTo>
                    <a:pt x="177" y="60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3" y="60"/>
                  </a:lnTo>
                  <a:lnTo>
                    <a:pt x="189" y="60"/>
                  </a:lnTo>
                  <a:lnTo>
                    <a:pt x="195" y="66"/>
                  </a:lnTo>
                  <a:lnTo>
                    <a:pt x="198" y="60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54"/>
                  </a:lnTo>
                  <a:lnTo>
                    <a:pt x="207" y="54"/>
                  </a:lnTo>
                  <a:lnTo>
                    <a:pt x="207" y="51"/>
                  </a:lnTo>
                  <a:lnTo>
                    <a:pt x="210" y="51"/>
                  </a:lnTo>
                  <a:lnTo>
                    <a:pt x="210" y="54"/>
                  </a:lnTo>
                  <a:lnTo>
                    <a:pt x="210" y="51"/>
                  </a:lnTo>
                  <a:lnTo>
                    <a:pt x="210" y="48"/>
                  </a:lnTo>
                  <a:lnTo>
                    <a:pt x="213" y="45"/>
                  </a:lnTo>
                  <a:lnTo>
                    <a:pt x="213" y="48"/>
                  </a:lnTo>
                  <a:lnTo>
                    <a:pt x="216" y="51"/>
                  </a:lnTo>
                  <a:lnTo>
                    <a:pt x="222" y="54"/>
                  </a:lnTo>
                  <a:lnTo>
                    <a:pt x="225" y="51"/>
                  </a:lnTo>
                  <a:lnTo>
                    <a:pt x="228" y="51"/>
                  </a:lnTo>
                  <a:lnTo>
                    <a:pt x="228" y="57"/>
                  </a:lnTo>
                  <a:lnTo>
                    <a:pt x="231" y="57"/>
                  </a:lnTo>
                  <a:lnTo>
                    <a:pt x="234" y="57"/>
                  </a:lnTo>
                  <a:lnTo>
                    <a:pt x="237" y="57"/>
                  </a:lnTo>
                  <a:lnTo>
                    <a:pt x="237" y="60"/>
                  </a:lnTo>
                  <a:lnTo>
                    <a:pt x="240" y="60"/>
                  </a:lnTo>
                  <a:lnTo>
                    <a:pt x="243" y="60"/>
                  </a:lnTo>
                  <a:lnTo>
                    <a:pt x="246" y="60"/>
                  </a:lnTo>
                  <a:lnTo>
                    <a:pt x="246" y="63"/>
                  </a:lnTo>
                  <a:lnTo>
                    <a:pt x="246" y="66"/>
                  </a:lnTo>
                  <a:lnTo>
                    <a:pt x="246" y="69"/>
                  </a:lnTo>
                  <a:lnTo>
                    <a:pt x="243" y="69"/>
                  </a:lnTo>
                  <a:lnTo>
                    <a:pt x="237" y="69"/>
                  </a:lnTo>
                  <a:lnTo>
                    <a:pt x="237" y="72"/>
                  </a:lnTo>
                  <a:lnTo>
                    <a:pt x="237" y="75"/>
                  </a:lnTo>
                  <a:lnTo>
                    <a:pt x="243" y="75"/>
                  </a:lnTo>
                  <a:lnTo>
                    <a:pt x="240" y="75"/>
                  </a:lnTo>
                  <a:lnTo>
                    <a:pt x="240" y="78"/>
                  </a:lnTo>
                  <a:lnTo>
                    <a:pt x="243" y="78"/>
                  </a:lnTo>
                  <a:lnTo>
                    <a:pt x="240" y="81"/>
                  </a:lnTo>
                  <a:lnTo>
                    <a:pt x="243" y="81"/>
                  </a:lnTo>
                  <a:lnTo>
                    <a:pt x="249" y="81"/>
                  </a:lnTo>
                  <a:lnTo>
                    <a:pt x="249" y="84"/>
                  </a:lnTo>
                  <a:lnTo>
                    <a:pt x="249" y="87"/>
                  </a:lnTo>
                  <a:lnTo>
                    <a:pt x="252" y="87"/>
                  </a:lnTo>
                  <a:lnTo>
                    <a:pt x="255" y="87"/>
                  </a:lnTo>
                  <a:lnTo>
                    <a:pt x="255" y="93"/>
                  </a:lnTo>
                  <a:lnTo>
                    <a:pt x="252" y="93"/>
                  </a:lnTo>
                  <a:lnTo>
                    <a:pt x="249" y="93"/>
                  </a:lnTo>
                  <a:lnTo>
                    <a:pt x="243" y="93"/>
                  </a:lnTo>
                  <a:lnTo>
                    <a:pt x="243" y="96"/>
                  </a:lnTo>
                  <a:lnTo>
                    <a:pt x="246" y="96"/>
                  </a:lnTo>
                  <a:lnTo>
                    <a:pt x="246" y="99"/>
                  </a:lnTo>
                  <a:lnTo>
                    <a:pt x="249" y="99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3"/>
                  </a:lnTo>
                  <a:lnTo>
                    <a:pt x="255" y="93"/>
                  </a:lnTo>
                  <a:lnTo>
                    <a:pt x="255" y="96"/>
                  </a:lnTo>
                  <a:lnTo>
                    <a:pt x="258" y="96"/>
                  </a:lnTo>
                  <a:lnTo>
                    <a:pt x="258" y="93"/>
                  </a:lnTo>
                  <a:lnTo>
                    <a:pt x="261" y="93"/>
                  </a:lnTo>
                  <a:lnTo>
                    <a:pt x="264" y="93"/>
                  </a:lnTo>
                  <a:lnTo>
                    <a:pt x="267" y="93"/>
                  </a:lnTo>
                  <a:lnTo>
                    <a:pt x="270" y="93"/>
                  </a:lnTo>
                  <a:lnTo>
                    <a:pt x="267" y="90"/>
                  </a:lnTo>
                  <a:lnTo>
                    <a:pt x="273" y="90"/>
                  </a:lnTo>
                  <a:lnTo>
                    <a:pt x="270" y="87"/>
                  </a:lnTo>
                  <a:lnTo>
                    <a:pt x="270" y="84"/>
                  </a:lnTo>
                  <a:lnTo>
                    <a:pt x="267" y="84"/>
                  </a:lnTo>
                  <a:lnTo>
                    <a:pt x="264" y="84"/>
                  </a:lnTo>
                  <a:lnTo>
                    <a:pt x="264" y="81"/>
                  </a:lnTo>
                  <a:lnTo>
                    <a:pt x="261" y="81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2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3" y="69"/>
                  </a:lnTo>
                  <a:lnTo>
                    <a:pt x="276" y="69"/>
                  </a:lnTo>
                  <a:lnTo>
                    <a:pt x="276" y="66"/>
                  </a:lnTo>
                  <a:lnTo>
                    <a:pt x="279" y="66"/>
                  </a:lnTo>
                  <a:lnTo>
                    <a:pt x="282" y="66"/>
                  </a:lnTo>
                  <a:lnTo>
                    <a:pt x="282" y="63"/>
                  </a:lnTo>
                  <a:lnTo>
                    <a:pt x="282" y="60"/>
                  </a:lnTo>
                  <a:lnTo>
                    <a:pt x="276" y="60"/>
                  </a:lnTo>
                  <a:lnTo>
                    <a:pt x="273" y="57"/>
                  </a:lnTo>
                  <a:lnTo>
                    <a:pt x="270" y="54"/>
                  </a:lnTo>
                  <a:lnTo>
                    <a:pt x="267" y="51"/>
                  </a:lnTo>
                  <a:lnTo>
                    <a:pt x="270" y="51"/>
                  </a:lnTo>
                  <a:lnTo>
                    <a:pt x="273" y="48"/>
                  </a:lnTo>
                  <a:lnTo>
                    <a:pt x="264" y="48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2" name="Freeform 30">
              <a:extLst>
                <a:ext uri="{FF2B5EF4-FFF2-40B4-BE49-F238E27FC236}">
                  <a16:creationId xmlns:a16="http://schemas.microsoft.com/office/drawing/2014/main" id="{1D7076D2-8FA9-44D8-81C4-BAD329A77D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2375" y="2654300"/>
              <a:ext cx="939800" cy="638175"/>
            </a:xfrm>
            <a:custGeom>
              <a:avLst/>
              <a:gdLst>
                <a:gd name="T0" fmla="*/ 633087 w 478"/>
                <a:gd name="T1" fmla="*/ 23636 h 324"/>
                <a:gd name="T2" fmla="*/ 686172 w 478"/>
                <a:gd name="T3" fmla="*/ 41363 h 324"/>
                <a:gd name="T4" fmla="*/ 756952 w 478"/>
                <a:gd name="T5" fmla="*/ 53181 h 324"/>
                <a:gd name="T6" fmla="*/ 798240 w 478"/>
                <a:gd name="T7" fmla="*/ 76817 h 324"/>
                <a:gd name="T8" fmla="*/ 851325 w 478"/>
                <a:gd name="T9" fmla="*/ 59090 h 324"/>
                <a:gd name="T10" fmla="*/ 904410 w 478"/>
                <a:gd name="T11" fmla="*/ 64999 h 324"/>
                <a:gd name="T12" fmla="*/ 904410 w 478"/>
                <a:gd name="T13" fmla="*/ 82726 h 324"/>
                <a:gd name="T14" fmla="*/ 939800 w 478"/>
                <a:gd name="T15" fmla="*/ 135908 h 324"/>
                <a:gd name="T16" fmla="*/ 910308 w 478"/>
                <a:gd name="T17" fmla="*/ 129999 h 324"/>
                <a:gd name="T18" fmla="*/ 886715 w 478"/>
                <a:gd name="T19" fmla="*/ 177271 h 324"/>
                <a:gd name="T20" fmla="*/ 874918 w 478"/>
                <a:gd name="T21" fmla="*/ 224543 h 324"/>
                <a:gd name="T22" fmla="*/ 833630 w 478"/>
                <a:gd name="T23" fmla="*/ 212725 h 324"/>
                <a:gd name="T24" fmla="*/ 798240 w 478"/>
                <a:gd name="T25" fmla="*/ 254088 h 324"/>
                <a:gd name="T26" fmla="*/ 762850 w 478"/>
                <a:gd name="T27" fmla="*/ 313178 h 324"/>
                <a:gd name="T28" fmla="*/ 810037 w 478"/>
                <a:gd name="T29" fmla="*/ 319088 h 324"/>
                <a:gd name="T30" fmla="*/ 815935 w 478"/>
                <a:gd name="T31" fmla="*/ 354542 h 324"/>
                <a:gd name="T32" fmla="*/ 810037 w 478"/>
                <a:gd name="T33" fmla="*/ 401814 h 324"/>
                <a:gd name="T34" fmla="*/ 768749 w 478"/>
                <a:gd name="T35" fmla="*/ 413632 h 324"/>
                <a:gd name="T36" fmla="*/ 739257 w 478"/>
                <a:gd name="T37" fmla="*/ 419541 h 324"/>
                <a:gd name="T38" fmla="*/ 709765 w 478"/>
                <a:gd name="T39" fmla="*/ 425450 h 324"/>
                <a:gd name="T40" fmla="*/ 674375 w 478"/>
                <a:gd name="T41" fmla="*/ 431359 h 324"/>
                <a:gd name="T42" fmla="*/ 638985 w 478"/>
                <a:gd name="T43" fmla="*/ 454995 h 324"/>
                <a:gd name="T44" fmla="*/ 638985 w 478"/>
                <a:gd name="T45" fmla="*/ 490449 h 324"/>
                <a:gd name="T46" fmla="*/ 621290 w 478"/>
                <a:gd name="T47" fmla="*/ 502267 h 324"/>
                <a:gd name="T48" fmla="*/ 591799 w 478"/>
                <a:gd name="T49" fmla="*/ 531813 h 324"/>
                <a:gd name="T50" fmla="*/ 568205 w 478"/>
                <a:gd name="T51" fmla="*/ 567267 h 324"/>
                <a:gd name="T52" fmla="*/ 532815 w 478"/>
                <a:gd name="T53" fmla="*/ 537722 h 324"/>
                <a:gd name="T54" fmla="*/ 485629 w 478"/>
                <a:gd name="T55" fmla="*/ 561358 h 324"/>
                <a:gd name="T56" fmla="*/ 432544 w 478"/>
                <a:gd name="T57" fmla="*/ 584994 h 324"/>
                <a:gd name="T58" fmla="*/ 414849 w 478"/>
                <a:gd name="T59" fmla="*/ 620448 h 324"/>
                <a:gd name="T60" fmla="*/ 367662 w 478"/>
                <a:gd name="T61" fmla="*/ 602721 h 324"/>
                <a:gd name="T62" fmla="*/ 361764 w 478"/>
                <a:gd name="T63" fmla="*/ 549540 h 324"/>
                <a:gd name="T64" fmla="*/ 344069 w 478"/>
                <a:gd name="T65" fmla="*/ 573176 h 324"/>
                <a:gd name="T66" fmla="*/ 332272 w 478"/>
                <a:gd name="T67" fmla="*/ 596812 h 324"/>
                <a:gd name="T68" fmla="*/ 326374 w 478"/>
                <a:gd name="T69" fmla="*/ 626357 h 324"/>
                <a:gd name="T70" fmla="*/ 296882 w 478"/>
                <a:gd name="T71" fmla="*/ 608630 h 324"/>
                <a:gd name="T72" fmla="*/ 273289 w 478"/>
                <a:gd name="T73" fmla="*/ 561358 h 324"/>
                <a:gd name="T74" fmla="*/ 235933 w 478"/>
                <a:gd name="T75" fmla="*/ 514085 h 324"/>
                <a:gd name="T76" fmla="*/ 212340 w 478"/>
                <a:gd name="T77" fmla="*/ 519994 h 324"/>
                <a:gd name="T78" fmla="*/ 171051 w 478"/>
                <a:gd name="T79" fmla="*/ 525903 h 324"/>
                <a:gd name="T80" fmla="*/ 117967 w 478"/>
                <a:gd name="T81" fmla="*/ 502267 h 324"/>
                <a:gd name="T82" fmla="*/ 64882 w 478"/>
                <a:gd name="T83" fmla="*/ 454995 h 324"/>
                <a:gd name="T84" fmla="*/ 76678 w 478"/>
                <a:gd name="T85" fmla="*/ 372269 h 324"/>
                <a:gd name="T86" fmla="*/ 35390 w 478"/>
                <a:gd name="T87" fmla="*/ 354542 h 324"/>
                <a:gd name="T88" fmla="*/ 17695 w 478"/>
                <a:gd name="T89" fmla="*/ 283633 h 324"/>
                <a:gd name="T90" fmla="*/ 11797 w 478"/>
                <a:gd name="T91" fmla="*/ 248179 h 324"/>
                <a:gd name="T92" fmla="*/ 17695 w 478"/>
                <a:gd name="T93" fmla="*/ 218634 h 324"/>
                <a:gd name="T94" fmla="*/ 35390 w 478"/>
                <a:gd name="T95" fmla="*/ 183180 h 324"/>
                <a:gd name="T96" fmla="*/ 47187 w 478"/>
                <a:gd name="T97" fmla="*/ 141817 h 324"/>
                <a:gd name="T98" fmla="*/ 82577 w 478"/>
                <a:gd name="T99" fmla="*/ 124090 h 324"/>
                <a:gd name="T100" fmla="*/ 123865 w 478"/>
                <a:gd name="T101" fmla="*/ 118181 h 324"/>
                <a:gd name="T102" fmla="*/ 165153 w 478"/>
                <a:gd name="T103" fmla="*/ 135908 h 324"/>
                <a:gd name="T104" fmla="*/ 194645 w 478"/>
                <a:gd name="T105" fmla="*/ 159544 h 324"/>
                <a:gd name="T106" fmla="*/ 235933 w 478"/>
                <a:gd name="T107" fmla="*/ 183180 h 324"/>
                <a:gd name="T108" fmla="*/ 279187 w 478"/>
                <a:gd name="T109" fmla="*/ 189089 h 324"/>
                <a:gd name="T110" fmla="*/ 320476 w 478"/>
                <a:gd name="T111" fmla="*/ 206816 h 324"/>
                <a:gd name="T112" fmla="*/ 385357 w 478"/>
                <a:gd name="T113" fmla="*/ 206816 h 324"/>
                <a:gd name="T114" fmla="*/ 420747 w 478"/>
                <a:gd name="T115" fmla="*/ 200907 h 324"/>
                <a:gd name="T116" fmla="*/ 479731 w 478"/>
                <a:gd name="T117" fmla="*/ 189089 h 324"/>
                <a:gd name="T118" fmla="*/ 509222 w 478"/>
                <a:gd name="T119" fmla="*/ 129999 h 324"/>
                <a:gd name="T120" fmla="*/ 532815 w 478"/>
                <a:gd name="T121" fmla="*/ 64999 h 324"/>
                <a:gd name="T122" fmla="*/ 532815 w 478"/>
                <a:gd name="T123" fmla="*/ 23636 h 324"/>
                <a:gd name="T124" fmla="*/ 585900 w 478"/>
                <a:gd name="T125" fmla="*/ 5909 h 3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78" h="324">
                  <a:moveTo>
                    <a:pt x="319" y="0"/>
                  </a:moveTo>
                  <a:lnTo>
                    <a:pt x="322" y="0"/>
                  </a:lnTo>
                  <a:lnTo>
                    <a:pt x="322" y="3"/>
                  </a:lnTo>
                  <a:lnTo>
                    <a:pt x="319" y="3"/>
                  </a:lnTo>
                  <a:lnTo>
                    <a:pt x="322" y="3"/>
                  </a:lnTo>
                  <a:lnTo>
                    <a:pt x="322" y="6"/>
                  </a:lnTo>
                  <a:lnTo>
                    <a:pt x="319" y="6"/>
                  </a:lnTo>
                  <a:lnTo>
                    <a:pt x="319" y="9"/>
                  </a:lnTo>
                  <a:lnTo>
                    <a:pt x="322" y="9"/>
                  </a:lnTo>
                  <a:lnTo>
                    <a:pt x="322" y="12"/>
                  </a:lnTo>
                  <a:lnTo>
                    <a:pt x="322" y="15"/>
                  </a:lnTo>
                  <a:lnTo>
                    <a:pt x="322" y="12"/>
                  </a:lnTo>
                  <a:lnTo>
                    <a:pt x="325" y="12"/>
                  </a:lnTo>
                  <a:lnTo>
                    <a:pt x="325" y="15"/>
                  </a:lnTo>
                  <a:lnTo>
                    <a:pt x="322" y="15"/>
                  </a:lnTo>
                  <a:lnTo>
                    <a:pt x="328" y="15"/>
                  </a:lnTo>
                  <a:lnTo>
                    <a:pt x="331" y="15"/>
                  </a:lnTo>
                  <a:lnTo>
                    <a:pt x="331" y="18"/>
                  </a:lnTo>
                  <a:lnTo>
                    <a:pt x="334" y="18"/>
                  </a:lnTo>
                  <a:lnTo>
                    <a:pt x="337" y="21"/>
                  </a:lnTo>
                  <a:lnTo>
                    <a:pt x="337" y="15"/>
                  </a:lnTo>
                  <a:lnTo>
                    <a:pt x="343" y="21"/>
                  </a:lnTo>
                  <a:lnTo>
                    <a:pt x="346" y="21"/>
                  </a:lnTo>
                  <a:lnTo>
                    <a:pt x="349" y="21"/>
                  </a:lnTo>
                  <a:lnTo>
                    <a:pt x="349" y="18"/>
                  </a:lnTo>
                  <a:lnTo>
                    <a:pt x="361" y="15"/>
                  </a:lnTo>
                  <a:lnTo>
                    <a:pt x="364" y="12"/>
                  </a:lnTo>
                  <a:lnTo>
                    <a:pt x="367" y="12"/>
                  </a:lnTo>
                  <a:lnTo>
                    <a:pt x="367" y="6"/>
                  </a:lnTo>
                  <a:lnTo>
                    <a:pt x="370" y="6"/>
                  </a:lnTo>
                  <a:lnTo>
                    <a:pt x="373" y="18"/>
                  </a:lnTo>
                  <a:lnTo>
                    <a:pt x="373" y="21"/>
                  </a:lnTo>
                  <a:lnTo>
                    <a:pt x="376" y="24"/>
                  </a:lnTo>
                  <a:lnTo>
                    <a:pt x="382" y="27"/>
                  </a:lnTo>
                  <a:lnTo>
                    <a:pt x="382" y="30"/>
                  </a:lnTo>
                  <a:lnTo>
                    <a:pt x="385" y="27"/>
                  </a:lnTo>
                  <a:lnTo>
                    <a:pt x="388" y="30"/>
                  </a:lnTo>
                  <a:lnTo>
                    <a:pt x="388" y="33"/>
                  </a:lnTo>
                  <a:lnTo>
                    <a:pt x="385" y="33"/>
                  </a:lnTo>
                  <a:lnTo>
                    <a:pt x="385" y="36"/>
                  </a:lnTo>
                  <a:lnTo>
                    <a:pt x="388" y="36"/>
                  </a:lnTo>
                  <a:lnTo>
                    <a:pt x="388" y="39"/>
                  </a:lnTo>
                  <a:lnTo>
                    <a:pt x="391" y="36"/>
                  </a:lnTo>
                  <a:lnTo>
                    <a:pt x="394" y="36"/>
                  </a:lnTo>
                  <a:lnTo>
                    <a:pt x="397" y="42"/>
                  </a:lnTo>
                  <a:lnTo>
                    <a:pt x="400" y="39"/>
                  </a:lnTo>
                  <a:lnTo>
                    <a:pt x="403" y="39"/>
                  </a:lnTo>
                  <a:lnTo>
                    <a:pt x="406" y="39"/>
                  </a:lnTo>
                  <a:lnTo>
                    <a:pt x="409" y="39"/>
                  </a:lnTo>
                  <a:lnTo>
                    <a:pt x="412" y="39"/>
                  </a:lnTo>
                  <a:lnTo>
                    <a:pt x="415" y="42"/>
                  </a:lnTo>
                  <a:lnTo>
                    <a:pt x="415" y="39"/>
                  </a:lnTo>
                  <a:lnTo>
                    <a:pt x="418" y="39"/>
                  </a:lnTo>
                  <a:lnTo>
                    <a:pt x="418" y="36"/>
                  </a:lnTo>
                  <a:lnTo>
                    <a:pt x="418" y="33"/>
                  </a:lnTo>
                  <a:lnTo>
                    <a:pt x="418" y="30"/>
                  </a:lnTo>
                  <a:lnTo>
                    <a:pt x="421" y="30"/>
                  </a:lnTo>
                  <a:lnTo>
                    <a:pt x="427" y="33"/>
                  </a:lnTo>
                  <a:lnTo>
                    <a:pt x="430" y="30"/>
                  </a:lnTo>
                  <a:lnTo>
                    <a:pt x="433" y="30"/>
                  </a:lnTo>
                  <a:lnTo>
                    <a:pt x="436" y="30"/>
                  </a:lnTo>
                  <a:lnTo>
                    <a:pt x="439" y="30"/>
                  </a:lnTo>
                  <a:lnTo>
                    <a:pt x="442" y="33"/>
                  </a:lnTo>
                  <a:lnTo>
                    <a:pt x="445" y="33"/>
                  </a:lnTo>
                  <a:lnTo>
                    <a:pt x="448" y="33"/>
                  </a:lnTo>
                  <a:lnTo>
                    <a:pt x="448" y="30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1" y="33"/>
                  </a:lnTo>
                  <a:lnTo>
                    <a:pt x="454" y="33"/>
                  </a:lnTo>
                  <a:lnTo>
                    <a:pt x="457" y="33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6"/>
                  </a:lnTo>
                  <a:lnTo>
                    <a:pt x="475" y="36"/>
                  </a:lnTo>
                  <a:lnTo>
                    <a:pt x="475" y="39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5"/>
                  </a:lnTo>
                  <a:lnTo>
                    <a:pt x="469" y="45"/>
                  </a:lnTo>
                  <a:lnTo>
                    <a:pt x="466" y="45"/>
                  </a:lnTo>
                  <a:lnTo>
                    <a:pt x="466" y="42"/>
                  </a:lnTo>
                  <a:lnTo>
                    <a:pt x="463" y="42"/>
                  </a:lnTo>
                  <a:lnTo>
                    <a:pt x="460" y="42"/>
                  </a:lnTo>
                  <a:lnTo>
                    <a:pt x="460" y="48"/>
                  </a:lnTo>
                  <a:lnTo>
                    <a:pt x="463" y="45"/>
                  </a:lnTo>
                  <a:lnTo>
                    <a:pt x="463" y="48"/>
                  </a:lnTo>
                  <a:lnTo>
                    <a:pt x="463" y="51"/>
                  </a:lnTo>
                  <a:lnTo>
                    <a:pt x="466" y="51"/>
                  </a:lnTo>
                  <a:lnTo>
                    <a:pt x="469" y="51"/>
                  </a:lnTo>
                  <a:lnTo>
                    <a:pt x="472" y="54"/>
                  </a:lnTo>
                  <a:lnTo>
                    <a:pt x="475" y="54"/>
                  </a:lnTo>
                  <a:lnTo>
                    <a:pt x="475" y="57"/>
                  </a:lnTo>
                  <a:lnTo>
                    <a:pt x="478" y="60"/>
                  </a:lnTo>
                  <a:lnTo>
                    <a:pt x="478" y="63"/>
                  </a:lnTo>
                  <a:lnTo>
                    <a:pt x="478" y="69"/>
                  </a:lnTo>
                  <a:lnTo>
                    <a:pt x="475" y="69"/>
                  </a:lnTo>
                  <a:lnTo>
                    <a:pt x="472" y="69"/>
                  </a:lnTo>
                  <a:lnTo>
                    <a:pt x="472" y="72"/>
                  </a:lnTo>
                  <a:lnTo>
                    <a:pt x="469" y="72"/>
                  </a:lnTo>
                  <a:lnTo>
                    <a:pt x="466" y="72"/>
                  </a:lnTo>
                  <a:lnTo>
                    <a:pt x="463" y="75"/>
                  </a:lnTo>
                  <a:lnTo>
                    <a:pt x="463" y="72"/>
                  </a:lnTo>
                  <a:lnTo>
                    <a:pt x="463" y="69"/>
                  </a:lnTo>
                  <a:lnTo>
                    <a:pt x="466" y="69"/>
                  </a:lnTo>
                  <a:lnTo>
                    <a:pt x="466" y="66"/>
                  </a:lnTo>
                  <a:lnTo>
                    <a:pt x="463" y="69"/>
                  </a:lnTo>
                  <a:lnTo>
                    <a:pt x="463" y="66"/>
                  </a:lnTo>
                  <a:lnTo>
                    <a:pt x="460" y="69"/>
                  </a:lnTo>
                  <a:lnTo>
                    <a:pt x="457" y="69"/>
                  </a:lnTo>
                  <a:lnTo>
                    <a:pt x="457" y="72"/>
                  </a:lnTo>
                  <a:lnTo>
                    <a:pt x="460" y="75"/>
                  </a:lnTo>
                  <a:lnTo>
                    <a:pt x="460" y="78"/>
                  </a:lnTo>
                  <a:lnTo>
                    <a:pt x="460" y="81"/>
                  </a:lnTo>
                  <a:lnTo>
                    <a:pt x="460" y="84"/>
                  </a:lnTo>
                  <a:lnTo>
                    <a:pt x="457" y="84"/>
                  </a:lnTo>
                  <a:lnTo>
                    <a:pt x="457" y="87"/>
                  </a:lnTo>
                  <a:lnTo>
                    <a:pt x="454" y="87"/>
                  </a:lnTo>
                  <a:lnTo>
                    <a:pt x="454" y="90"/>
                  </a:lnTo>
                  <a:lnTo>
                    <a:pt x="451" y="90"/>
                  </a:lnTo>
                  <a:lnTo>
                    <a:pt x="451" y="93"/>
                  </a:lnTo>
                  <a:lnTo>
                    <a:pt x="448" y="93"/>
                  </a:lnTo>
                  <a:lnTo>
                    <a:pt x="448" y="96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48" y="102"/>
                  </a:lnTo>
                  <a:lnTo>
                    <a:pt x="448" y="105"/>
                  </a:lnTo>
                  <a:lnTo>
                    <a:pt x="448" y="108"/>
                  </a:lnTo>
                  <a:lnTo>
                    <a:pt x="445" y="108"/>
                  </a:lnTo>
                  <a:lnTo>
                    <a:pt x="448" y="111"/>
                  </a:lnTo>
                  <a:lnTo>
                    <a:pt x="445" y="111"/>
                  </a:lnTo>
                  <a:lnTo>
                    <a:pt x="445" y="114"/>
                  </a:lnTo>
                  <a:lnTo>
                    <a:pt x="445" y="111"/>
                  </a:lnTo>
                  <a:lnTo>
                    <a:pt x="442" y="111"/>
                  </a:lnTo>
                  <a:lnTo>
                    <a:pt x="442" y="114"/>
                  </a:lnTo>
                  <a:lnTo>
                    <a:pt x="439" y="114"/>
                  </a:lnTo>
                  <a:lnTo>
                    <a:pt x="436" y="114"/>
                  </a:lnTo>
                  <a:lnTo>
                    <a:pt x="433" y="117"/>
                  </a:lnTo>
                  <a:lnTo>
                    <a:pt x="430" y="117"/>
                  </a:lnTo>
                  <a:lnTo>
                    <a:pt x="430" y="114"/>
                  </a:lnTo>
                  <a:lnTo>
                    <a:pt x="430" y="111"/>
                  </a:lnTo>
                  <a:lnTo>
                    <a:pt x="427" y="114"/>
                  </a:lnTo>
                  <a:lnTo>
                    <a:pt x="424" y="111"/>
                  </a:lnTo>
                  <a:lnTo>
                    <a:pt x="424" y="108"/>
                  </a:lnTo>
                  <a:lnTo>
                    <a:pt x="421" y="108"/>
                  </a:lnTo>
                  <a:lnTo>
                    <a:pt x="418" y="108"/>
                  </a:lnTo>
                  <a:lnTo>
                    <a:pt x="418" y="111"/>
                  </a:lnTo>
                  <a:lnTo>
                    <a:pt x="415" y="111"/>
                  </a:lnTo>
                  <a:lnTo>
                    <a:pt x="412" y="114"/>
                  </a:lnTo>
                  <a:lnTo>
                    <a:pt x="409" y="114"/>
                  </a:lnTo>
                  <a:lnTo>
                    <a:pt x="406" y="114"/>
                  </a:lnTo>
                  <a:lnTo>
                    <a:pt x="409" y="117"/>
                  </a:lnTo>
                  <a:lnTo>
                    <a:pt x="406" y="117"/>
                  </a:lnTo>
                  <a:lnTo>
                    <a:pt x="406" y="123"/>
                  </a:lnTo>
                  <a:lnTo>
                    <a:pt x="406" y="126"/>
                  </a:lnTo>
                  <a:lnTo>
                    <a:pt x="406" y="129"/>
                  </a:lnTo>
                  <a:lnTo>
                    <a:pt x="403" y="135"/>
                  </a:lnTo>
                  <a:lnTo>
                    <a:pt x="403" y="138"/>
                  </a:lnTo>
                  <a:lnTo>
                    <a:pt x="400" y="138"/>
                  </a:lnTo>
                  <a:lnTo>
                    <a:pt x="400" y="141"/>
                  </a:lnTo>
                  <a:lnTo>
                    <a:pt x="394" y="138"/>
                  </a:lnTo>
                  <a:lnTo>
                    <a:pt x="394" y="141"/>
                  </a:lnTo>
                  <a:lnTo>
                    <a:pt x="394" y="147"/>
                  </a:lnTo>
                  <a:lnTo>
                    <a:pt x="397" y="153"/>
                  </a:lnTo>
                  <a:lnTo>
                    <a:pt x="394" y="153"/>
                  </a:lnTo>
                  <a:lnTo>
                    <a:pt x="391" y="156"/>
                  </a:lnTo>
                  <a:lnTo>
                    <a:pt x="388" y="156"/>
                  </a:lnTo>
                  <a:lnTo>
                    <a:pt x="388" y="159"/>
                  </a:lnTo>
                  <a:lnTo>
                    <a:pt x="385" y="162"/>
                  </a:lnTo>
                  <a:lnTo>
                    <a:pt x="388" y="168"/>
                  </a:lnTo>
                  <a:lnTo>
                    <a:pt x="388" y="174"/>
                  </a:lnTo>
                  <a:lnTo>
                    <a:pt x="391" y="171"/>
                  </a:lnTo>
                  <a:lnTo>
                    <a:pt x="394" y="171"/>
                  </a:lnTo>
                  <a:lnTo>
                    <a:pt x="397" y="168"/>
                  </a:lnTo>
                  <a:lnTo>
                    <a:pt x="400" y="168"/>
                  </a:lnTo>
                  <a:lnTo>
                    <a:pt x="400" y="165"/>
                  </a:lnTo>
                  <a:lnTo>
                    <a:pt x="403" y="165"/>
                  </a:lnTo>
                  <a:lnTo>
                    <a:pt x="406" y="165"/>
                  </a:lnTo>
                  <a:lnTo>
                    <a:pt x="409" y="162"/>
                  </a:lnTo>
                  <a:lnTo>
                    <a:pt x="412" y="162"/>
                  </a:lnTo>
                  <a:lnTo>
                    <a:pt x="415" y="162"/>
                  </a:lnTo>
                  <a:lnTo>
                    <a:pt x="415" y="165"/>
                  </a:lnTo>
                  <a:lnTo>
                    <a:pt x="415" y="168"/>
                  </a:lnTo>
                  <a:lnTo>
                    <a:pt x="418" y="168"/>
                  </a:lnTo>
                  <a:lnTo>
                    <a:pt x="421" y="165"/>
                  </a:lnTo>
                  <a:lnTo>
                    <a:pt x="421" y="168"/>
                  </a:lnTo>
                  <a:lnTo>
                    <a:pt x="421" y="171"/>
                  </a:lnTo>
                  <a:lnTo>
                    <a:pt x="418" y="174"/>
                  </a:lnTo>
                  <a:lnTo>
                    <a:pt x="421" y="177"/>
                  </a:lnTo>
                  <a:lnTo>
                    <a:pt x="418" y="177"/>
                  </a:lnTo>
                  <a:lnTo>
                    <a:pt x="418" y="180"/>
                  </a:lnTo>
                  <a:lnTo>
                    <a:pt x="415" y="180"/>
                  </a:lnTo>
                  <a:lnTo>
                    <a:pt x="418" y="180"/>
                  </a:lnTo>
                  <a:lnTo>
                    <a:pt x="418" y="183"/>
                  </a:lnTo>
                  <a:lnTo>
                    <a:pt x="415" y="186"/>
                  </a:lnTo>
                  <a:lnTo>
                    <a:pt x="418" y="189"/>
                  </a:lnTo>
                  <a:lnTo>
                    <a:pt x="418" y="192"/>
                  </a:lnTo>
                  <a:lnTo>
                    <a:pt x="418" y="189"/>
                  </a:lnTo>
                  <a:lnTo>
                    <a:pt x="418" y="195"/>
                  </a:lnTo>
                  <a:lnTo>
                    <a:pt x="418" y="198"/>
                  </a:lnTo>
                  <a:lnTo>
                    <a:pt x="415" y="198"/>
                  </a:lnTo>
                  <a:lnTo>
                    <a:pt x="412" y="198"/>
                  </a:lnTo>
                  <a:lnTo>
                    <a:pt x="412" y="201"/>
                  </a:lnTo>
                  <a:lnTo>
                    <a:pt x="412" y="204"/>
                  </a:lnTo>
                  <a:lnTo>
                    <a:pt x="409" y="204"/>
                  </a:lnTo>
                  <a:lnTo>
                    <a:pt x="409" y="207"/>
                  </a:lnTo>
                  <a:lnTo>
                    <a:pt x="409" y="210"/>
                  </a:lnTo>
                  <a:lnTo>
                    <a:pt x="406" y="210"/>
                  </a:lnTo>
                  <a:lnTo>
                    <a:pt x="406" y="213"/>
                  </a:lnTo>
                  <a:lnTo>
                    <a:pt x="403" y="213"/>
                  </a:lnTo>
                  <a:lnTo>
                    <a:pt x="403" y="210"/>
                  </a:lnTo>
                  <a:lnTo>
                    <a:pt x="400" y="210"/>
                  </a:lnTo>
                  <a:lnTo>
                    <a:pt x="400" y="207"/>
                  </a:lnTo>
                  <a:lnTo>
                    <a:pt x="397" y="207"/>
                  </a:lnTo>
                  <a:lnTo>
                    <a:pt x="394" y="207"/>
                  </a:lnTo>
                  <a:lnTo>
                    <a:pt x="391" y="210"/>
                  </a:lnTo>
                  <a:lnTo>
                    <a:pt x="391" y="213"/>
                  </a:lnTo>
                  <a:lnTo>
                    <a:pt x="388" y="213"/>
                  </a:lnTo>
                  <a:lnTo>
                    <a:pt x="388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6"/>
                  </a:lnTo>
                  <a:lnTo>
                    <a:pt x="382" y="216"/>
                  </a:lnTo>
                  <a:lnTo>
                    <a:pt x="385" y="216"/>
                  </a:lnTo>
                  <a:lnTo>
                    <a:pt x="385" y="213"/>
                  </a:lnTo>
                  <a:lnTo>
                    <a:pt x="382" y="213"/>
                  </a:lnTo>
                  <a:lnTo>
                    <a:pt x="379" y="213"/>
                  </a:lnTo>
                  <a:lnTo>
                    <a:pt x="376" y="213"/>
                  </a:lnTo>
                  <a:lnTo>
                    <a:pt x="373" y="213"/>
                  </a:lnTo>
                  <a:lnTo>
                    <a:pt x="370" y="213"/>
                  </a:lnTo>
                  <a:lnTo>
                    <a:pt x="367" y="213"/>
                  </a:lnTo>
                  <a:lnTo>
                    <a:pt x="367" y="210"/>
                  </a:lnTo>
                  <a:lnTo>
                    <a:pt x="364" y="210"/>
                  </a:lnTo>
                  <a:lnTo>
                    <a:pt x="364" y="207"/>
                  </a:lnTo>
                  <a:lnTo>
                    <a:pt x="364" y="210"/>
                  </a:lnTo>
                  <a:lnTo>
                    <a:pt x="361" y="210"/>
                  </a:lnTo>
                  <a:lnTo>
                    <a:pt x="361" y="213"/>
                  </a:lnTo>
                  <a:lnTo>
                    <a:pt x="364" y="213"/>
                  </a:lnTo>
                  <a:lnTo>
                    <a:pt x="361" y="213"/>
                  </a:lnTo>
                  <a:lnTo>
                    <a:pt x="361" y="216"/>
                  </a:lnTo>
                  <a:lnTo>
                    <a:pt x="364" y="216"/>
                  </a:lnTo>
                  <a:lnTo>
                    <a:pt x="361" y="216"/>
                  </a:lnTo>
                  <a:lnTo>
                    <a:pt x="361" y="213"/>
                  </a:lnTo>
                  <a:lnTo>
                    <a:pt x="358" y="213"/>
                  </a:lnTo>
                  <a:lnTo>
                    <a:pt x="355" y="213"/>
                  </a:lnTo>
                  <a:lnTo>
                    <a:pt x="355" y="216"/>
                  </a:lnTo>
                  <a:lnTo>
                    <a:pt x="352" y="216"/>
                  </a:lnTo>
                  <a:lnTo>
                    <a:pt x="352" y="213"/>
                  </a:lnTo>
                  <a:lnTo>
                    <a:pt x="349" y="213"/>
                  </a:lnTo>
                  <a:lnTo>
                    <a:pt x="349" y="216"/>
                  </a:lnTo>
                  <a:lnTo>
                    <a:pt x="346" y="216"/>
                  </a:lnTo>
                  <a:lnTo>
                    <a:pt x="343" y="219"/>
                  </a:lnTo>
                  <a:lnTo>
                    <a:pt x="343" y="222"/>
                  </a:lnTo>
                  <a:lnTo>
                    <a:pt x="343" y="219"/>
                  </a:lnTo>
                  <a:lnTo>
                    <a:pt x="340" y="219"/>
                  </a:lnTo>
                  <a:lnTo>
                    <a:pt x="337" y="219"/>
                  </a:lnTo>
                  <a:lnTo>
                    <a:pt x="337" y="222"/>
                  </a:lnTo>
                  <a:lnTo>
                    <a:pt x="334" y="222"/>
                  </a:lnTo>
                  <a:lnTo>
                    <a:pt x="334" y="225"/>
                  </a:lnTo>
                  <a:lnTo>
                    <a:pt x="334" y="228"/>
                  </a:lnTo>
                  <a:lnTo>
                    <a:pt x="331" y="228"/>
                  </a:lnTo>
                  <a:lnTo>
                    <a:pt x="328" y="228"/>
                  </a:lnTo>
                  <a:lnTo>
                    <a:pt x="328" y="231"/>
                  </a:lnTo>
                  <a:lnTo>
                    <a:pt x="325" y="231"/>
                  </a:lnTo>
                  <a:lnTo>
                    <a:pt x="325" y="234"/>
                  </a:lnTo>
                  <a:lnTo>
                    <a:pt x="322" y="234"/>
                  </a:lnTo>
                  <a:lnTo>
                    <a:pt x="319" y="234"/>
                  </a:lnTo>
                  <a:lnTo>
                    <a:pt x="319" y="237"/>
                  </a:lnTo>
                  <a:lnTo>
                    <a:pt x="322" y="237"/>
                  </a:lnTo>
                  <a:lnTo>
                    <a:pt x="322" y="240"/>
                  </a:lnTo>
                  <a:lnTo>
                    <a:pt x="325" y="240"/>
                  </a:lnTo>
                  <a:lnTo>
                    <a:pt x="325" y="243"/>
                  </a:lnTo>
                  <a:lnTo>
                    <a:pt x="328" y="243"/>
                  </a:lnTo>
                  <a:lnTo>
                    <a:pt x="328" y="246"/>
                  </a:lnTo>
                  <a:lnTo>
                    <a:pt x="325" y="246"/>
                  </a:lnTo>
                  <a:lnTo>
                    <a:pt x="325" y="249"/>
                  </a:lnTo>
                  <a:lnTo>
                    <a:pt x="322" y="249"/>
                  </a:lnTo>
                  <a:lnTo>
                    <a:pt x="322" y="252"/>
                  </a:lnTo>
                  <a:lnTo>
                    <a:pt x="322" y="255"/>
                  </a:lnTo>
                  <a:lnTo>
                    <a:pt x="325" y="255"/>
                  </a:lnTo>
                  <a:lnTo>
                    <a:pt x="328" y="255"/>
                  </a:lnTo>
                  <a:lnTo>
                    <a:pt x="328" y="258"/>
                  </a:lnTo>
                  <a:lnTo>
                    <a:pt x="325" y="255"/>
                  </a:lnTo>
                  <a:lnTo>
                    <a:pt x="322" y="255"/>
                  </a:lnTo>
                  <a:lnTo>
                    <a:pt x="322" y="258"/>
                  </a:lnTo>
                  <a:lnTo>
                    <a:pt x="319" y="258"/>
                  </a:lnTo>
                  <a:lnTo>
                    <a:pt x="319" y="255"/>
                  </a:lnTo>
                  <a:lnTo>
                    <a:pt x="316" y="255"/>
                  </a:lnTo>
                  <a:lnTo>
                    <a:pt x="313" y="255"/>
                  </a:lnTo>
                  <a:lnTo>
                    <a:pt x="313" y="258"/>
                  </a:lnTo>
                  <a:lnTo>
                    <a:pt x="313" y="261"/>
                  </a:lnTo>
                  <a:lnTo>
                    <a:pt x="313" y="258"/>
                  </a:lnTo>
                  <a:lnTo>
                    <a:pt x="310" y="258"/>
                  </a:lnTo>
                  <a:lnTo>
                    <a:pt x="307" y="258"/>
                  </a:lnTo>
                  <a:lnTo>
                    <a:pt x="307" y="261"/>
                  </a:lnTo>
                  <a:lnTo>
                    <a:pt x="304" y="261"/>
                  </a:lnTo>
                  <a:lnTo>
                    <a:pt x="304" y="264"/>
                  </a:lnTo>
                  <a:lnTo>
                    <a:pt x="304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298" y="270"/>
                  </a:lnTo>
                  <a:lnTo>
                    <a:pt x="298" y="273"/>
                  </a:lnTo>
                  <a:lnTo>
                    <a:pt x="295" y="273"/>
                  </a:lnTo>
                  <a:lnTo>
                    <a:pt x="295" y="276"/>
                  </a:lnTo>
                  <a:lnTo>
                    <a:pt x="292" y="276"/>
                  </a:lnTo>
                  <a:lnTo>
                    <a:pt x="292" y="279"/>
                  </a:lnTo>
                  <a:lnTo>
                    <a:pt x="292" y="282"/>
                  </a:lnTo>
                  <a:lnTo>
                    <a:pt x="289" y="282"/>
                  </a:lnTo>
                  <a:lnTo>
                    <a:pt x="289" y="285"/>
                  </a:lnTo>
                  <a:lnTo>
                    <a:pt x="292" y="285"/>
                  </a:lnTo>
                  <a:lnTo>
                    <a:pt x="289" y="285"/>
                  </a:lnTo>
                  <a:lnTo>
                    <a:pt x="289" y="288"/>
                  </a:lnTo>
                  <a:lnTo>
                    <a:pt x="286" y="288"/>
                  </a:lnTo>
                  <a:lnTo>
                    <a:pt x="286" y="285"/>
                  </a:lnTo>
                  <a:lnTo>
                    <a:pt x="286" y="282"/>
                  </a:lnTo>
                  <a:lnTo>
                    <a:pt x="286" y="279"/>
                  </a:lnTo>
                  <a:lnTo>
                    <a:pt x="283" y="279"/>
                  </a:lnTo>
                  <a:lnTo>
                    <a:pt x="280" y="279"/>
                  </a:lnTo>
                  <a:lnTo>
                    <a:pt x="280" y="276"/>
                  </a:lnTo>
                  <a:lnTo>
                    <a:pt x="277" y="276"/>
                  </a:lnTo>
                  <a:lnTo>
                    <a:pt x="277" y="279"/>
                  </a:lnTo>
                  <a:lnTo>
                    <a:pt x="274" y="279"/>
                  </a:lnTo>
                  <a:lnTo>
                    <a:pt x="271" y="276"/>
                  </a:lnTo>
                  <a:lnTo>
                    <a:pt x="271" y="273"/>
                  </a:lnTo>
                  <a:lnTo>
                    <a:pt x="268" y="273"/>
                  </a:lnTo>
                  <a:lnTo>
                    <a:pt x="265" y="276"/>
                  </a:lnTo>
                  <a:lnTo>
                    <a:pt x="262" y="276"/>
                  </a:lnTo>
                  <a:lnTo>
                    <a:pt x="262" y="279"/>
                  </a:lnTo>
                  <a:lnTo>
                    <a:pt x="259" y="279"/>
                  </a:lnTo>
                  <a:lnTo>
                    <a:pt x="259" y="282"/>
                  </a:lnTo>
                  <a:lnTo>
                    <a:pt x="259" y="285"/>
                  </a:lnTo>
                  <a:lnTo>
                    <a:pt x="256" y="285"/>
                  </a:lnTo>
                  <a:lnTo>
                    <a:pt x="253" y="282"/>
                  </a:lnTo>
                  <a:lnTo>
                    <a:pt x="250" y="282"/>
                  </a:lnTo>
                  <a:lnTo>
                    <a:pt x="250" y="285"/>
                  </a:lnTo>
                  <a:lnTo>
                    <a:pt x="247" y="285"/>
                  </a:lnTo>
                  <a:lnTo>
                    <a:pt x="244" y="285"/>
                  </a:lnTo>
                  <a:lnTo>
                    <a:pt x="241" y="285"/>
                  </a:lnTo>
                  <a:lnTo>
                    <a:pt x="238" y="288"/>
                  </a:lnTo>
                  <a:lnTo>
                    <a:pt x="235" y="288"/>
                  </a:lnTo>
                  <a:lnTo>
                    <a:pt x="232" y="288"/>
                  </a:lnTo>
                  <a:lnTo>
                    <a:pt x="232" y="291"/>
                  </a:lnTo>
                  <a:lnTo>
                    <a:pt x="229" y="291"/>
                  </a:lnTo>
                  <a:lnTo>
                    <a:pt x="229" y="294"/>
                  </a:lnTo>
                  <a:lnTo>
                    <a:pt x="226" y="294"/>
                  </a:lnTo>
                  <a:lnTo>
                    <a:pt x="223" y="294"/>
                  </a:lnTo>
                  <a:lnTo>
                    <a:pt x="223" y="297"/>
                  </a:lnTo>
                  <a:lnTo>
                    <a:pt x="220" y="297"/>
                  </a:lnTo>
                  <a:lnTo>
                    <a:pt x="220" y="300"/>
                  </a:lnTo>
                  <a:lnTo>
                    <a:pt x="223" y="300"/>
                  </a:lnTo>
                  <a:lnTo>
                    <a:pt x="223" y="303"/>
                  </a:lnTo>
                  <a:lnTo>
                    <a:pt x="220" y="303"/>
                  </a:lnTo>
                  <a:lnTo>
                    <a:pt x="217" y="303"/>
                  </a:lnTo>
                  <a:lnTo>
                    <a:pt x="217" y="306"/>
                  </a:lnTo>
                  <a:lnTo>
                    <a:pt x="214" y="306"/>
                  </a:lnTo>
                  <a:lnTo>
                    <a:pt x="211" y="306"/>
                  </a:lnTo>
                  <a:lnTo>
                    <a:pt x="211" y="309"/>
                  </a:lnTo>
                  <a:lnTo>
                    <a:pt x="211" y="312"/>
                  </a:lnTo>
                  <a:lnTo>
                    <a:pt x="208" y="312"/>
                  </a:lnTo>
                  <a:lnTo>
                    <a:pt x="211" y="315"/>
                  </a:lnTo>
                  <a:lnTo>
                    <a:pt x="208" y="315"/>
                  </a:lnTo>
                  <a:lnTo>
                    <a:pt x="208" y="318"/>
                  </a:lnTo>
                  <a:lnTo>
                    <a:pt x="208" y="321"/>
                  </a:lnTo>
                  <a:lnTo>
                    <a:pt x="205" y="321"/>
                  </a:lnTo>
                  <a:lnTo>
                    <a:pt x="202" y="321"/>
                  </a:lnTo>
                  <a:lnTo>
                    <a:pt x="199" y="321"/>
                  </a:lnTo>
                  <a:lnTo>
                    <a:pt x="199" y="324"/>
                  </a:lnTo>
                  <a:lnTo>
                    <a:pt x="196" y="324"/>
                  </a:lnTo>
                  <a:lnTo>
                    <a:pt x="190" y="315"/>
                  </a:lnTo>
                  <a:lnTo>
                    <a:pt x="190" y="312"/>
                  </a:lnTo>
                  <a:lnTo>
                    <a:pt x="187" y="309"/>
                  </a:lnTo>
                  <a:lnTo>
                    <a:pt x="187" y="306"/>
                  </a:lnTo>
                  <a:lnTo>
                    <a:pt x="190" y="303"/>
                  </a:lnTo>
                  <a:lnTo>
                    <a:pt x="193" y="300"/>
                  </a:lnTo>
                  <a:lnTo>
                    <a:pt x="202" y="291"/>
                  </a:lnTo>
                  <a:lnTo>
                    <a:pt x="205" y="285"/>
                  </a:lnTo>
                  <a:lnTo>
                    <a:pt x="202" y="285"/>
                  </a:lnTo>
                  <a:lnTo>
                    <a:pt x="199" y="285"/>
                  </a:lnTo>
                  <a:lnTo>
                    <a:pt x="196" y="285"/>
                  </a:lnTo>
                  <a:lnTo>
                    <a:pt x="190" y="285"/>
                  </a:lnTo>
                  <a:lnTo>
                    <a:pt x="187" y="285"/>
                  </a:lnTo>
                  <a:lnTo>
                    <a:pt x="184" y="285"/>
                  </a:lnTo>
                  <a:lnTo>
                    <a:pt x="184" y="282"/>
                  </a:lnTo>
                  <a:lnTo>
                    <a:pt x="184" y="279"/>
                  </a:lnTo>
                  <a:lnTo>
                    <a:pt x="184" y="276"/>
                  </a:lnTo>
                  <a:lnTo>
                    <a:pt x="181" y="276"/>
                  </a:lnTo>
                  <a:lnTo>
                    <a:pt x="181" y="279"/>
                  </a:lnTo>
                  <a:lnTo>
                    <a:pt x="178" y="279"/>
                  </a:lnTo>
                  <a:lnTo>
                    <a:pt x="175" y="279"/>
                  </a:lnTo>
                  <a:lnTo>
                    <a:pt x="175" y="282"/>
                  </a:lnTo>
                  <a:lnTo>
                    <a:pt x="175" y="285"/>
                  </a:lnTo>
                  <a:lnTo>
                    <a:pt x="175" y="288"/>
                  </a:lnTo>
                  <a:lnTo>
                    <a:pt x="178" y="285"/>
                  </a:lnTo>
                  <a:lnTo>
                    <a:pt x="178" y="288"/>
                  </a:lnTo>
                  <a:lnTo>
                    <a:pt x="178" y="291"/>
                  </a:lnTo>
                  <a:lnTo>
                    <a:pt x="175" y="291"/>
                  </a:lnTo>
                  <a:lnTo>
                    <a:pt x="178" y="291"/>
                  </a:lnTo>
                  <a:lnTo>
                    <a:pt x="178" y="294"/>
                  </a:lnTo>
                  <a:lnTo>
                    <a:pt x="175" y="294"/>
                  </a:lnTo>
                  <a:lnTo>
                    <a:pt x="178" y="294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5" y="300"/>
                  </a:lnTo>
                  <a:lnTo>
                    <a:pt x="172" y="300"/>
                  </a:lnTo>
                  <a:lnTo>
                    <a:pt x="172" y="303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9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9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3" y="324"/>
                  </a:lnTo>
                  <a:lnTo>
                    <a:pt x="160" y="321"/>
                  </a:lnTo>
                  <a:lnTo>
                    <a:pt x="157" y="318"/>
                  </a:lnTo>
                  <a:lnTo>
                    <a:pt x="154" y="318"/>
                  </a:lnTo>
                  <a:lnTo>
                    <a:pt x="157" y="315"/>
                  </a:lnTo>
                  <a:lnTo>
                    <a:pt x="157" y="312"/>
                  </a:lnTo>
                  <a:lnTo>
                    <a:pt x="151" y="306"/>
                  </a:lnTo>
                  <a:lnTo>
                    <a:pt x="151" y="309"/>
                  </a:lnTo>
                  <a:lnTo>
                    <a:pt x="148" y="306"/>
                  </a:lnTo>
                  <a:lnTo>
                    <a:pt x="151" y="300"/>
                  </a:lnTo>
                  <a:lnTo>
                    <a:pt x="154" y="300"/>
                  </a:lnTo>
                  <a:lnTo>
                    <a:pt x="154" y="297"/>
                  </a:lnTo>
                  <a:lnTo>
                    <a:pt x="154" y="294"/>
                  </a:lnTo>
                  <a:lnTo>
                    <a:pt x="151" y="291"/>
                  </a:lnTo>
                  <a:lnTo>
                    <a:pt x="154" y="285"/>
                  </a:lnTo>
                  <a:lnTo>
                    <a:pt x="151" y="285"/>
                  </a:lnTo>
                  <a:lnTo>
                    <a:pt x="148" y="285"/>
                  </a:lnTo>
                  <a:lnTo>
                    <a:pt x="145" y="285"/>
                  </a:lnTo>
                  <a:lnTo>
                    <a:pt x="142" y="285"/>
                  </a:lnTo>
                  <a:lnTo>
                    <a:pt x="139" y="285"/>
                  </a:lnTo>
                  <a:lnTo>
                    <a:pt x="136" y="288"/>
                  </a:lnTo>
                  <a:lnTo>
                    <a:pt x="133" y="288"/>
                  </a:lnTo>
                  <a:lnTo>
                    <a:pt x="130" y="288"/>
                  </a:lnTo>
                  <a:lnTo>
                    <a:pt x="127" y="288"/>
                  </a:lnTo>
                  <a:lnTo>
                    <a:pt x="123" y="285"/>
                  </a:lnTo>
                  <a:lnTo>
                    <a:pt x="127" y="282"/>
                  </a:lnTo>
                  <a:lnTo>
                    <a:pt x="127" y="279"/>
                  </a:lnTo>
                  <a:lnTo>
                    <a:pt x="120" y="276"/>
                  </a:lnTo>
                  <a:lnTo>
                    <a:pt x="120" y="273"/>
                  </a:lnTo>
                  <a:lnTo>
                    <a:pt x="120" y="267"/>
                  </a:lnTo>
                  <a:lnTo>
                    <a:pt x="120" y="264"/>
                  </a:lnTo>
                  <a:lnTo>
                    <a:pt x="120" y="261"/>
                  </a:lnTo>
                  <a:lnTo>
                    <a:pt x="123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14" y="255"/>
                  </a:lnTo>
                  <a:lnTo>
                    <a:pt x="117" y="255"/>
                  </a:lnTo>
                  <a:lnTo>
                    <a:pt x="117" y="258"/>
                  </a:lnTo>
                  <a:lnTo>
                    <a:pt x="114" y="258"/>
                  </a:lnTo>
                  <a:lnTo>
                    <a:pt x="111" y="258"/>
                  </a:lnTo>
                  <a:lnTo>
                    <a:pt x="108" y="255"/>
                  </a:lnTo>
                  <a:lnTo>
                    <a:pt x="108" y="258"/>
                  </a:lnTo>
                  <a:lnTo>
                    <a:pt x="108" y="261"/>
                  </a:lnTo>
                  <a:lnTo>
                    <a:pt x="108" y="264"/>
                  </a:lnTo>
                  <a:lnTo>
                    <a:pt x="111" y="264"/>
                  </a:lnTo>
                  <a:lnTo>
                    <a:pt x="111" y="267"/>
                  </a:lnTo>
                  <a:lnTo>
                    <a:pt x="108" y="267"/>
                  </a:lnTo>
                  <a:lnTo>
                    <a:pt x="105" y="264"/>
                  </a:lnTo>
                  <a:lnTo>
                    <a:pt x="105" y="267"/>
                  </a:lnTo>
                  <a:lnTo>
                    <a:pt x="102" y="264"/>
                  </a:lnTo>
                  <a:lnTo>
                    <a:pt x="99" y="267"/>
                  </a:lnTo>
                  <a:lnTo>
                    <a:pt x="96" y="273"/>
                  </a:lnTo>
                  <a:lnTo>
                    <a:pt x="96" y="270"/>
                  </a:lnTo>
                  <a:lnTo>
                    <a:pt x="93" y="270"/>
                  </a:lnTo>
                  <a:lnTo>
                    <a:pt x="90" y="267"/>
                  </a:lnTo>
                  <a:lnTo>
                    <a:pt x="87" y="267"/>
                  </a:lnTo>
                  <a:lnTo>
                    <a:pt x="84" y="264"/>
                  </a:lnTo>
                  <a:lnTo>
                    <a:pt x="81" y="264"/>
                  </a:lnTo>
                  <a:lnTo>
                    <a:pt x="78" y="264"/>
                  </a:lnTo>
                  <a:lnTo>
                    <a:pt x="75" y="264"/>
                  </a:lnTo>
                  <a:lnTo>
                    <a:pt x="72" y="264"/>
                  </a:lnTo>
                  <a:lnTo>
                    <a:pt x="75" y="261"/>
                  </a:lnTo>
                  <a:lnTo>
                    <a:pt x="72" y="261"/>
                  </a:lnTo>
                  <a:lnTo>
                    <a:pt x="72" y="258"/>
                  </a:lnTo>
                  <a:lnTo>
                    <a:pt x="69" y="258"/>
                  </a:lnTo>
                  <a:lnTo>
                    <a:pt x="66" y="258"/>
                  </a:lnTo>
                  <a:lnTo>
                    <a:pt x="63" y="255"/>
                  </a:lnTo>
                  <a:lnTo>
                    <a:pt x="60" y="255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1" y="252"/>
                  </a:lnTo>
                  <a:lnTo>
                    <a:pt x="51" y="249"/>
                  </a:lnTo>
                  <a:lnTo>
                    <a:pt x="48" y="246"/>
                  </a:lnTo>
                  <a:lnTo>
                    <a:pt x="45" y="243"/>
                  </a:lnTo>
                  <a:lnTo>
                    <a:pt x="42" y="237"/>
                  </a:lnTo>
                  <a:lnTo>
                    <a:pt x="39" y="240"/>
                  </a:lnTo>
                  <a:lnTo>
                    <a:pt x="36" y="240"/>
                  </a:lnTo>
                  <a:lnTo>
                    <a:pt x="33" y="237"/>
                  </a:lnTo>
                  <a:lnTo>
                    <a:pt x="33" y="234"/>
                  </a:lnTo>
                  <a:lnTo>
                    <a:pt x="33" y="231"/>
                  </a:lnTo>
                  <a:lnTo>
                    <a:pt x="33" y="222"/>
                  </a:lnTo>
                  <a:lnTo>
                    <a:pt x="39" y="222"/>
                  </a:lnTo>
                  <a:lnTo>
                    <a:pt x="42" y="222"/>
                  </a:lnTo>
                  <a:lnTo>
                    <a:pt x="39" y="219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3" y="204"/>
                  </a:lnTo>
                  <a:lnTo>
                    <a:pt x="39" y="201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6" y="192"/>
                  </a:lnTo>
                  <a:lnTo>
                    <a:pt x="39" y="189"/>
                  </a:lnTo>
                  <a:lnTo>
                    <a:pt x="36" y="189"/>
                  </a:lnTo>
                  <a:lnTo>
                    <a:pt x="36" y="186"/>
                  </a:lnTo>
                  <a:lnTo>
                    <a:pt x="33" y="186"/>
                  </a:lnTo>
                  <a:lnTo>
                    <a:pt x="33" y="183"/>
                  </a:lnTo>
                  <a:lnTo>
                    <a:pt x="33" y="186"/>
                  </a:lnTo>
                  <a:lnTo>
                    <a:pt x="30" y="186"/>
                  </a:lnTo>
                  <a:lnTo>
                    <a:pt x="27" y="186"/>
                  </a:lnTo>
                  <a:lnTo>
                    <a:pt x="27" y="183"/>
                  </a:lnTo>
                  <a:lnTo>
                    <a:pt x="24" y="183"/>
                  </a:lnTo>
                  <a:lnTo>
                    <a:pt x="21" y="183"/>
                  </a:lnTo>
                  <a:lnTo>
                    <a:pt x="21" y="180"/>
                  </a:lnTo>
                  <a:lnTo>
                    <a:pt x="18" y="180"/>
                  </a:lnTo>
                  <a:lnTo>
                    <a:pt x="15" y="180"/>
                  </a:lnTo>
                  <a:lnTo>
                    <a:pt x="12" y="180"/>
                  </a:lnTo>
                  <a:lnTo>
                    <a:pt x="9" y="180"/>
                  </a:lnTo>
                  <a:lnTo>
                    <a:pt x="9" y="177"/>
                  </a:lnTo>
                  <a:lnTo>
                    <a:pt x="6" y="171"/>
                  </a:lnTo>
                  <a:lnTo>
                    <a:pt x="9" y="165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9" y="144"/>
                  </a:lnTo>
                  <a:lnTo>
                    <a:pt x="9" y="141"/>
                  </a:lnTo>
                  <a:lnTo>
                    <a:pt x="9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0" y="135"/>
                  </a:lnTo>
                  <a:lnTo>
                    <a:pt x="3" y="135"/>
                  </a:lnTo>
                  <a:lnTo>
                    <a:pt x="6" y="132"/>
                  </a:lnTo>
                  <a:lnTo>
                    <a:pt x="3" y="132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3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29"/>
                  </a:lnTo>
                  <a:lnTo>
                    <a:pt x="9" y="126"/>
                  </a:lnTo>
                  <a:lnTo>
                    <a:pt x="9" y="123"/>
                  </a:lnTo>
                  <a:lnTo>
                    <a:pt x="9" y="120"/>
                  </a:lnTo>
                  <a:lnTo>
                    <a:pt x="12" y="120"/>
                  </a:lnTo>
                  <a:lnTo>
                    <a:pt x="12" y="117"/>
                  </a:lnTo>
                  <a:lnTo>
                    <a:pt x="9" y="117"/>
                  </a:lnTo>
                  <a:lnTo>
                    <a:pt x="9" y="114"/>
                  </a:lnTo>
                  <a:lnTo>
                    <a:pt x="12" y="114"/>
                  </a:lnTo>
                  <a:lnTo>
                    <a:pt x="9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15" y="111"/>
                  </a:lnTo>
                  <a:lnTo>
                    <a:pt x="15" y="108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12" y="105"/>
                  </a:lnTo>
                  <a:lnTo>
                    <a:pt x="12" y="102"/>
                  </a:lnTo>
                  <a:lnTo>
                    <a:pt x="15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7" y="69"/>
                  </a:lnTo>
                  <a:lnTo>
                    <a:pt x="30" y="69"/>
                  </a:lnTo>
                  <a:lnTo>
                    <a:pt x="30" y="66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6" y="63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6" y="63"/>
                  </a:lnTo>
                  <a:lnTo>
                    <a:pt x="39" y="63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5" y="63"/>
                  </a:lnTo>
                  <a:lnTo>
                    <a:pt x="45" y="60"/>
                  </a:lnTo>
                  <a:lnTo>
                    <a:pt x="48" y="60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54" y="60"/>
                  </a:lnTo>
                  <a:lnTo>
                    <a:pt x="54" y="57"/>
                  </a:lnTo>
                  <a:lnTo>
                    <a:pt x="57" y="57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9" y="60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2" y="63"/>
                  </a:lnTo>
                  <a:lnTo>
                    <a:pt x="75" y="63"/>
                  </a:lnTo>
                  <a:lnTo>
                    <a:pt x="75" y="66"/>
                  </a:lnTo>
                  <a:lnTo>
                    <a:pt x="78" y="66"/>
                  </a:lnTo>
                  <a:lnTo>
                    <a:pt x="81" y="66"/>
                  </a:lnTo>
                  <a:lnTo>
                    <a:pt x="81" y="69"/>
                  </a:lnTo>
                  <a:lnTo>
                    <a:pt x="84" y="69"/>
                  </a:lnTo>
                  <a:lnTo>
                    <a:pt x="84" y="72"/>
                  </a:lnTo>
                  <a:lnTo>
                    <a:pt x="87" y="72"/>
                  </a:lnTo>
                  <a:lnTo>
                    <a:pt x="90" y="72"/>
                  </a:lnTo>
                  <a:lnTo>
                    <a:pt x="87" y="75"/>
                  </a:lnTo>
                  <a:lnTo>
                    <a:pt x="90" y="75"/>
                  </a:lnTo>
                  <a:lnTo>
                    <a:pt x="93" y="75"/>
                  </a:lnTo>
                  <a:lnTo>
                    <a:pt x="96" y="75"/>
                  </a:lnTo>
                  <a:lnTo>
                    <a:pt x="96" y="78"/>
                  </a:lnTo>
                  <a:lnTo>
                    <a:pt x="96" y="81"/>
                  </a:lnTo>
                  <a:lnTo>
                    <a:pt x="99" y="81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8" y="87"/>
                  </a:lnTo>
                  <a:lnTo>
                    <a:pt x="108" y="90"/>
                  </a:lnTo>
                  <a:lnTo>
                    <a:pt x="111" y="93"/>
                  </a:lnTo>
                  <a:lnTo>
                    <a:pt x="111" y="90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93"/>
                  </a:lnTo>
                  <a:lnTo>
                    <a:pt x="120" y="93"/>
                  </a:lnTo>
                  <a:lnTo>
                    <a:pt x="123" y="93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7" y="90"/>
                  </a:lnTo>
                  <a:lnTo>
                    <a:pt x="130" y="90"/>
                  </a:lnTo>
                  <a:lnTo>
                    <a:pt x="133" y="90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9" y="96"/>
                  </a:lnTo>
                  <a:lnTo>
                    <a:pt x="139" y="99"/>
                  </a:lnTo>
                  <a:lnTo>
                    <a:pt x="142" y="99"/>
                  </a:lnTo>
                  <a:lnTo>
                    <a:pt x="142" y="96"/>
                  </a:lnTo>
                  <a:lnTo>
                    <a:pt x="142" y="99"/>
                  </a:lnTo>
                  <a:lnTo>
                    <a:pt x="145" y="99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48" y="105"/>
                  </a:lnTo>
                  <a:lnTo>
                    <a:pt x="151" y="102"/>
                  </a:lnTo>
                  <a:lnTo>
                    <a:pt x="151" y="105"/>
                  </a:lnTo>
                  <a:lnTo>
                    <a:pt x="151" y="102"/>
                  </a:lnTo>
                  <a:lnTo>
                    <a:pt x="154" y="102"/>
                  </a:lnTo>
                  <a:lnTo>
                    <a:pt x="157" y="102"/>
                  </a:lnTo>
                  <a:lnTo>
                    <a:pt x="160" y="105"/>
                  </a:lnTo>
                  <a:lnTo>
                    <a:pt x="163" y="105"/>
                  </a:lnTo>
                  <a:lnTo>
                    <a:pt x="166" y="105"/>
                  </a:lnTo>
                  <a:lnTo>
                    <a:pt x="169" y="108"/>
                  </a:lnTo>
                  <a:lnTo>
                    <a:pt x="172" y="108"/>
                  </a:lnTo>
                  <a:lnTo>
                    <a:pt x="175" y="108"/>
                  </a:lnTo>
                  <a:lnTo>
                    <a:pt x="178" y="108"/>
                  </a:lnTo>
                  <a:lnTo>
                    <a:pt x="181" y="108"/>
                  </a:lnTo>
                  <a:lnTo>
                    <a:pt x="184" y="108"/>
                  </a:lnTo>
                  <a:lnTo>
                    <a:pt x="187" y="108"/>
                  </a:lnTo>
                  <a:lnTo>
                    <a:pt x="190" y="108"/>
                  </a:lnTo>
                  <a:lnTo>
                    <a:pt x="193" y="108"/>
                  </a:lnTo>
                  <a:lnTo>
                    <a:pt x="193" y="105"/>
                  </a:lnTo>
                  <a:lnTo>
                    <a:pt x="196" y="105"/>
                  </a:lnTo>
                  <a:lnTo>
                    <a:pt x="199" y="105"/>
                  </a:lnTo>
                  <a:lnTo>
                    <a:pt x="199" y="102"/>
                  </a:lnTo>
                  <a:lnTo>
                    <a:pt x="202" y="102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5" y="99"/>
                  </a:lnTo>
                  <a:lnTo>
                    <a:pt x="205" y="102"/>
                  </a:lnTo>
                  <a:lnTo>
                    <a:pt x="208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4" y="102"/>
                  </a:lnTo>
                  <a:lnTo>
                    <a:pt x="217" y="105"/>
                  </a:lnTo>
                  <a:lnTo>
                    <a:pt x="217" y="102"/>
                  </a:lnTo>
                  <a:lnTo>
                    <a:pt x="220" y="105"/>
                  </a:lnTo>
                  <a:lnTo>
                    <a:pt x="223" y="105"/>
                  </a:lnTo>
                  <a:lnTo>
                    <a:pt x="226" y="105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102"/>
                  </a:lnTo>
                  <a:lnTo>
                    <a:pt x="238" y="99"/>
                  </a:lnTo>
                  <a:lnTo>
                    <a:pt x="241" y="99"/>
                  </a:lnTo>
                  <a:lnTo>
                    <a:pt x="244" y="96"/>
                  </a:lnTo>
                  <a:lnTo>
                    <a:pt x="247" y="96"/>
                  </a:lnTo>
                  <a:lnTo>
                    <a:pt x="247" y="93"/>
                  </a:lnTo>
                  <a:lnTo>
                    <a:pt x="250" y="93"/>
                  </a:lnTo>
                  <a:lnTo>
                    <a:pt x="250" y="90"/>
                  </a:lnTo>
                  <a:lnTo>
                    <a:pt x="253" y="87"/>
                  </a:lnTo>
                  <a:lnTo>
                    <a:pt x="253" y="84"/>
                  </a:lnTo>
                  <a:lnTo>
                    <a:pt x="253" y="81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9" y="72"/>
                  </a:lnTo>
                  <a:lnTo>
                    <a:pt x="259" y="69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59" y="60"/>
                  </a:lnTo>
                  <a:lnTo>
                    <a:pt x="262" y="57"/>
                  </a:lnTo>
                  <a:lnTo>
                    <a:pt x="262" y="54"/>
                  </a:lnTo>
                  <a:lnTo>
                    <a:pt x="265" y="51"/>
                  </a:lnTo>
                  <a:lnTo>
                    <a:pt x="265" y="48"/>
                  </a:lnTo>
                  <a:lnTo>
                    <a:pt x="268" y="45"/>
                  </a:lnTo>
                  <a:lnTo>
                    <a:pt x="268" y="42"/>
                  </a:lnTo>
                  <a:lnTo>
                    <a:pt x="268" y="39"/>
                  </a:lnTo>
                  <a:lnTo>
                    <a:pt x="268" y="36"/>
                  </a:lnTo>
                  <a:lnTo>
                    <a:pt x="271" y="36"/>
                  </a:lnTo>
                  <a:lnTo>
                    <a:pt x="271" y="33"/>
                  </a:lnTo>
                  <a:lnTo>
                    <a:pt x="271" y="30"/>
                  </a:lnTo>
                  <a:lnTo>
                    <a:pt x="274" y="27"/>
                  </a:lnTo>
                  <a:lnTo>
                    <a:pt x="274" y="24"/>
                  </a:lnTo>
                  <a:lnTo>
                    <a:pt x="274" y="21"/>
                  </a:lnTo>
                  <a:lnTo>
                    <a:pt x="277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1" y="15"/>
                  </a:lnTo>
                  <a:lnTo>
                    <a:pt x="271" y="12"/>
                  </a:lnTo>
                  <a:lnTo>
                    <a:pt x="274" y="12"/>
                  </a:lnTo>
                  <a:lnTo>
                    <a:pt x="271" y="9"/>
                  </a:lnTo>
                  <a:lnTo>
                    <a:pt x="274" y="9"/>
                  </a:lnTo>
                  <a:lnTo>
                    <a:pt x="277" y="9"/>
                  </a:lnTo>
                  <a:lnTo>
                    <a:pt x="280" y="9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6" y="6"/>
                  </a:lnTo>
                  <a:lnTo>
                    <a:pt x="289" y="6"/>
                  </a:lnTo>
                  <a:lnTo>
                    <a:pt x="292" y="6"/>
                  </a:lnTo>
                  <a:lnTo>
                    <a:pt x="295" y="6"/>
                  </a:lnTo>
                  <a:lnTo>
                    <a:pt x="298" y="3"/>
                  </a:lnTo>
                  <a:lnTo>
                    <a:pt x="301" y="3"/>
                  </a:lnTo>
                  <a:lnTo>
                    <a:pt x="304" y="3"/>
                  </a:lnTo>
                  <a:lnTo>
                    <a:pt x="307" y="3"/>
                  </a:lnTo>
                  <a:lnTo>
                    <a:pt x="313" y="0"/>
                  </a:lnTo>
                  <a:lnTo>
                    <a:pt x="316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3" name="Freeform 31">
              <a:extLst>
                <a:ext uri="{FF2B5EF4-FFF2-40B4-BE49-F238E27FC236}">
                  <a16:creationId xmlns:a16="http://schemas.microsoft.com/office/drawing/2014/main" id="{53A60DD4-FE15-4918-BCB8-B064FB4806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47963" y="2678113"/>
              <a:ext cx="1500187" cy="1541462"/>
            </a:xfrm>
            <a:custGeom>
              <a:avLst/>
              <a:gdLst>
                <a:gd name="T0" fmla="*/ 1055833 w 763"/>
                <a:gd name="T1" fmla="*/ 330313 h 784"/>
                <a:gd name="T2" fmla="*/ 1085325 w 763"/>
                <a:gd name="T3" fmla="*/ 389298 h 784"/>
                <a:gd name="T4" fmla="*/ 1126615 w 763"/>
                <a:gd name="T5" fmla="*/ 477775 h 784"/>
                <a:gd name="T6" fmla="*/ 1203295 w 763"/>
                <a:gd name="T7" fmla="*/ 513165 h 784"/>
                <a:gd name="T8" fmla="*/ 1244585 w 763"/>
                <a:gd name="T9" fmla="*/ 471876 h 784"/>
                <a:gd name="T10" fmla="*/ 1299638 w 763"/>
                <a:gd name="T11" fmla="*/ 536759 h 784"/>
                <a:gd name="T12" fmla="*/ 1335029 w 763"/>
                <a:gd name="T13" fmla="*/ 613439 h 784"/>
                <a:gd name="T14" fmla="*/ 1346826 w 763"/>
                <a:gd name="T15" fmla="*/ 572150 h 784"/>
                <a:gd name="T16" fmla="*/ 1358623 w 763"/>
                <a:gd name="T17" fmla="*/ 536759 h 784"/>
                <a:gd name="T18" fmla="*/ 1394014 w 763"/>
                <a:gd name="T19" fmla="*/ 566251 h 784"/>
                <a:gd name="T20" fmla="*/ 1394014 w 763"/>
                <a:gd name="T21" fmla="*/ 648830 h 784"/>
                <a:gd name="T22" fmla="*/ 1382217 w 763"/>
                <a:gd name="T23" fmla="*/ 737306 h 784"/>
                <a:gd name="T24" fmla="*/ 1329130 w 763"/>
                <a:gd name="T25" fmla="*/ 849377 h 784"/>
                <a:gd name="T26" fmla="*/ 1329130 w 763"/>
                <a:gd name="T27" fmla="*/ 937854 h 784"/>
                <a:gd name="T28" fmla="*/ 1376318 w 763"/>
                <a:gd name="T29" fmla="*/ 985041 h 784"/>
                <a:gd name="T30" fmla="*/ 1417608 w 763"/>
                <a:gd name="T31" fmla="*/ 1032229 h 784"/>
                <a:gd name="T32" fmla="*/ 1470694 w 763"/>
                <a:gd name="T33" fmla="*/ 1079417 h 784"/>
                <a:gd name="T34" fmla="*/ 1494288 w 763"/>
                <a:gd name="T35" fmla="*/ 1144300 h 784"/>
                <a:gd name="T36" fmla="*/ 1470694 w 763"/>
                <a:gd name="T37" fmla="*/ 1203284 h 784"/>
                <a:gd name="T38" fmla="*/ 1399912 w 763"/>
                <a:gd name="T39" fmla="*/ 1220979 h 784"/>
                <a:gd name="T40" fmla="*/ 1329130 w 763"/>
                <a:gd name="T41" fmla="*/ 1291761 h 784"/>
                <a:gd name="T42" fmla="*/ 1256382 w 763"/>
                <a:gd name="T43" fmla="*/ 1315355 h 784"/>
                <a:gd name="T44" fmla="*/ 1197397 w 763"/>
                <a:gd name="T45" fmla="*/ 1285862 h 784"/>
                <a:gd name="T46" fmla="*/ 1114818 w 763"/>
                <a:gd name="T47" fmla="*/ 1333050 h 784"/>
                <a:gd name="T48" fmla="*/ 1044036 w 763"/>
                <a:gd name="T49" fmla="*/ 1327152 h 784"/>
                <a:gd name="T50" fmla="*/ 949660 w 763"/>
                <a:gd name="T51" fmla="*/ 1309456 h 784"/>
                <a:gd name="T52" fmla="*/ 937863 w 763"/>
                <a:gd name="T53" fmla="*/ 1368441 h 784"/>
                <a:gd name="T54" fmla="*/ 872979 w 763"/>
                <a:gd name="T55" fmla="*/ 1405798 h 784"/>
                <a:gd name="T56" fmla="*/ 808095 w 763"/>
                <a:gd name="T57" fmla="*/ 1435290 h 784"/>
                <a:gd name="T58" fmla="*/ 713719 w 763"/>
                <a:gd name="T59" fmla="*/ 1494274 h 784"/>
                <a:gd name="T60" fmla="*/ 654734 w 763"/>
                <a:gd name="T61" fmla="*/ 1541462 h 784"/>
                <a:gd name="T62" fmla="*/ 613445 w 763"/>
                <a:gd name="T63" fmla="*/ 1429391 h 784"/>
                <a:gd name="T64" fmla="*/ 554460 w 763"/>
                <a:gd name="T65" fmla="*/ 1429391 h 784"/>
                <a:gd name="T66" fmla="*/ 501373 w 763"/>
                <a:gd name="T67" fmla="*/ 1447087 h 784"/>
                <a:gd name="T68" fmla="*/ 501373 w 763"/>
                <a:gd name="T69" fmla="*/ 1374339 h 784"/>
                <a:gd name="T70" fmla="*/ 442388 w 763"/>
                <a:gd name="T71" fmla="*/ 1333050 h 784"/>
                <a:gd name="T72" fmla="*/ 436490 w 763"/>
                <a:gd name="T73" fmla="*/ 1279964 h 784"/>
                <a:gd name="T74" fmla="*/ 412896 w 763"/>
                <a:gd name="T75" fmla="*/ 1197386 h 784"/>
                <a:gd name="T76" fmla="*/ 377504 w 763"/>
                <a:gd name="T77" fmla="*/ 1079417 h 784"/>
                <a:gd name="T78" fmla="*/ 294925 w 763"/>
                <a:gd name="T79" fmla="*/ 1126604 h 784"/>
                <a:gd name="T80" fmla="*/ 212346 w 763"/>
                <a:gd name="T81" fmla="*/ 1191487 h 784"/>
                <a:gd name="T82" fmla="*/ 176955 w 763"/>
                <a:gd name="T83" fmla="*/ 1108909 h 784"/>
                <a:gd name="T84" fmla="*/ 129767 w 763"/>
                <a:gd name="T85" fmla="*/ 1020432 h 784"/>
                <a:gd name="T86" fmla="*/ 106173 w 763"/>
                <a:gd name="T87" fmla="*/ 949651 h 784"/>
                <a:gd name="T88" fmla="*/ 82579 w 763"/>
                <a:gd name="T89" fmla="*/ 861174 h 784"/>
                <a:gd name="T90" fmla="*/ 41290 w 763"/>
                <a:gd name="T91" fmla="*/ 778596 h 784"/>
                <a:gd name="T92" fmla="*/ 0 w 763"/>
                <a:gd name="T93" fmla="*/ 707814 h 784"/>
                <a:gd name="T94" fmla="*/ 58985 w 763"/>
                <a:gd name="T95" fmla="*/ 660627 h 784"/>
                <a:gd name="T96" fmla="*/ 70782 w 763"/>
                <a:gd name="T97" fmla="*/ 607541 h 784"/>
                <a:gd name="T98" fmla="*/ 123869 w 763"/>
                <a:gd name="T99" fmla="*/ 637033 h 784"/>
                <a:gd name="T100" fmla="*/ 141564 w 763"/>
                <a:gd name="T101" fmla="*/ 684220 h 784"/>
                <a:gd name="T102" fmla="*/ 188752 w 763"/>
                <a:gd name="T103" fmla="*/ 731408 h 784"/>
                <a:gd name="T104" fmla="*/ 259534 w 763"/>
                <a:gd name="T105" fmla="*/ 749103 h 784"/>
                <a:gd name="T106" fmla="*/ 330316 w 763"/>
                <a:gd name="T107" fmla="*/ 760900 h 784"/>
                <a:gd name="T108" fmla="*/ 418794 w 763"/>
                <a:gd name="T109" fmla="*/ 760900 h 784"/>
                <a:gd name="T110" fmla="*/ 460084 w 763"/>
                <a:gd name="T111" fmla="*/ 743205 h 784"/>
                <a:gd name="T112" fmla="*/ 507272 w 763"/>
                <a:gd name="T113" fmla="*/ 696017 h 784"/>
                <a:gd name="T114" fmla="*/ 578054 w 763"/>
                <a:gd name="T115" fmla="*/ 678322 h 784"/>
                <a:gd name="T116" fmla="*/ 631140 w 763"/>
                <a:gd name="T117" fmla="*/ 41289 h 784"/>
                <a:gd name="T118" fmla="*/ 666531 w 763"/>
                <a:gd name="T119" fmla="*/ 94375 h 7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63" h="784">
                  <a:moveTo>
                    <a:pt x="519" y="126"/>
                  </a:moveTo>
                  <a:lnTo>
                    <a:pt x="525" y="126"/>
                  </a:lnTo>
                  <a:lnTo>
                    <a:pt x="525" y="129"/>
                  </a:lnTo>
                  <a:lnTo>
                    <a:pt x="525" y="132"/>
                  </a:lnTo>
                  <a:lnTo>
                    <a:pt x="525" y="135"/>
                  </a:lnTo>
                  <a:lnTo>
                    <a:pt x="525" y="138"/>
                  </a:lnTo>
                  <a:lnTo>
                    <a:pt x="525" y="141"/>
                  </a:lnTo>
                  <a:lnTo>
                    <a:pt x="525" y="144"/>
                  </a:lnTo>
                  <a:lnTo>
                    <a:pt x="525" y="147"/>
                  </a:lnTo>
                  <a:lnTo>
                    <a:pt x="525" y="153"/>
                  </a:lnTo>
                  <a:lnTo>
                    <a:pt x="522" y="159"/>
                  </a:lnTo>
                  <a:lnTo>
                    <a:pt x="525" y="165"/>
                  </a:lnTo>
                  <a:lnTo>
                    <a:pt x="525" y="168"/>
                  </a:lnTo>
                  <a:lnTo>
                    <a:pt x="528" y="168"/>
                  </a:lnTo>
                  <a:lnTo>
                    <a:pt x="531" y="168"/>
                  </a:lnTo>
                  <a:lnTo>
                    <a:pt x="534" y="168"/>
                  </a:lnTo>
                  <a:lnTo>
                    <a:pt x="537" y="168"/>
                  </a:lnTo>
                  <a:lnTo>
                    <a:pt x="537" y="171"/>
                  </a:lnTo>
                  <a:lnTo>
                    <a:pt x="540" y="171"/>
                  </a:lnTo>
                  <a:lnTo>
                    <a:pt x="543" y="171"/>
                  </a:lnTo>
                  <a:lnTo>
                    <a:pt x="543" y="174"/>
                  </a:lnTo>
                  <a:lnTo>
                    <a:pt x="546" y="174"/>
                  </a:lnTo>
                  <a:lnTo>
                    <a:pt x="549" y="174"/>
                  </a:lnTo>
                  <a:lnTo>
                    <a:pt x="549" y="171"/>
                  </a:lnTo>
                  <a:lnTo>
                    <a:pt x="549" y="174"/>
                  </a:lnTo>
                  <a:lnTo>
                    <a:pt x="552" y="174"/>
                  </a:lnTo>
                  <a:lnTo>
                    <a:pt x="552" y="177"/>
                  </a:lnTo>
                  <a:lnTo>
                    <a:pt x="555" y="177"/>
                  </a:lnTo>
                  <a:lnTo>
                    <a:pt x="552" y="180"/>
                  </a:lnTo>
                  <a:lnTo>
                    <a:pt x="552" y="183"/>
                  </a:lnTo>
                  <a:lnTo>
                    <a:pt x="552" y="186"/>
                  </a:lnTo>
                  <a:lnTo>
                    <a:pt x="555" y="189"/>
                  </a:lnTo>
                  <a:lnTo>
                    <a:pt x="549" y="192"/>
                  </a:lnTo>
                  <a:lnTo>
                    <a:pt x="552" y="198"/>
                  </a:lnTo>
                  <a:lnTo>
                    <a:pt x="552" y="201"/>
                  </a:lnTo>
                  <a:lnTo>
                    <a:pt x="555" y="207"/>
                  </a:lnTo>
                  <a:lnTo>
                    <a:pt x="558" y="210"/>
                  </a:lnTo>
                  <a:lnTo>
                    <a:pt x="555" y="210"/>
                  </a:lnTo>
                  <a:lnTo>
                    <a:pt x="549" y="210"/>
                  </a:lnTo>
                  <a:lnTo>
                    <a:pt x="549" y="219"/>
                  </a:lnTo>
                  <a:lnTo>
                    <a:pt x="549" y="222"/>
                  </a:lnTo>
                  <a:lnTo>
                    <a:pt x="549" y="225"/>
                  </a:lnTo>
                  <a:lnTo>
                    <a:pt x="552" y="228"/>
                  </a:lnTo>
                  <a:lnTo>
                    <a:pt x="555" y="228"/>
                  </a:lnTo>
                  <a:lnTo>
                    <a:pt x="558" y="225"/>
                  </a:lnTo>
                  <a:lnTo>
                    <a:pt x="561" y="231"/>
                  </a:lnTo>
                  <a:lnTo>
                    <a:pt x="564" y="234"/>
                  </a:lnTo>
                  <a:lnTo>
                    <a:pt x="567" y="237"/>
                  </a:lnTo>
                  <a:lnTo>
                    <a:pt x="567" y="240"/>
                  </a:lnTo>
                  <a:lnTo>
                    <a:pt x="570" y="240"/>
                  </a:lnTo>
                  <a:lnTo>
                    <a:pt x="573" y="243"/>
                  </a:lnTo>
                  <a:lnTo>
                    <a:pt x="576" y="243"/>
                  </a:lnTo>
                  <a:lnTo>
                    <a:pt x="579" y="243"/>
                  </a:lnTo>
                  <a:lnTo>
                    <a:pt x="582" y="246"/>
                  </a:lnTo>
                  <a:lnTo>
                    <a:pt x="585" y="246"/>
                  </a:lnTo>
                  <a:lnTo>
                    <a:pt x="588" y="246"/>
                  </a:lnTo>
                  <a:lnTo>
                    <a:pt x="588" y="249"/>
                  </a:lnTo>
                  <a:lnTo>
                    <a:pt x="591" y="249"/>
                  </a:lnTo>
                  <a:lnTo>
                    <a:pt x="588" y="252"/>
                  </a:lnTo>
                  <a:lnTo>
                    <a:pt x="591" y="252"/>
                  </a:lnTo>
                  <a:lnTo>
                    <a:pt x="594" y="252"/>
                  </a:lnTo>
                  <a:lnTo>
                    <a:pt x="597" y="252"/>
                  </a:lnTo>
                  <a:lnTo>
                    <a:pt x="600" y="252"/>
                  </a:lnTo>
                  <a:lnTo>
                    <a:pt x="603" y="255"/>
                  </a:lnTo>
                  <a:lnTo>
                    <a:pt x="606" y="255"/>
                  </a:lnTo>
                  <a:lnTo>
                    <a:pt x="609" y="258"/>
                  </a:lnTo>
                  <a:lnTo>
                    <a:pt x="612" y="258"/>
                  </a:lnTo>
                  <a:lnTo>
                    <a:pt x="612" y="261"/>
                  </a:lnTo>
                  <a:lnTo>
                    <a:pt x="615" y="255"/>
                  </a:lnTo>
                  <a:lnTo>
                    <a:pt x="618" y="252"/>
                  </a:lnTo>
                  <a:lnTo>
                    <a:pt x="621" y="255"/>
                  </a:lnTo>
                  <a:lnTo>
                    <a:pt x="621" y="252"/>
                  </a:lnTo>
                  <a:lnTo>
                    <a:pt x="624" y="255"/>
                  </a:lnTo>
                  <a:lnTo>
                    <a:pt x="627" y="255"/>
                  </a:lnTo>
                  <a:lnTo>
                    <a:pt x="627" y="252"/>
                  </a:lnTo>
                  <a:lnTo>
                    <a:pt x="624" y="252"/>
                  </a:lnTo>
                  <a:lnTo>
                    <a:pt x="624" y="249"/>
                  </a:lnTo>
                  <a:lnTo>
                    <a:pt x="624" y="246"/>
                  </a:lnTo>
                  <a:lnTo>
                    <a:pt x="624" y="243"/>
                  </a:lnTo>
                  <a:lnTo>
                    <a:pt x="627" y="246"/>
                  </a:lnTo>
                  <a:lnTo>
                    <a:pt x="630" y="246"/>
                  </a:lnTo>
                  <a:lnTo>
                    <a:pt x="633" y="246"/>
                  </a:lnTo>
                  <a:lnTo>
                    <a:pt x="633" y="243"/>
                  </a:lnTo>
                  <a:lnTo>
                    <a:pt x="630" y="243"/>
                  </a:lnTo>
                  <a:lnTo>
                    <a:pt x="633" y="240"/>
                  </a:lnTo>
                  <a:lnTo>
                    <a:pt x="633" y="237"/>
                  </a:lnTo>
                  <a:lnTo>
                    <a:pt x="639" y="240"/>
                  </a:lnTo>
                  <a:lnTo>
                    <a:pt x="636" y="249"/>
                  </a:lnTo>
                  <a:lnTo>
                    <a:pt x="636" y="252"/>
                  </a:lnTo>
                  <a:lnTo>
                    <a:pt x="636" y="255"/>
                  </a:lnTo>
                  <a:lnTo>
                    <a:pt x="636" y="261"/>
                  </a:lnTo>
                  <a:lnTo>
                    <a:pt x="636" y="264"/>
                  </a:lnTo>
                  <a:lnTo>
                    <a:pt x="643" y="267"/>
                  </a:lnTo>
                  <a:lnTo>
                    <a:pt x="643" y="270"/>
                  </a:lnTo>
                  <a:lnTo>
                    <a:pt x="639" y="273"/>
                  </a:lnTo>
                  <a:lnTo>
                    <a:pt x="643" y="276"/>
                  </a:lnTo>
                  <a:lnTo>
                    <a:pt x="646" y="276"/>
                  </a:lnTo>
                  <a:lnTo>
                    <a:pt x="649" y="276"/>
                  </a:lnTo>
                  <a:lnTo>
                    <a:pt x="652" y="276"/>
                  </a:lnTo>
                  <a:lnTo>
                    <a:pt x="655" y="273"/>
                  </a:lnTo>
                  <a:lnTo>
                    <a:pt x="658" y="273"/>
                  </a:lnTo>
                  <a:lnTo>
                    <a:pt x="661" y="273"/>
                  </a:lnTo>
                  <a:lnTo>
                    <a:pt x="664" y="273"/>
                  </a:lnTo>
                  <a:lnTo>
                    <a:pt x="667" y="273"/>
                  </a:lnTo>
                  <a:lnTo>
                    <a:pt x="670" y="273"/>
                  </a:lnTo>
                  <a:lnTo>
                    <a:pt x="667" y="279"/>
                  </a:lnTo>
                  <a:lnTo>
                    <a:pt x="670" y="282"/>
                  </a:lnTo>
                  <a:lnTo>
                    <a:pt x="670" y="285"/>
                  </a:lnTo>
                  <a:lnTo>
                    <a:pt x="670" y="288"/>
                  </a:lnTo>
                  <a:lnTo>
                    <a:pt x="667" y="288"/>
                  </a:lnTo>
                  <a:lnTo>
                    <a:pt x="664" y="294"/>
                  </a:lnTo>
                  <a:lnTo>
                    <a:pt x="667" y="297"/>
                  </a:lnTo>
                  <a:lnTo>
                    <a:pt x="667" y="294"/>
                  </a:lnTo>
                  <a:lnTo>
                    <a:pt x="673" y="300"/>
                  </a:lnTo>
                  <a:lnTo>
                    <a:pt x="673" y="303"/>
                  </a:lnTo>
                  <a:lnTo>
                    <a:pt x="670" y="306"/>
                  </a:lnTo>
                  <a:lnTo>
                    <a:pt x="673" y="306"/>
                  </a:lnTo>
                  <a:lnTo>
                    <a:pt x="676" y="309"/>
                  </a:lnTo>
                  <a:lnTo>
                    <a:pt x="679" y="312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85" y="306"/>
                  </a:lnTo>
                  <a:lnTo>
                    <a:pt x="685" y="303"/>
                  </a:lnTo>
                  <a:lnTo>
                    <a:pt x="685" y="300"/>
                  </a:lnTo>
                  <a:lnTo>
                    <a:pt x="685" y="297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8" y="291"/>
                  </a:lnTo>
                  <a:lnTo>
                    <a:pt x="688" y="288"/>
                  </a:lnTo>
                  <a:lnTo>
                    <a:pt x="691" y="288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4" y="282"/>
                  </a:lnTo>
                  <a:lnTo>
                    <a:pt x="691" y="282"/>
                  </a:lnTo>
                  <a:lnTo>
                    <a:pt x="694" y="282"/>
                  </a:lnTo>
                  <a:lnTo>
                    <a:pt x="694" y="279"/>
                  </a:lnTo>
                  <a:lnTo>
                    <a:pt x="691" y="279"/>
                  </a:lnTo>
                  <a:lnTo>
                    <a:pt x="694" y="279"/>
                  </a:lnTo>
                  <a:lnTo>
                    <a:pt x="694" y="276"/>
                  </a:lnTo>
                  <a:lnTo>
                    <a:pt x="694" y="273"/>
                  </a:lnTo>
                  <a:lnTo>
                    <a:pt x="691" y="276"/>
                  </a:lnTo>
                  <a:lnTo>
                    <a:pt x="691" y="273"/>
                  </a:lnTo>
                  <a:lnTo>
                    <a:pt x="691" y="270"/>
                  </a:lnTo>
                  <a:lnTo>
                    <a:pt x="691" y="267"/>
                  </a:lnTo>
                  <a:lnTo>
                    <a:pt x="694" y="267"/>
                  </a:lnTo>
                  <a:lnTo>
                    <a:pt x="697" y="267"/>
                  </a:lnTo>
                  <a:lnTo>
                    <a:pt x="697" y="264"/>
                  </a:lnTo>
                  <a:lnTo>
                    <a:pt x="700" y="264"/>
                  </a:lnTo>
                  <a:lnTo>
                    <a:pt x="700" y="267"/>
                  </a:lnTo>
                  <a:lnTo>
                    <a:pt x="700" y="270"/>
                  </a:lnTo>
                  <a:lnTo>
                    <a:pt x="700" y="273"/>
                  </a:lnTo>
                  <a:lnTo>
                    <a:pt x="703" y="273"/>
                  </a:lnTo>
                  <a:lnTo>
                    <a:pt x="706" y="273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3"/>
                  </a:lnTo>
                  <a:lnTo>
                    <a:pt x="718" y="279"/>
                  </a:lnTo>
                  <a:lnTo>
                    <a:pt x="709" y="288"/>
                  </a:lnTo>
                  <a:lnTo>
                    <a:pt x="706" y="291"/>
                  </a:lnTo>
                  <a:lnTo>
                    <a:pt x="703" y="294"/>
                  </a:lnTo>
                  <a:lnTo>
                    <a:pt x="703" y="297"/>
                  </a:lnTo>
                  <a:lnTo>
                    <a:pt x="706" y="300"/>
                  </a:lnTo>
                  <a:lnTo>
                    <a:pt x="706" y="303"/>
                  </a:lnTo>
                  <a:lnTo>
                    <a:pt x="712" y="312"/>
                  </a:lnTo>
                  <a:lnTo>
                    <a:pt x="715" y="312"/>
                  </a:lnTo>
                  <a:lnTo>
                    <a:pt x="715" y="309"/>
                  </a:lnTo>
                  <a:lnTo>
                    <a:pt x="718" y="309"/>
                  </a:lnTo>
                  <a:lnTo>
                    <a:pt x="718" y="318"/>
                  </a:lnTo>
                  <a:lnTo>
                    <a:pt x="715" y="324"/>
                  </a:lnTo>
                  <a:lnTo>
                    <a:pt x="715" y="327"/>
                  </a:lnTo>
                  <a:lnTo>
                    <a:pt x="712" y="324"/>
                  </a:lnTo>
                  <a:lnTo>
                    <a:pt x="712" y="327"/>
                  </a:lnTo>
                  <a:lnTo>
                    <a:pt x="709" y="327"/>
                  </a:lnTo>
                  <a:lnTo>
                    <a:pt x="706" y="327"/>
                  </a:lnTo>
                  <a:lnTo>
                    <a:pt x="709" y="330"/>
                  </a:lnTo>
                  <a:lnTo>
                    <a:pt x="712" y="333"/>
                  </a:lnTo>
                  <a:lnTo>
                    <a:pt x="712" y="336"/>
                  </a:lnTo>
                  <a:lnTo>
                    <a:pt x="709" y="339"/>
                  </a:lnTo>
                  <a:lnTo>
                    <a:pt x="709" y="342"/>
                  </a:lnTo>
                  <a:lnTo>
                    <a:pt x="709" y="345"/>
                  </a:lnTo>
                  <a:lnTo>
                    <a:pt x="706" y="345"/>
                  </a:lnTo>
                  <a:lnTo>
                    <a:pt x="706" y="348"/>
                  </a:lnTo>
                  <a:lnTo>
                    <a:pt x="703" y="351"/>
                  </a:lnTo>
                  <a:lnTo>
                    <a:pt x="706" y="351"/>
                  </a:lnTo>
                  <a:lnTo>
                    <a:pt x="706" y="354"/>
                  </a:lnTo>
                  <a:lnTo>
                    <a:pt x="703" y="363"/>
                  </a:lnTo>
                  <a:lnTo>
                    <a:pt x="709" y="363"/>
                  </a:lnTo>
                  <a:lnTo>
                    <a:pt x="709" y="366"/>
                  </a:lnTo>
                  <a:lnTo>
                    <a:pt x="706" y="366"/>
                  </a:lnTo>
                  <a:lnTo>
                    <a:pt x="706" y="369"/>
                  </a:lnTo>
                  <a:lnTo>
                    <a:pt x="706" y="372"/>
                  </a:lnTo>
                  <a:lnTo>
                    <a:pt x="703" y="375"/>
                  </a:lnTo>
                  <a:lnTo>
                    <a:pt x="700" y="378"/>
                  </a:lnTo>
                  <a:lnTo>
                    <a:pt x="700" y="381"/>
                  </a:lnTo>
                  <a:lnTo>
                    <a:pt x="700" y="384"/>
                  </a:lnTo>
                  <a:lnTo>
                    <a:pt x="697" y="387"/>
                  </a:lnTo>
                  <a:lnTo>
                    <a:pt x="697" y="390"/>
                  </a:lnTo>
                  <a:lnTo>
                    <a:pt x="694" y="393"/>
                  </a:lnTo>
                  <a:lnTo>
                    <a:pt x="694" y="396"/>
                  </a:lnTo>
                  <a:lnTo>
                    <a:pt x="691" y="399"/>
                  </a:lnTo>
                  <a:lnTo>
                    <a:pt x="691" y="402"/>
                  </a:lnTo>
                  <a:lnTo>
                    <a:pt x="688" y="405"/>
                  </a:lnTo>
                  <a:lnTo>
                    <a:pt x="685" y="414"/>
                  </a:lnTo>
                  <a:lnTo>
                    <a:pt x="682" y="417"/>
                  </a:lnTo>
                  <a:lnTo>
                    <a:pt x="682" y="420"/>
                  </a:lnTo>
                  <a:lnTo>
                    <a:pt x="679" y="423"/>
                  </a:lnTo>
                  <a:lnTo>
                    <a:pt x="679" y="426"/>
                  </a:lnTo>
                  <a:lnTo>
                    <a:pt x="676" y="429"/>
                  </a:lnTo>
                  <a:lnTo>
                    <a:pt x="676" y="432"/>
                  </a:lnTo>
                  <a:lnTo>
                    <a:pt x="676" y="435"/>
                  </a:lnTo>
                  <a:lnTo>
                    <a:pt x="673" y="438"/>
                  </a:lnTo>
                  <a:lnTo>
                    <a:pt x="667" y="450"/>
                  </a:lnTo>
                  <a:lnTo>
                    <a:pt x="664" y="456"/>
                  </a:lnTo>
                  <a:lnTo>
                    <a:pt x="661" y="459"/>
                  </a:lnTo>
                  <a:lnTo>
                    <a:pt x="664" y="462"/>
                  </a:lnTo>
                  <a:lnTo>
                    <a:pt x="664" y="465"/>
                  </a:lnTo>
                  <a:lnTo>
                    <a:pt x="664" y="468"/>
                  </a:lnTo>
                  <a:lnTo>
                    <a:pt x="667" y="468"/>
                  </a:lnTo>
                  <a:lnTo>
                    <a:pt x="667" y="471"/>
                  </a:lnTo>
                  <a:lnTo>
                    <a:pt x="667" y="474"/>
                  </a:lnTo>
                  <a:lnTo>
                    <a:pt x="670" y="474"/>
                  </a:lnTo>
                  <a:lnTo>
                    <a:pt x="670" y="477"/>
                  </a:lnTo>
                  <a:lnTo>
                    <a:pt x="670" y="474"/>
                  </a:lnTo>
                  <a:lnTo>
                    <a:pt x="673" y="474"/>
                  </a:lnTo>
                  <a:lnTo>
                    <a:pt x="673" y="477"/>
                  </a:lnTo>
                  <a:lnTo>
                    <a:pt x="676" y="477"/>
                  </a:lnTo>
                  <a:lnTo>
                    <a:pt x="676" y="480"/>
                  </a:lnTo>
                  <a:lnTo>
                    <a:pt x="679" y="480"/>
                  </a:lnTo>
                  <a:lnTo>
                    <a:pt x="679" y="477"/>
                  </a:lnTo>
                  <a:lnTo>
                    <a:pt x="679" y="480"/>
                  </a:lnTo>
                  <a:lnTo>
                    <a:pt x="682" y="483"/>
                  </a:lnTo>
                  <a:lnTo>
                    <a:pt x="685" y="486"/>
                  </a:lnTo>
                  <a:lnTo>
                    <a:pt x="688" y="486"/>
                  </a:lnTo>
                  <a:lnTo>
                    <a:pt x="688" y="483"/>
                  </a:lnTo>
                  <a:lnTo>
                    <a:pt x="688" y="486"/>
                  </a:lnTo>
                  <a:lnTo>
                    <a:pt x="688" y="489"/>
                  </a:lnTo>
                  <a:lnTo>
                    <a:pt x="691" y="492"/>
                  </a:lnTo>
                  <a:lnTo>
                    <a:pt x="694" y="492"/>
                  </a:lnTo>
                  <a:lnTo>
                    <a:pt x="697" y="492"/>
                  </a:lnTo>
                  <a:lnTo>
                    <a:pt x="700" y="492"/>
                  </a:lnTo>
                  <a:lnTo>
                    <a:pt x="700" y="495"/>
                  </a:lnTo>
                  <a:lnTo>
                    <a:pt x="700" y="498"/>
                  </a:lnTo>
                  <a:lnTo>
                    <a:pt x="700" y="501"/>
                  </a:lnTo>
                  <a:lnTo>
                    <a:pt x="703" y="501"/>
                  </a:lnTo>
                  <a:lnTo>
                    <a:pt x="703" y="504"/>
                  </a:lnTo>
                  <a:lnTo>
                    <a:pt x="703" y="507"/>
                  </a:lnTo>
                  <a:lnTo>
                    <a:pt x="706" y="507"/>
                  </a:lnTo>
                  <a:lnTo>
                    <a:pt x="706" y="510"/>
                  </a:lnTo>
                  <a:lnTo>
                    <a:pt x="709" y="510"/>
                  </a:lnTo>
                  <a:lnTo>
                    <a:pt x="709" y="513"/>
                  </a:lnTo>
                  <a:lnTo>
                    <a:pt x="712" y="513"/>
                  </a:lnTo>
                  <a:lnTo>
                    <a:pt x="712" y="516"/>
                  </a:lnTo>
                  <a:lnTo>
                    <a:pt x="715" y="516"/>
                  </a:lnTo>
                  <a:lnTo>
                    <a:pt x="712" y="516"/>
                  </a:lnTo>
                  <a:lnTo>
                    <a:pt x="712" y="519"/>
                  </a:lnTo>
                  <a:lnTo>
                    <a:pt x="715" y="519"/>
                  </a:lnTo>
                  <a:lnTo>
                    <a:pt x="715" y="522"/>
                  </a:lnTo>
                  <a:lnTo>
                    <a:pt x="718" y="522"/>
                  </a:lnTo>
                  <a:lnTo>
                    <a:pt x="721" y="522"/>
                  </a:lnTo>
                  <a:lnTo>
                    <a:pt x="721" y="525"/>
                  </a:lnTo>
                  <a:lnTo>
                    <a:pt x="721" y="528"/>
                  </a:lnTo>
                  <a:lnTo>
                    <a:pt x="724" y="528"/>
                  </a:lnTo>
                  <a:lnTo>
                    <a:pt x="724" y="531"/>
                  </a:lnTo>
                  <a:lnTo>
                    <a:pt x="727" y="531"/>
                  </a:lnTo>
                  <a:lnTo>
                    <a:pt x="727" y="534"/>
                  </a:lnTo>
                  <a:lnTo>
                    <a:pt x="730" y="534"/>
                  </a:lnTo>
                  <a:lnTo>
                    <a:pt x="730" y="537"/>
                  </a:lnTo>
                  <a:lnTo>
                    <a:pt x="730" y="540"/>
                  </a:lnTo>
                  <a:lnTo>
                    <a:pt x="733" y="540"/>
                  </a:lnTo>
                  <a:lnTo>
                    <a:pt x="733" y="543"/>
                  </a:lnTo>
                  <a:lnTo>
                    <a:pt x="736" y="543"/>
                  </a:lnTo>
                  <a:lnTo>
                    <a:pt x="739" y="543"/>
                  </a:lnTo>
                  <a:lnTo>
                    <a:pt x="739" y="546"/>
                  </a:lnTo>
                  <a:lnTo>
                    <a:pt x="742" y="546"/>
                  </a:lnTo>
                  <a:lnTo>
                    <a:pt x="742" y="549"/>
                  </a:lnTo>
                  <a:lnTo>
                    <a:pt x="745" y="549"/>
                  </a:lnTo>
                  <a:lnTo>
                    <a:pt x="748" y="549"/>
                  </a:lnTo>
                  <a:lnTo>
                    <a:pt x="751" y="549"/>
                  </a:lnTo>
                  <a:lnTo>
                    <a:pt x="751" y="552"/>
                  </a:lnTo>
                  <a:lnTo>
                    <a:pt x="754" y="552"/>
                  </a:lnTo>
                  <a:lnTo>
                    <a:pt x="757" y="552"/>
                  </a:lnTo>
                  <a:lnTo>
                    <a:pt x="757" y="555"/>
                  </a:lnTo>
                  <a:lnTo>
                    <a:pt x="757" y="558"/>
                  </a:lnTo>
                  <a:lnTo>
                    <a:pt x="757" y="561"/>
                  </a:lnTo>
                  <a:lnTo>
                    <a:pt x="757" y="564"/>
                  </a:lnTo>
                  <a:lnTo>
                    <a:pt x="757" y="567"/>
                  </a:lnTo>
                  <a:lnTo>
                    <a:pt x="757" y="570"/>
                  </a:lnTo>
                  <a:lnTo>
                    <a:pt x="760" y="570"/>
                  </a:lnTo>
                  <a:lnTo>
                    <a:pt x="763" y="570"/>
                  </a:lnTo>
                  <a:lnTo>
                    <a:pt x="760" y="576"/>
                  </a:lnTo>
                  <a:lnTo>
                    <a:pt x="757" y="576"/>
                  </a:lnTo>
                  <a:lnTo>
                    <a:pt x="757" y="579"/>
                  </a:lnTo>
                  <a:lnTo>
                    <a:pt x="760" y="579"/>
                  </a:lnTo>
                  <a:lnTo>
                    <a:pt x="760" y="582"/>
                  </a:lnTo>
                  <a:lnTo>
                    <a:pt x="763" y="582"/>
                  </a:lnTo>
                  <a:lnTo>
                    <a:pt x="760" y="582"/>
                  </a:lnTo>
                  <a:lnTo>
                    <a:pt x="760" y="585"/>
                  </a:lnTo>
                  <a:lnTo>
                    <a:pt x="760" y="588"/>
                  </a:lnTo>
                  <a:lnTo>
                    <a:pt x="757" y="588"/>
                  </a:lnTo>
                  <a:lnTo>
                    <a:pt x="757" y="591"/>
                  </a:lnTo>
                  <a:lnTo>
                    <a:pt x="760" y="591"/>
                  </a:lnTo>
                  <a:lnTo>
                    <a:pt x="757" y="594"/>
                  </a:lnTo>
                  <a:lnTo>
                    <a:pt x="757" y="597"/>
                  </a:lnTo>
                  <a:lnTo>
                    <a:pt x="754" y="597"/>
                  </a:lnTo>
                  <a:lnTo>
                    <a:pt x="754" y="600"/>
                  </a:lnTo>
                  <a:lnTo>
                    <a:pt x="754" y="603"/>
                  </a:lnTo>
                  <a:lnTo>
                    <a:pt x="751" y="603"/>
                  </a:lnTo>
                  <a:lnTo>
                    <a:pt x="751" y="606"/>
                  </a:lnTo>
                  <a:lnTo>
                    <a:pt x="748" y="606"/>
                  </a:lnTo>
                  <a:lnTo>
                    <a:pt x="748" y="609"/>
                  </a:lnTo>
                  <a:lnTo>
                    <a:pt x="748" y="612"/>
                  </a:lnTo>
                  <a:lnTo>
                    <a:pt x="748" y="615"/>
                  </a:lnTo>
                  <a:lnTo>
                    <a:pt x="742" y="612"/>
                  </a:lnTo>
                  <a:lnTo>
                    <a:pt x="739" y="612"/>
                  </a:lnTo>
                  <a:lnTo>
                    <a:pt x="736" y="609"/>
                  </a:lnTo>
                  <a:lnTo>
                    <a:pt x="733" y="612"/>
                  </a:lnTo>
                  <a:lnTo>
                    <a:pt x="736" y="612"/>
                  </a:lnTo>
                  <a:lnTo>
                    <a:pt x="733" y="612"/>
                  </a:lnTo>
                  <a:lnTo>
                    <a:pt x="733" y="615"/>
                  </a:lnTo>
                  <a:lnTo>
                    <a:pt x="730" y="615"/>
                  </a:lnTo>
                  <a:lnTo>
                    <a:pt x="727" y="615"/>
                  </a:lnTo>
                  <a:lnTo>
                    <a:pt x="724" y="615"/>
                  </a:lnTo>
                  <a:lnTo>
                    <a:pt x="724" y="618"/>
                  </a:lnTo>
                  <a:lnTo>
                    <a:pt x="724" y="615"/>
                  </a:lnTo>
                  <a:lnTo>
                    <a:pt x="721" y="618"/>
                  </a:lnTo>
                  <a:lnTo>
                    <a:pt x="718" y="618"/>
                  </a:lnTo>
                  <a:lnTo>
                    <a:pt x="715" y="618"/>
                  </a:lnTo>
                  <a:lnTo>
                    <a:pt x="712" y="621"/>
                  </a:lnTo>
                  <a:lnTo>
                    <a:pt x="709" y="621"/>
                  </a:lnTo>
                  <a:lnTo>
                    <a:pt x="706" y="624"/>
                  </a:lnTo>
                  <a:lnTo>
                    <a:pt x="706" y="627"/>
                  </a:lnTo>
                  <a:lnTo>
                    <a:pt x="703" y="627"/>
                  </a:lnTo>
                  <a:lnTo>
                    <a:pt x="700" y="630"/>
                  </a:lnTo>
                  <a:lnTo>
                    <a:pt x="694" y="630"/>
                  </a:lnTo>
                  <a:lnTo>
                    <a:pt x="691" y="630"/>
                  </a:lnTo>
                  <a:lnTo>
                    <a:pt x="688" y="627"/>
                  </a:lnTo>
                  <a:lnTo>
                    <a:pt x="682" y="630"/>
                  </a:lnTo>
                  <a:lnTo>
                    <a:pt x="682" y="633"/>
                  </a:lnTo>
                  <a:lnTo>
                    <a:pt x="679" y="639"/>
                  </a:lnTo>
                  <a:lnTo>
                    <a:pt x="676" y="639"/>
                  </a:lnTo>
                  <a:lnTo>
                    <a:pt x="679" y="642"/>
                  </a:lnTo>
                  <a:lnTo>
                    <a:pt x="676" y="645"/>
                  </a:lnTo>
                  <a:lnTo>
                    <a:pt x="676" y="648"/>
                  </a:lnTo>
                  <a:lnTo>
                    <a:pt x="676" y="651"/>
                  </a:lnTo>
                  <a:lnTo>
                    <a:pt x="676" y="657"/>
                  </a:lnTo>
                  <a:lnTo>
                    <a:pt x="676" y="660"/>
                  </a:lnTo>
                  <a:lnTo>
                    <a:pt x="673" y="660"/>
                  </a:lnTo>
                  <a:lnTo>
                    <a:pt x="670" y="660"/>
                  </a:lnTo>
                  <a:lnTo>
                    <a:pt x="667" y="660"/>
                  </a:lnTo>
                  <a:lnTo>
                    <a:pt x="670" y="660"/>
                  </a:lnTo>
                  <a:lnTo>
                    <a:pt x="661" y="660"/>
                  </a:lnTo>
                  <a:lnTo>
                    <a:pt x="661" y="663"/>
                  </a:lnTo>
                  <a:lnTo>
                    <a:pt x="661" y="666"/>
                  </a:lnTo>
                  <a:lnTo>
                    <a:pt x="658" y="666"/>
                  </a:lnTo>
                  <a:lnTo>
                    <a:pt x="655" y="666"/>
                  </a:lnTo>
                  <a:lnTo>
                    <a:pt x="652" y="666"/>
                  </a:lnTo>
                  <a:lnTo>
                    <a:pt x="652" y="663"/>
                  </a:lnTo>
                  <a:lnTo>
                    <a:pt x="646" y="663"/>
                  </a:lnTo>
                  <a:lnTo>
                    <a:pt x="646" y="666"/>
                  </a:lnTo>
                  <a:lnTo>
                    <a:pt x="646" y="669"/>
                  </a:lnTo>
                  <a:lnTo>
                    <a:pt x="643" y="669"/>
                  </a:lnTo>
                  <a:lnTo>
                    <a:pt x="639" y="669"/>
                  </a:lnTo>
                  <a:lnTo>
                    <a:pt x="636" y="666"/>
                  </a:lnTo>
                  <a:lnTo>
                    <a:pt x="636" y="663"/>
                  </a:lnTo>
                  <a:lnTo>
                    <a:pt x="636" y="660"/>
                  </a:lnTo>
                  <a:lnTo>
                    <a:pt x="633" y="660"/>
                  </a:lnTo>
                  <a:lnTo>
                    <a:pt x="630" y="660"/>
                  </a:lnTo>
                  <a:lnTo>
                    <a:pt x="627" y="666"/>
                  </a:lnTo>
                  <a:lnTo>
                    <a:pt x="624" y="669"/>
                  </a:lnTo>
                  <a:lnTo>
                    <a:pt x="624" y="672"/>
                  </a:lnTo>
                  <a:lnTo>
                    <a:pt x="621" y="672"/>
                  </a:lnTo>
                  <a:lnTo>
                    <a:pt x="618" y="669"/>
                  </a:lnTo>
                  <a:lnTo>
                    <a:pt x="618" y="666"/>
                  </a:lnTo>
                  <a:lnTo>
                    <a:pt x="615" y="666"/>
                  </a:lnTo>
                  <a:lnTo>
                    <a:pt x="621" y="663"/>
                  </a:lnTo>
                  <a:lnTo>
                    <a:pt x="618" y="660"/>
                  </a:lnTo>
                  <a:lnTo>
                    <a:pt x="615" y="660"/>
                  </a:lnTo>
                  <a:lnTo>
                    <a:pt x="612" y="660"/>
                  </a:lnTo>
                  <a:lnTo>
                    <a:pt x="609" y="654"/>
                  </a:lnTo>
                  <a:lnTo>
                    <a:pt x="606" y="654"/>
                  </a:lnTo>
                  <a:lnTo>
                    <a:pt x="603" y="657"/>
                  </a:lnTo>
                  <a:lnTo>
                    <a:pt x="600" y="654"/>
                  </a:lnTo>
                  <a:lnTo>
                    <a:pt x="597" y="657"/>
                  </a:lnTo>
                  <a:lnTo>
                    <a:pt x="597" y="660"/>
                  </a:lnTo>
                  <a:lnTo>
                    <a:pt x="594" y="660"/>
                  </a:lnTo>
                  <a:lnTo>
                    <a:pt x="591" y="660"/>
                  </a:lnTo>
                  <a:lnTo>
                    <a:pt x="585" y="657"/>
                  </a:lnTo>
                  <a:lnTo>
                    <a:pt x="582" y="657"/>
                  </a:lnTo>
                  <a:lnTo>
                    <a:pt x="582" y="660"/>
                  </a:lnTo>
                  <a:lnTo>
                    <a:pt x="576" y="660"/>
                  </a:lnTo>
                  <a:lnTo>
                    <a:pt x="573" y="663"/>
                  </a:lnTo>
                  <a:lnTo>
                    <a:pt x="570" y="666"/>
                  </a:lnTo>
                  <a:lnTo>
                    <a:pt x="570" y="669"/>
                  </a:lnTo>
                  <a:lnTo>
                    <a:pt x="570" y="672"/>
                  </a:lnTo>
                  <a:lnTo>
                    <a:pt x="567" y="675"/>
                  </a:lnTo>
                  <a:lnTo>
                    <a:pt x="567" y="678"/>
                  </a:lnTo>
                  <a:lnTo>
                    <a:pt x="564" y="681"/>
                  </a:lnTo>
                  <a:lnTo>
                    <a:pt x="561" y="684"/>
                  </a:lnTo>
                  <a:lnTo>
                    <a:pt x="558" y="684"/>
                  </a:lnTo>
                  <a:lnTo>
                    <a:pt x="558" y="687"/>
                  </a:lnTo>
                  <a:lnTo>
                    <a:pt x="555" y="687"/>
                  </a:lnTo>
                  <a:lnTo>
                    <a:pt x="555" y="684"/>
                  </a:lnTo>
                  <a:lnTo>
                    <a:pt x="552" y="684"/>
                  </a:lnTo>
                  <a:lnTo>
                    <a:pt x="552" y="681"/>
                  </a:lnTo>
                  <a:lnTo>
                    <a:pt x="555" y="678"/>
                  </a:lnTo>
                  <a:lnTo>
                    <a:pt x="552" y="678"/>
                  </a:lnTo>
                  <a:lnTo>
                    <a:pt x="546" y="675"/>
                  </a:lnTo>
                  <a:lnTo>
                    <a:pt x="543" y="675"/>
                  </a:lnTo>
                  <a:lnTo>
                    <a:pt x="540" y="678"/>
                  </a:lnTo>
                  <a:lnTo>
                    <a:pt x="537" y="675"/>
                  </a:lnTo>
                  <a:lnTo>
                    <a:pt x="537" y="672"/>
                  </a:lnTo>
                  <a:lnTo>
                    <a:pt x="534" y="672"/>
                  </a:lnTo>
                  <a:lnTo>
                    <a:pt x="531" y="675"/>
                  </a:lnTo>
                  <a:lnTo>
                    <a:pt x="528" y="672"/>
                  </a:lnTo>
                  <a:lnTo>
                    <a:pt x="525" y="669"/>
                  </a:lnTo>
                  <a:lnTo>
                    <a:pt x="522" y="672"/>
                  </a:lnTo>
                  <a:lnTo>
                    <a:pt x="519" y="672"/>
                  </a:lnTo>
                  <a:lnTo>
                    <a:pt x="516" y="672"/>
                  </a:lnTo>
                  <a:lnTo>
                    <a:pt x="513" y="669"/>
                  </a:lnTo>
                  <a:lnTo>
                    <a:pt x="516" y="663"/>
                  </a:lnTo>
                  <a:lnTo>
                    <a:pt x="513" y="660"/>
                  </a:lnTo>
                  <a:lnTo>
                    <a:pt x="513" y="657"/>
                  </a:lnTo>
                  <a:lnTo>
                    <a:pt x="507" y="657"/>
                  </a:lnTo>
                  <a:lnTo>
                    <a:pt x="501" y="654"/>
                  </a:lnTo>
                  <a:lnTo>
                    <a:pt x="492" y="648"/>
                  </a:lnTo>
                  <a:lnTo>
                    <a:pt x="489" y="648"/>
                  </a:lnTo>
                  <a:lnTo>
                    <a:pt x="486" y="654"/>
                  </a:lnTo>
                  <a:lnTo>
                    <a:pt x="486" y="657"/>
                  </a:lnTo>
                  <a:lnTo>
                    <a:pt x="486" y="660"/>
                  </a:lnTo>
                  <a:lnTo>
                    <a:pt x="483" y="666"/>
                  </a:lnTo>
                  <a:lnTo>
                    <a:pt x="483" y="669"/>
                  </a:lnTo>
                  <a:lnTo>
                    <a:pt x="477" y="669"/>
                  </a:lnTo>
                  <a:lnTo>
                    <a:pt x="480" y="672"/>
                  </a:lnTo>
                  <a:lnTo>
                    <a:pt x="480" y="675"/>
                  </a:lnTo>
                  <a:lnTo>
                    <a:pt x="480" y="678"/>
                  </a:lnTo>
                  <a:lnTo>
                    <a:pt x="477" y="678"/>
                  </a:lnTo>
                  <a:lnTo>
                    <a:pt x="474" y="675"/>
                  </a:lnTo>
                  <a:lnTo>
                    <a:pt x="471" y="675"/>
                  </a:lnTo>
                  <a:lnTo>
                    <a:pt x="471" y="678"/>
                  </a:lnTo>
                  <a:lnTo>
                    <a:pt x="474" y="678"/>
                  </a:lnTo>
                  <a:lnTo>
                    <a:pt x="474" y="681"/>
                  </a:lnTo>
                  <a:lnTo>
                    <a:pt x="471" y="684"/>
                  </a:lnTo>
                  <a:lnTo>
                    <a:pt x="471" y="687"/>
                  </a:lnTo>
                  <a:lnTo>
                    <a:pt x="474" y="690"/>
                  </a:lnTo>
                  <a:lnTo>
                    <a:pt x="471" y="690"/>
                  </a:lnTo>
                  <a:lnTo>
                    <a:pt x="474" y="693"/>
                  </a:lnTo>
                  <a:lnTo>
                    <a:pt x="477" y="696"/>
                  </a:lnTo>
                  <a:lnTo>
                    <a:pt x="474" y="696"/>
                  </a:lnTo>
                  <a:lnTo>
                    <a:pt x="471" y="705"/>
                  </a:lnTo>
                  <a:lnTo>
                    <a:pt x="471" y="699"/>
                  </a:lnTo>
                  <a:lnTo>
                    <a:pt x="465" y="702"/>
                  </a:lnTo>
                  <a:lnTo>
                    <a:pt x="465" y="705"/>
                  </a:lnTo>
                  <a:lnTo>
                    <a:pt x="465" y="709"/>
                  </a:lnTo>
                  <a:lnTo>
                    <a:pt x="462" y="712"/>
                  </a:lnTo>
                  <a:lnTo>
                    <a:pt x="459" y="709"/>
                  </a:lnTo>
                  <a:lnTo>
                    <a:pt x="453" y="705"/>
                  </a:lnTo>
                  <a:lnTo>
                    <a:pt x="453" y="709"/>
                  </a:lnTo>
                  <a:lnTo>
                    <a:pt x="456" y="709"/>
                  </a:lnTo>
                  <a:lnTo>
                    <a:pt x="456" y="712"/>
                  </a:lnTo>
                  <a:lnTo>
                    <a:pt x="456" y="715"/>
                  </a:lnTo>
                  <a:lnTo>
                    <a:pt x="456" y="718"/>
                  </a:lnTo>
                  <a:lnTo>
                    <a:pt x="453" y="718"/>
                  </a:lnTo>
                  <a:lnTo>
                    <a:pt x="447" y="715"/>
                  </a:lnTo>
                  <a:lnTo>
                    <a:pt x="444" y="715"/>
                  </a:lnTo>
                  <a:lnTo>
                    <a:pt x="444" y="712"/>
                  </a:lnTo>
                  <a:lnTo>
                    <a:pt x="441" y="712"/>
                  </a:lnTo>
                  <a:lnTo>
                    <a:pt x="438" y="715"/>
                  </a:lnTo>
                  <a:lnTo>
                    <a:pt x="435" y="712"/>
                  </a:lnTo>
                  <a:lnTo>
                    <a:pt x="432" y="712"/>
                  </a:lnTo>
                  <a:lnTo>
                    <a:pt x="429" y="712"/>
                  </a:lnTo>
                  <a:lnTo>
                    <a:pt x="426" y="712"/>
                  </a:lnTo>
                  <a:lnTo>
                    <a:pt x="426" y="715"/>
                  </a:lnTo>
                  <a:lnTo>
                    <a:pt x="426" y="718"/>
                  </a:lnTo>
                  <a:lnTo>
                    <a:pt x="429" y="721"/>
                  </a:lnTo>
                  <a:lnTo>
                    <a:pt x="426" y="724"/>
                  </a:lnTo>
                  <a:lnTo>
                    <a:pt x="423" y="724"/>
                  </a:lnTo>
                  <a:lnTo>
                    <a:pt x="420" y="724"/>
                  </a:lnTo>
                  <a:lnTo>
                    <a:pt x="417" y="724"/>
                  </a:lnTo>
                  <a:lnTo>
                    <a:pt x="417" y="727"/>
                  </a:lnTo>
                  <a:lnTo>
                    <a:pt x="414" y="727"/>
                  </a:lnTo>
                  <a:lnTo>
                    <a:pt x="411" y="730"/>
                  </a:lnTo>
                  <a:lnTo>
                    <a:pt x="405" y="727"/>
                  </a:lnTo>
                  <a:lnTo>
                    <a:pt x="405" y="730"/>
                  </a:lnTo>
                  <a:lnTo>
                    <a:pt x="405" y="733"/>
                  </a:lnTo>
                  <a:lnTo>
                    <a:pt x="402" y="736"/>
                  </a:lnTo>
                  <a:lnTo>
                    <a:pt x="399" y="736"/>
                  </a:lnTo>
                  <a:lnTo>
                    <a:pt x="396" y="739"/>
                  </a:lnTo>
                  <a:lnTo>
                    <a:pt x="396" y="742"/>
                  </a:lnTo>
                  <a:lnTo>
                    <a:pt x="393" y="748"/>
                  </a:lnTo>
                  <a:lnTo>
                    <a:pt x="393" y="754"/>
                  </a:lnTo>
                  <a:lnTo>
                    <a:pt x="390" y="754"/>
                  </a:lnTo>
                  <a:lnTo>
                    <a:pt x="387" y="754"/>
                  </a:lnTo>
                  <a:lnTo>
                    <a:pt x="384" y="754"/>
                  </a:lnTo>
                  <a:lnTo>
                    <a:pt x="378" y="754"/>
                  </a:lnTo>
                  <a:lnTo>
                    <a:pt x="372" y="754"/>
                  </a:lnTo>
                  <a:lnTo>
                    <a:pt x="369" y="757"/>
                  </a:lnTo>
                  <a:lnTo>
                    <a:pt x="366" y="760"/>
                  </a:lnTo>
                  <a:lnTo>
                    <a:pt x="363" y="760"/>
                  </a:lnTo>
                  <a:lnTo>
                    <a:pt x="363" y="763"/>
                  </a:lnTo>
                  <a:lnTo>
                    <a:pt x="366" y="766"/>
                  </a:lnTo>
                  <a:lnTo>
                    <a:pt x="366" y="769"/>
                  </a:lnTo>
                  <a:lnTo>
                    <a:pt x="366" y="772"/>
                  </a:lnTo>
                  <a:lnTo>
                    <a:pt x="366" y="775"/>
                  </a:lnTo>
                  <a:lnTo>
                    <a:pt x="366" y="778"/>
                  </a:lnTo>
                  <a:lnTo>
                    <a:pt x="363" y="778"/>
                  </a:lnTo>
                  <a:lnTo>
                    <a:pt x="360" y="781"/>
                  </a:lnTo>
                  <a:lnTo>
                    <a:pt x="357" y="784"/>
                  </a:lnTo>
                  <a:lnTo>
                    <a:pt x="351" y="784"/>
                  </a:lnTo>
                  <a:lnTo>
                    <a:pt x="348" y="784"/>
                  </a:lnTo>
                  <a:lnTo>
                    <a:pt x="345" y="784"/>
                  </a:lnTo>
                  <a:lnTo>
                    <a:pt x="345" y="781"/>
                  </a:lnTo>
                  <a:lnTo>
                    <a:pt x="345" y="778"/>
                  </a:lnTo>
                  <a:lnTo>
                    <a:pt x="339" y="781"/>
                  </a:lnTo>
                  <a:lnTo>
                    <a:pt x="339" y="784"/>
                  </a:lnTo>
                  <a:lnTo>
                    <a:pt x="333" y="784"/>
                  </a:lnTo>
                  <a:lnTo>
                    <a:pt x="330" y="781"/>
                  </a:lnTo>
                  <a:lnTo>
                    <a:pt x="327" y="781"/>
                  </a:lnTo>
                  <a:lnTo>
                    <a:pt x="327" y="778"/>
                  </a:lnTo>
                  <a:lnTo>
                    <a:pt x="327" y="775"/>
                  </a:lnTo>
                  <a:lnTo>
                    <a:pt x="321" y="769"/>
                  </a:lnTo>
                  <a:lnTo>
                    <a:pt x="318" y="769"/>
                  </a:lnTo>
                  <a:lnTo>
                    <a:pt x="315" y="769"/>
                  </a:lnTo>
                  <a:lnTo>
                    <a:pt x="312" y="766"/>
                  </a:lnTo>
                  <a:lnTo>
                    <a:pt x="312" y="757"/>
                  </a:lnTo>
                  <a:lnTo>
                    <a:pt x="309" y="754"/>
                  </a:lnTo>
                  <a:lnTo>
                    <a:pt x="309" y="751"/>
                  </a:lnTo>
                  <a:lnTo>
                    <a:pt x="306" y="748"/>
                  </a:lnTo>
                  <a:lnTo>
                    <a:pt x="306" y="745"/>
                  </a:lnTo>
                  <a:lnTo>
                    <a:pt x="306" y="739"/>
                  </a:lnTo>
                  <a:lnTo>
                    <a:pt x="303" y="730"/>
                  </a:lnTo>
                  <a:lnTo>
                    <a:pt x="309" y="733"/>
                  </a:lnTo>
                  <a:lnTo>
                    <a:pt x="312" y="727"/>
                  </a:lnTo>
                  <a:lnTo>
                    <a:pt x="312" y="724"/>
                  </a:lnTo>
                  <a:lnTo>
                    <a:pt x="315" y="721"/>
                  </a:lnTo>
                  <a:lnTo>
                    <a:pt x="318" y="721"/>
                  </a:lnTo>
                  <a:lnTo>
                    <a:pt x="318" y="712"/>
                  </a:lnTo>
                  <a:lnTo>
                    <a:pt x="315" y="712"/>
                  </a:lnTo>
                  <a:lnTo>
                    <a:pt x="312" y="709"/>
                  </a:lnTo>
                  <a:lnTo>
                    <a:pt x="309" y="709"/>
                  </a:lnTo>
                  <a:lnTo>
                    <a:pt x="306" y="712"/>
                  </a:lnTo>
                  <a:lnTo>
                    <a:pt x="306" y="715"/>
                  </a:lnTo>
                  <a:lnTo>
                    <a:pt x="303" y="715"/>
                  </a:lnTo>
                  <a:lnTo>
                    <a:pt x="300" y="718"/>
                  </a:lnTo>
                  <a:lnTo>
                    <a:pt x="300" y="721"/>
                  </a:lnTo>
                  <a:lnTo>
                    <a:pt x="297" y="724"/>
                  </a:lnTo>
                  <a:lnTo>
                    <a:pt x="294" y="724"/>
                  </a:lnTo>
                  <a:lnTo>
                    <a:pt x="291" y="727"/>
                  </a:lnTo>
                  <a:lnTo>
                    <a:pt x="285" y="727"/>
                  </a:lnTo>
                  <a:lnTo>
                    <a:pt x="282" y="727"/>
                  </a:lnTo>
                  <a:lnTo>
                    <a:pt x="279" y="730"/>
                  </a:lnTo>
                  <a:lnTo>
                    <a:pt x="276" y="730"/>
                  </a:lnTo>
                  <a:lnTo>
                    <a:pt x="276" y="727"/>
                  </a:lnTo>
                  <a:lnTo>
                    <a:pt x="273" y="730"/>
                  </a:lnTo>
                  <a:lnTo>
                    <a:pt x="273" y="733"/>
                  </a:lnTo>
                  <a:lnTo>
                    <a:pt x="270" y="736"/>
                  </a:lnTo>
                  <a:lnTo>
                    <a:pt x="267" y="733"/>
                  </a:lnTo>
                  <a:lnTo>
                    <a:pt x="264" y="736"/>
                  </a:lnTo>
                  <a:lnTo>
                    <a:pt x="267" y="739"/>
                  </a:lnTo>
                  <a:lnTo>
                    <a:pt x="264" y="745"/>
                  </a:lnTo>
                  <a:lnTo>
                    <a:pt x="264" y="754"/>
                  </a:lnTo>
                  <a:lnTo>
                    <a:pt x="261" y="754"/>
                  </a:lnTo>
                  <a:lnTo>
                    <a:pt x="258" y="757"/>
                  </a:lnTo>
                  <a:lnTo>
                    <a:pt x="255" y="751"/>
                  </a:lnTo>
                  <a:lnTo>
                    <a:pt x="255" y="745"/>
                  </a:lnTo>
                  <a:lnTo>
                    <a:pt x="255" y="739"/>
                  </a:lnTo>
                  <a:lnTo>
                    <a:pt x="255" y="736"/>
                  </a:lnTo>
                  <a:lnTo>
                    <a:pt x="252" y="733"/>
                  </a:lnTo>
                  <a:lnTo>
                    <a:pt x="252" y="730"/>
                  </a:lnTo>
                  <a:lnTo>
                    <a:pt x="249" y="730"/>
                  </a:lnTo>
                  <a:lnTo>
                    <a:pt x="249" y="727"/>
                  </a:lnTo>
                  <a:lnTo>
                    <a:pt x="249" y="724"/>
                  </a:lnTo>
                  <a:lnTo>
                    <a:pt x="246" y="718"/>
                  </a:lnTo>
                  <a:lnTo>
                    <a:pt x="255" y="715"/>
                  </a:lnTo>
                  <a:lnTo>
                    <a:pt x="255" y="712"/>
                  </a:lnTo>
                  <a:lnTo>
                    <a:pt x="255" y="709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696"/>
                  </a:lnTo>
                  <a:lnTo>
                    <a:pt x="252" y="696"/>
                  </a:lnTo>
                  <a:lnTo>
                    <a:pt x="249" y="693"/>
                  </a:lnTo>
                  <a:lnTo>
                    <a:pt x="246" y="690"/>
                  </a:lnTo>
                  <a:lnTo>
                    <a:pt x="246" y="693"/>
                  </a:lnTo>
                  <a:lnTo>
                    <a:pt x="243" y="693"/>
                  </a:lnTo>
                  <a:lnTo>
                    <a:pt x="240" y="690"/>
                  </a:lnTo>
                  <a:lnTo>
                    <a:pt x="240" y="687"/>
                  </a:lnTo>
                  <a:lnTo>
                    <a:pt x="237" y="687"/>
                  </a:lnTo>
                  <a:lnTo>
                    <a:pt x="234" y="687"/>
                  </a:lnTo>
                  <a:lnTo>
                    <a:pt x="237" y="681"/>
                  </a:lnTo>
                  <a:lnTo>
                    <a:pt x="237" y="675"/>
                  </a:lnTo>
                  <a:lnTo>
                    <a:pt x="237" y="678"/>
                  </a:lnTo>
                  <a:lnTo>
                    <a:pt x="231" y="684"/>
                  </a:lnTo>
                  <a:lnTo>
                    <a:pt x="231" y="681"/>
                  </a:lnTo>
                  <a:lnTo>
                    <a:pt x="228" y="681"/>
                  </a:lnTo>
                  <a:lnTo>
                    <a:pt x="225" y="678"/>
                  </a:lnTo>
                  <a:lnTo>
                    <a:pt x="225" y="681"/>
                  </a:lnTo>
                  <a:lnTo>
                    <a:pt x="222" y="681"/>
                  </a:lnTo>
                  <a:lnTo>
                    <a:pt x="222" y="678"/>
                  </a:lnTo>
                  <a:lnTo>
                    <a:pt x="219" y="678"/>
                  </a:lnTo>
                  <a:lnTo>
                    <a:pt x="216" y="678"/>
                  </a:lnTo>
                  <a:lnTo>
                    <a:pt x="216" y="675"/>
                  </a:lnTo>
                  <a:lnTo>
                    <a:pt x="216" y="672"/>
                  </a:lnTo>
                  <a:lnTo>
                    <a:pt x="219" y="672"/>
                  </a:lnTo>
                  <a:lnTo>
                    <a:pt x="219" y="669"/>
                  </a:lnTo>
                  <a:lnTo>
                    <a:pt x="219" y="666"/>
                  </a:lnTo>
                  <a:lnTo>
                    <a:pt x="222" y="666"/>
                  </a:lnTo>
                  <a:lnTo>
                    <a:pt x="219" y="663"/>
                  </a:lnTo>
                  <a:lnTo>
                    <a:pt x="219" y="660"/>
                  </a:lnTo>
                  <a:lnTo>
                    <a:pt x="219" y="657"/>
                  </a:lnTo>
                  <a:lnTo>
                    <a:pt x="219" y="654"/>
                  </a:lnTo>
                  <a:lnTo>
                    <a:pt x="219" y="651"/>
                  </a:lnTo>
                  <a:lnTo>
                    <a:pt x="222" y="651"/>
                  </a:lnTo>
                  <a:lnTo>
                    <a:pt x="219" y="648"/>
                  </a:lnTo>
                  <a:lnTo>
                    <a:pt x="216" y="648"/>
                  </a:lnTo>
                  <a:lnTo>
                    <a:pt x="219" y="645"/>
                  </a:lnTo>
                  <a:lnTo>
                    <a:pt x="219" y="642"/>
                  </a:lnTo>
                  <a:lnTo>
                    <a:pt x="216" y="642"/>
                  </a:lnTo>
                  <a:lnTo>
                    <a:pt x="213" y="642"/>
                  </a:lnTo>
                  <a:lnTo>
                    <a:pt x="216" y="639"/>
                  </a:lnTo>
                  <a:lnTo>
                    <a:pt x="216" y="636"/>
                  </a:lnTo>
                  <a:lnTo>
                    <a:pt x="216" y="633"/>
                  </a:lnTo>
                  <a:lnTo>
                    <a:pt x="216" y="630"/>
                  </a:lnTo>
                  <a:lnTo>
                    <a:pt x="213" y="627"/>
                  </a:lnTo>
                  <a:lnTo>
                    <a:pt x="210" y="627"/>
                  </a:lnTo>
                  <a:lnTo>
                    <a:pt x="213" y="621"/>
                  </a:lnTo>
                  <a:lnTo>
                    <a:pt x="210" y="621"/>
                  </a:lnTo>
                  <a:lnTo>
                    <a:pt x="210" y="618"/>
                  </a:lnTo>
                  <a:lnTo>
                    <a:pt x="207" y="615"/>
                  </a:lnTo>
                  <a:lnTo>
                    <a:pt x="210" y="609"/>
                  </a:lnTo>
                  <a:lnTo>
                    <a:pt x="210" y="603"/>
                  </a:lnTo>
                  <a:lnTo>
                    <a:pt x="207" y="600"/>
                  </a:lnTo>
                  <a:lnTo>
                    <a:pt x="207" y="597"/>
                  </a:lnTo>
                  <a:lnTo>
                    <a:pt x="204" y="597"/>
                  </a:lnTo>
                  <a:lnTo>
                    <a:pt x="204" y="594"/>
                  </a:lnTo>
                  <a:lnTo>
                    <a:pt x="204" y="591"/>
                  </a:lnTo>
                  <a:lnTo>
                    <a:pt x="207" y="588"/>
                  </a:lnTo>
                  <a:lnTo>
                    <a:pt x="213" y="585"/>
                  </a:lnTo>
                  <a:lnTo>
                    <a:pt x="207" y="582"/>
                  </a:lnTo>
                  <a:lnTo>
                    <a:pt x="204" y="579"/>
                  </a:lnTo>
                  <a:lnTo>
                    <a:pt x="210" y="579"/>
                  </a:lnTo>
                  <a:lnTo>
                    <a:pt x="210" y="573"/>
                  </a:lnTo>
                  <a:lnTo>
                    <a:pt x="210" y="567"/>
                  </a:lnTo>
                  <a:lnTo>
                    <a:pt x="201" y="564"/>
                  </a:lnTo>
                  <a:lnTo>
                    <a:pt x="195" y="558"/>
                  </a:lnTo>
                  <a:lnTo>
                    <a:pt x="195" y="555"/>
                  </a:lnTo>
                  <a:lnTo>
                    <a:pt x="192" y="549"/>
                  </a:lnTo>
                  <a:lnTo>
                    <a:pt x="189" y="549"/>
                  </a:lnTo>
                  <a:lnTo>
                    <a:pt x="183" y="549"/>
                  </a:lnTo>
                  <a:lnTo>
                    <a:pt x="183" y="546"/>
                  </a:lnTo>
                  <a:lnTo>
                    <a:pt x="183" y="543"/>
                  </a:lnTo>
                  <a:lnTo>
                    <a:pt x="180" y="540"/>
                  </a:lnTo>
                  <a:lnTo>
                    <a:pt x="177" y="534"/>
                  </a:lnTo>
                  <a:lnTo>
                    <a:pt x="171" y="537"/>
                  </a:lnTo>
                  <a:lnTo>
                    <a:pt x="171" y="540"/>
                  </a:lnTo>
                  <a:lnTo>
                    <a:pt x="171" y="543"/>
                  </a:lnTo>
                  <a:lnTo>
                    <a:pt x="168" y="543"/>
                  </a:lnTo>
                  <a:lnTo>
                    <a:pt x="165" y="543"/>
                  </a:lnTo>
                  <a:lnTo>
                    <a:pt x="165" y="546"/>
                  </a:lnTo>
                  <a:lnTo>
                    <a:pt x="159" y="552"/>
                  </a:lnTo>
                  <a:lnTo>
                    <a:pt x="159" y="558"/>
                  </a:lnTo>
                  <a:lnTo>
                    <a:pt x="156" y="567"/>
                  </a:lnTo>
                  <a:lnTo>
                    <a:pt x="153" y="570"/>
                  </a:lnTo>
                  <a:lnTo>
                    <a:pt x="150" y="573"/>
                  </a:lnTo>
                  <a:lnTo>
                    <a:pt x="147" y="573"/>
                  </a:lnTo>
                  <a:lnTo>
                    <a:pt x="144" y="576"/>
                  </a:lnTo>
                  <a:lnTo>
                    <a:pt x="138" y="570"/>
                  </a:lnTo>
                  <a:lnTo>
                    <a:pt x="135" y="570"/>
                  </a:lnTo>
                  <a:lnTo>
                    <a:pt x="129" y="570"/>
                  </a:lnTo>
                  <a:lnTo>
                    <a:pt x="129" y="573"/>
                  </a:lnTo>
                  <a:lnTo>
                    <a:pt x="129" y="582"/>
                  </a:lnTo>
                  <a:lnTo>
                    <a:pt x="126" y="582"/>
                  </a:lnTo>
                  <a:lnTo>
                    <a:pt x="123" y="582"/>
                  </a:lnTo>
                  <a:lnTo>
                    <a:pt x="123" y="585"/>
                  </a:lnTo>
                  <a:lnTo>
                    <a:pt x="120" y="585"/>
                  </a:lnTo>
                  <a:lnTo>
                    <a:pt x="120" y="588"/>
                  </a:lnTo>
                  <a:lnTo>
                    <a:pt x="123" y="591"/>
                  </a:lnTo>
                  <a:lnTo>
                    <a:pt x="120" y="594"/>
                  </a:lnTo>
                  <a:lnTo>
                    <a:pt x="114" y="600"/>
                  </a:lnTo>
                  <a:lnTo>
                    <a:pt x="114" y="609"/>
                  </a:lnTo>
                  <a:lnTo>
                    <a:pt x="108" y="606"/>
                  </a:lnTo>
                  <a:lnTo>
                    <a:pt x="108" y="603"/>
                  </a:lnTo>
                  <a:lnTo>
                    <a:pt x="108" y="600"/>
                  </a:lnTo>
                  <a:lnTo>
                    <a:pt x="105" y="600"/>
                  </a:lnTo>
                  <a:lnTo>
                    <a:pt x="105" y="597"/>
                  </a:lnTo>
                  <a:lnTo>
                    <a:pt x="105" y="594"/>
                  </a:lnTo>
                  <a:lnTo>
                    <a:pt x="102" y="594"/>
                  </a:lnTo>
                  <a:lnTo>
                    <a:pt x="102" y="591"/>
                  </a:lnTo>
                  <a:lnTo>
                    <a:pt x="102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96" y="585"/>
                  </a:lnTo>
                  <a:lnTo>
                    <a:pt x="96" y="582"/>
                  </a:lnTo>
                  <a:lnTo>
                    <a:pt x="93" y="576"/>
                  </a:lnTo>
                  <a:lnTo>
                    <a:pt x="93" y="573"/>
                  </a:lnTo>
                  <a:lnTo>
                    <a:pt x="90" y="570"/>
                  </a:lnTo>
                  <a:lnTo>
                    <a:pt x="90" y="567"/>
                  </a:lnTo>
                  <a:lnTo>
                    <a:pt x="90" y="564"/>
                  </a:lnTo>
                  <a:lnTo>
                    <a:pt x="87" y="561"/>
                  </a:lnTo>
                  <a:lnTo>
                    <a:pt x="84" y="561"/>
                  </a:lnTo>
                  <a:lnTo>
                    <a:pt x="84" y="558"/>
                  </a:lnTo>
                  <a:lnTo>
                    <a:pt x="84" y="555"/>
                  </a:lnTo>
                  <a:lnTo>
                    <a:pt x="81" y="555"/>
                  </a:lnTo>
                  <a:lnTo>
                    <a:pt x="81" y="552"/>
                  </a:lnTo>
                  <a:lnTo>
                    <a:pt x="81" y="549"/>
                  </a:lnTo>
                  <a:lnTo>
                    <a:pt x="78" y="546"/>
                  </a:lnTo>
                  <a:lnTo>
                    <a:pt x="78" y="543"/>
                  </a:lnTo>
                  <a:lnTo>
                    <a:pt x="75" y="540"/>
                  </a:lnTo>
                  <a:lnTo>
                    <a:pt x="75" y="537"/>
                  </a:lnTo>
                  <a:lnTo>
                    <a:pt x="72" y="534"/>
                  </a:lnTo>
                  <a:lnTo>
                    <a:pt x="72" y="531"/>
                  </a:lnTo>
                  <a:lnTo>
                    <a:pt x="69" y="528"/>
                  </a:lnTo>
                  <a:lnTo>
                    <a:pt x="69" y="525"/>
                  </a:lnTo>
                  <a:lnTo>
                    <a:pt x="66" y="522"/>
                  </a:lnTo>
                  <a:lnTo>
                    <a:pt x="66" y="519"/>
                  </a:lnTo>
                  <a:lnTo>
                    <a:pt x="66" y="516"/>
                  </a:lnTo>
                  <a:lnTo>
                    <a:pt x="66" y="513"/>
                  </a:lnTo>
                  <a:lnTo>
                    <a:pt x="63" y="513"/>
                  </a:lnTo>
                  <a:lnTo>
                    <a:pt x="63" y="510"/>
                  </a:lnTo>
                  <a:lnTo>
                    <a:pt x="63" y="507"/>
                  </a:lnTo>
                  <a:lnTo>
                    <a:pt x="60" y="507"/>
                  </a:lnTo>
                  <a:lnTo>
                    <a:pt x="60" y="504"/>
                  </a:lnTo>
                  <a:lnTo>
                    <a:pt x="60" y="501"/>
                  </a:lnTo>
                  <a:lnTo>
                    <a:pt x="60" y="498"/>
                  </a:lnTo>
                  <a:lnTo>
                    <a:pt x="60" y="495"/>
                  </a:lnTo>
                  <a:lnTo>
                    <a:pt x="57" y="495"/>
                  </a:lnTo>
                  <a:lnTo>
                    <a:pt x="57" y="492"/>
                  </a:lnTo>
                  <a:lnTo>
                    <a:pt x="60" y="492"/>
                  </a:lnTo>
                  <a:lnTo>
                    <a:pt x="57" y="489"/>
                  </a:lnTo>
                  <a:lnTo>
                    <a:pt x="57" y="486"/>
                  </a:lnTo>
                  <a:lnTo>
                    <a:pt x="54" y="486"/>
                  </a:lnTo>
                  <a:lnTo>
                    <a:pt x="54" y="483"/>
                  </a:lnTo>
                  <a:lnTo>
                    <a:pt x="54" y="480"/>
                  </a:lnTo>
                  <a:lnTo>
                    <a:pt x="54" y="477"/>
                  </a:lnTo>
                  <a:lnTo>
                    <a:pt x="51" y="477"/>
                  </a:lnTo>
                  <a:lnTo>
                    <a:pt x="51" y="474"/>
                  </a:lnTo>
                  <a:lnTo>
                    <a:pt x="51" y="471"/>
                  </a:lnTo>
                  <a:lnTo>
                    <a:pt x="51" y="468"/>
                  </a:lnTo>
                  <a:lnTo>
                    <a:pt x="51" y="465"/>
                  </a:lnTo>
                  <a:lnTo>
                    <a:pt x="51" y="462"/>
                  </a:lnTo>
                  <a:lnTo>
                    <a:pt x="48" y="462"/>
                  </a:lnTo>
                  <a:lnTo>
                    <a:pt x="48" y="459"/>
                  </a:lnTo>
                  <a:lnTo>
                    <a:pt x="48" y="456"/>
                  </a:lnTo>
                  <a:lnTo>
                    <a:pt x="45" y="453"/>
                  </a:lnTo>
                  <a:lnTo>
                    <a:pt x="45" y="450"/>
                  </a:lnTo>
                  <a:lnTo>
                    <a:pt x="45" y="447"/>
                  </a:lnTo>
                  <a:lnTo>
                    <a:pt x="45" y="444"/>
                  </a:lnTo>
                  <a:lnTo>
                    <a:pt x="42" y="441"/>
                  </a:lnTo>
                  <a:lnTo>
                    <a:pt x="42" y="438"/>
                  </a:lnTo>
                  <a:lnTo>
                    <a:pt x="42" y="435"/>
                  </a:lnTo>
                  <a:lnTo>
                    <a:pt x="39" y="432"/>
                  </a:lnTo>
                  <a:lnTo>
                    <a:pt x="39" y="429"/>
                  </a:lnTo>
                  <a:lnTo>
                    <a:pt x="36" y="429"/>
                  </a:lnTo>
                  <a:lnTo>
                    <a:pt x="36" y="426"/>
                  </a:lnTo>
                  <a:lnTo>
                    <a:pt x="36" y="423"/>
                  </a:lnTo>
                  <a:lnTo>
                    <a:pt x="33" y="420"/>
                  </a:lnTo>
                  <a:lnTo>
                    <a:pt x="33" y="417"/>
                  </a:lnTo>
                  <a:lnTo>
                    <a:pt x="33" y="414"/>
                  </a:lnTo>
                  <a:lnTo>
                    <a:pt x="30" y="411"/>
                  </a:lnTo>
                  <a:lnTo>
                    <a:pt x="30" y="408"/>
                  </a:lnTo>
                  <a:lnTo>
                    <a:pt x="30" y="405"/>
                  </a:lnTo>
                  <a:lnTo>
                    <a:pt x="27" y="405"/>
                  </a:lnTo>
                  <a:lnTo>
                    <a:pt x="27" y="402"/>
                  </a:lnTo>
                  <a:lnTo>
                    <a:pt x="24" y="402"/>
                  </a:lnTo>
                  <a:lnTo>
                    <a:pt x="24" y="399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18" y="390"/>
                  </a:lnTo>
                  <a:lnTo>
                    <a:pt x="18" y="387"/>
                  </a:lnTo>
                  <a:lnTo>
                    <a:pt x="15" y="387"/>
                  </a:lnTo>
                  <a:lnTo>
                    <a:pt x="12" y="387"/>
                  </a:lnTo>
                  <a:lnTo>
                    <a:pt x="12" y="384"/>
                  </a:lnTo>
                  <a:lnTo>
                    <a:pt x="12" y="381"/>
                  </a:lnTo>
                  <a:lnTo>
                    <a:pt x="12" y="378"/>
                  </a:lnTo>
                  <a:lnTo>
                    <a:pt x="9" y="378"/>
                  </a:lnTo>
                  <a:lnTo>
                    <a:pt x="9" y="375"/>
                  </a:lnTo>
                  <a:lnTo>
                    <a:pt x="9" y="372"/>
                  </a:lnTo>
                  <a:lnTo>
                    <a:pt x="9" y="369"/>
                  </a:lnTo>
                  <a:lnTo>
                    <a:pt x="6" y="369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0" y="363"/>
                  </a:lnTo>
                  <a:lnTo>
                    <a:pt x="0" y="360"/>
                  </a:lnTo>
                  <a:lnTo>
                    <a:pt x="0" y="357"/>
                  </a:lnTo>
                  <a:lnTo>
                    <a:pt x="3" y="357"/>
                  </a:lnTo>
                  <a:lnTo>
                    <a:pt x="3" y="354"/>
                  </a:lnTo>
                  <a:lnTo>
                    <a:pt x="6" y="354"/>
                  </a:lnTo>
                  <a:lnTo>
                    <a:pt x="9" y="354"/>
                  </a:lnTo>
                  <a:lnTo>
                    <a:pt x="12" y="354"/>
                  </a:lnTo>
                  <a:lnTo>
                    <a:pt x="12" y="351"/>
                  </a:lnTo>
                  <a:lnTo>
                    <a:pt x="15" y="351"/>
                  </a:lnTo>
                  <a:lnTo>
                    <a:pt x="15" y="348"/>
                  </a:lnTo>
                  <a:lnTo>
                    <a:pt x="18" y="348"/>
                  </a:lnTo>
                  <a:lnTo>
                    <a:pt x="21" y="348"/>
                  </a:lnTo>
                  <a:lnTo>
                    <a:pt x="24" y="348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27" y="342"/>
                  </a:lnTo>
                  <a:lnTo>
                    <a:pt x="27" y="339"/>
                  </a:lnTo>
                  <a:lnTo>
                    <a:pt x="30" y="336"/>
                  </a:lnTo>
                  <a:lnTo>
                    <a:pt x="27" y="336"/>
                  </a:lnTo>
                  <a:lnTo>
                    <a:pt x="27" y="333"/>
                  </a:lnTo>
                  <a:lnTo>
                    <a:pt x="24" y="330"/>
                  </a:lnTo>
                  <a:lnTo>
                    <a:pt x="24" y="327"/>
                  </a:lnTo>
                  <a:lnTo>
                    <a:pt x="27" y="327"/>
                  </a:lnTo>
                  <a:lnTo>
                    <a:pt x="30" y="327"/>
                  </a:lnTo>
                  <a:lnTo>
                    <a:pt x="30" y="324"/>
                  </a:lnTo>
                  <a:lnTo>
                    <a:pt x="30" y="321"/>
                  </a:lnTo>
                  <a:lnTo>
                    <a:pt x="30" y="324"/>
                  </a:lnTo>
                  <a:lnTo>
                    <a:pt x="33" y="324"/>
                  </a:lnTo>
                  <a:lnTo>
                    <a:pt x="33" y="321"/>
                  </a:lnTo>
                  <a:lnTo>
                    <a:pt x="30" y="318"/>
                  </a:lnTo>
                  <a:lnTo>
                    <a:pt x="33" y="318"/>
                  </a:lnTo>
                  <a:lnTo>
                    <a:pt x="36" y="318"/>
                  </a:lnTo>
                  <a:lnTo>
                    <a:pt x="36" y="315"/>
                  </a:lnTo>
                  <a:lnTo>
                    <a:pt x="36" y="312"/>
                  </a:lnTo>
                  <a:lnTo>
                    <a:pt x="36" y="309"/>
                  </a:lnTo>
                  <a:lnTo>
                    <a:pt x="39" y="309"/>
                  </a:lnTo>
                  <a:lnTo>
                    <a:pt x="42" y="309"/>
                  </a:lnTo>
                  <a:lnTo>
                    <a:pt x="45" y="309"/>
                  </a:lnTo>
                  <a:lnTo>
                    <a:pt x="48" y="309"/>
                  </a:lnTo>
                  <a:lnTo>
                    <a:pt x="48" y="306"/>
                  </a:lnTo>
                  <a:lnTo>
                    <a:pt x="51" y="306"/>
                  </a:lnTo>
                  <a:lnTo>
                    <a:pt x="54" y="306"/>
                  </a:lnTo>
                  <a:lnTo>
                    <a:pt x="54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60" y="312"/>
                  </a:lnTo>
                  <a:lnTo>
                    <a:pt x="63" y="312"/>
                  </a:lnTo>
                  <a:lnTo>
                    <a:pt x="63" y="315"/>
                  </a:lnTo>
                  <a:lnTo>
                    <a:pt x="60" y="318"/>
                  </a:lnTo>
                  <a:lnTo>
                    <a:pt x="60" y="321"/>
                  </a:lnTo>
                  <a:lnTo>
                    <a:pt x="60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6" y="327"/>
                  </a:lnTo>
                  <a:lnTo>
                    <a:pt x="66" y="324"/>
                  </a:lnTo>
                  <a:lnTo>
                    <a:pt x="69" y="324"/>
                  </a:lnTo>
                  <a:lnTo>
                    <a:pt x="72" y="324"/>
                  </a:lnTo>
                  <a:lnTo>
                    <a:pt x="75" y="324"/>
                  </a:lnTo>
                  <a:lnTo>
                    <a:pt x="75" y="327"/>
                  </a:lnTo>
                  <a:lnTo>
                    <a:pt x="75" y="330"/>
                  </a:lnTo>
                  <a:lnTo>
                    <a:pt x="78" y="330"/>
                  </a:lnTo>
                  <a:lnTo>
                    <a:pt x="78" y="333"/>
                  </a:lnTo>
                  <a:lnTo>
                    <a:pt x="78" y="336"/>
                  </a:lnTo>
                  <a:lnTo>
                    <a:pt x="81" y="336"/>
                  </a:lnTo>
                  <a:lnTo>
                    <a:pt x="81" y="339"/>
                  </a:lnTo>
                  <a:lnTo>
                    <a:pt x="78" y="339"/>
                  </a:lnTo>
                  <a:lnTo>
                    <a:pt x="78" y="342"/>
                  </a:lnTo>
                  <a:lnTo>
                    <a:pt x="75" y="345"/>
                  </a:lnTo>
                  <a:lnTo>
                    <a:pt x="72" y="348"/>
                  </a:lnTo>
                  <a:lnTo>
                    <a:pt x="75" y="351"/>
                  </a:lnTo>
                  <a:lnTo>
                    <a:pt x="78" y="354"/>
                  </a:lnTo>
                  <a:lnTo>
                    <a:pt x="78" y="357"/>
                  </a:lnTo>
                  <a:lnTo>
                    <a:pt x="81" y="357"/>
                  </a:lnTo>
                  <a:lnTo>
                    <a:pt x="81" y="360"/>
                  </a:lnTo>
                  <a:lnTo>
                    <a:pt x="81" y="363"/>
                  </a:lnTo>
                  <a:lnTo>
                    <a:pt x="81" y="366"/>
                  </a:lnTo>
                  <a:lnTo>
                    <a:pt x="81" y="369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84" y="369"/>
                  </a:lnTo>
                  <a:lnTo>
                    <a:pt x="87" y="369"/>
                  </a:lnTo>
                  <a:lnTo>
                    <a:pt x="90" y="369"/>
                  </a:lnTo>
                  <a:lnTo>
                    <a:pt x="93" y="366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72"/>
                  </a:lnTo>
                  <a:lnTo>
                    <a:pt x="96" y="375"/>
                  </a:lnTo>
                  <a:lnTo>
                    <a:pt x="99" y="375"/>
                  </a:lnTo>
                  <a:lnTo>
                    <a:pt x="102" y="375"/>
                  </a:lnTo>
                  <a:lnTo>
                    <a:pt x="105" y="372"/>
                  </a:lnTo>
                  <a:lnTo>
                    <a:pt x="105" y="375"/>
                  </a:lnTo>
                  <a:lnTo>
                    <a:pt x="108" y="375"/>
                  </a:lnTo>
                  <a:lnTo>
                    <a:pt x="108" y="372"/>
                  </a:lnTo>
                  <a:lnTo>
                    <a:pt x="111" y="375"/>
                  </a:lnTo>
                  <a:lnTo>
                    <a:pt x="114" y="375"/>
                  </a:lnTo>
                  <a:lnTo>
                    <a:pt x="117" y="375"/>
                  </a:lnTo>
                  <a:lnTo>
                    <a:pt x="120" y="375"/>
                  </a:lnTo>
                  <a:lnTo>
                    <a:pt x="123" y="375"/>
                  </a:lnTo>
                  <a:lnTo>
                    <a:pt x="123" y="378"/>
                  </a:lnTo>
                  <a:lnTo>
                    <a:pt x="126" y="378"/>
                  </a:lnTo>
                  <a:lnTo>
                    <a:pt x="129" y="378"/>
                  </a:lnTo>
                  <a:lnTo>
                    <a:pt x="129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5" y="387"/>
                  </a:lnTo>
                  <a:lnTo>
                    <a:pt x="135" y="384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41" y="387"/>
                  </a:lnTo>
                  <a:lnTo>
                    <a:pt x="144" y="387"/>
                  </a:lnTo>
                  <a:lnTo>
                    <a:pt x="144" y="390"/>
                  </a:lnTo>
                  <a:lnTo>
                    <a:pt x="147" y="390"/>
                  </a:lnTo>
                  <a:lnTo>
                    <a:pt x="147" y="387"/>
                  </a:lnTo>
                  <a:lnTo>
                    <a:pt x="150" y="387"/>
                  </a:lnTo>
                  <a:lnTo>
                    <a:pt x="153" y="387"/>
                  </a:lnTo>
                  <a:lnTo>
                    <a:pt x="156" y="387"/>
                  </a:lnTo>
                  <a:lnTo>
                    <a:pt x="159" y="387"/>
                  </a:lnTo>
                  <a:lnTo>
                    <a:pt x="162" y="387"/>
                  </a:lnTo>
                  <a:lnTo>
                    <a:pt x="165" y="387"/>
                  </a:lnTo>
                  <a:lnTo>
                    <a:pt x="168" y="387"/>
                  </a:lnTo>
                  <a:lnTo>
                    <a:pt x="171" y="387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7" y="384"/>
                  </a:lnTo>
                  <a:lnTo>
                    <a:pt x="180" y="384"/>
                  </a:lnTo>
                  <a:lnTo>
                    <a:pt x="183" y="384"/>
                  </a:lnTo>
                  <a:lnTo>
                    <a:pt x="186" y="384"/>
                  </a:lnTo>
                  <a:lnTo>
                    <a:pt x="189" y="381"/>
                  </a:lnTo>
                  <a:lnTo>
                    <a:pt x="192" y="381"/>
                  </a:lnTo>
                  <a:lnTo>
                    <a:pt x="195" y="384"/>
                  </a:lnTo>
                  <a:lnTo>
                    <a:pt x="198" y="384"/>
                  </a:lnTo>
                  <a:lnTo>
                    <a:pt x="201" y="384"/>
                  </a:lnTo>
                  <a:lnTo>
                    <a:pt x="204" y="384"/>
                  </a:lnTo>
                  <a:lnTo>
                    <a:pt x="207" y="384"/>
                  </a:lnTo>
                  <a:lnTo>
                    <a:pt x="210" y="384"/>
                  </a:lnTo>
                  <a:lnTo>
                    <a:pt x="210" y="387"/>
                  </a:lnTo>
                  <a:lnTo>
                    <a:pt x="213" y="387"/>
                  </a:lnTo>
                  <a:lnTo>
                    <a:pt x="213" y="390"/>
                  </a:lnTo>
                  <a:lnTo>
                    <a:pt x="216" y="390"/>
                  </a:lnTo>
                  <a:lnTo>
                    <a:pt x="216" y="393"/>
                  </a:lnTo>
                  <a:lnTo>
                    <a:pt x="219" y="393"/>
                  </a:lnTo>
                  <a:lnTo>
                    <a:pt x="222" y="393"/>
                  </a:lnTo>
                  <a:lnTo>
                    <a:pt x="222" y="396"/>
                  </a:lnTo>
                  <a:lnTo>
                    <a:pt x="225" y="396"/>
                  </a:lnTo>
                  <a:lnTo>
                    <a:pt x="225" y="393"/>
                  </a:lnTo>
                  <a:lnTo>
                    <a:pt x="228" y="393"/>
                  </a:lnTo>
                  <a:lnTo>
                    <a:pt x="231" y="393"/>
                  </a:lnTo>
                  <a:lnTo>
                    <a:pt x="231" y="390"/>
                  </a:lnTo>
                  <a:lnTo>
                    <a:pt x="234" y="390"/>
                  </a:lnTo>
                  <a:lnTo>
                    <a:pt x="237" y="390"/>
                  </a:lnTo>
                  <a:lnTo>
                    <a:pt x="237" y="387"/>
                  </a:lnTo>
                  <a:lnTo>
                    <a:pt x="234" y="384"/>
                  </a:lnTo>
                  <a:lnTo>
                    <a:pt x="234" y="381"/>
                  </a:lnTo>
                  <a:lnTo>
                    <a:pt x="234" y="378"/>
                  </a:lnTo>
                  <a:lnTo>
                    <a:pt x="234" y="375"/>
                  </a:lnTo>
                  <a:lnTo>
                    <a:pt x="237" y="372"/>
                  </a:lnTo>
                  <a:lnTo>
                    <a:pt x="240" y="372"/>
                  </a:lnTo>
                  <a:lnTo>
                    <a:pt x="243" y="372"/>
                  </a:lnTo>
                  <a:lnTo>
                    <a:pt x="243" y="375"/>
                  </a:lnTo>
                  <a:lnTo>
                    <a:pt x="243" y="372"/>
                  </a:lnTo>
                  <a:lnTo>
                    <a:pt x="246" y="372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52" y="369"/>
                  </a:lnTo>
                  <a:lnTo>
                    <a:pt x="255" y="369"/>
                  </a:lnTo>
                  <a:lnTo>
                    <a:pt x="255" y="366"/>
                  </a:lnTo>
                  <a:lnTo>
                    <a:pt x="255" y="363"/>
                  </a:lnTo>
                  <a:lnTo>
                    <a:pt x="255" y="360"/>
                  </a:lnTo>
                  <a:lnTo>
                    <a:pt x="258" y="360"/>
                  </a:lnTo>
                  <a:lnTo>
                    <a:pt x="258" y="357"/>
                  </a:lnTo>
                  <a:lnTo>
                    <a:pt x="258" y="354"/>
                  </a:lnTo>
                  <a:lnTo>
                    <a:pt x="261" y="354"/>
                  </a:lnTo>
                  <a:lnTo>
                    <a:pt x="261" y="351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70" y="354"/>
                  </a:lnTo>
                  <a:lnTo>
                    <a:pt x="270" y="351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6" y="348"/>
                  </a:lnTo>
                  <a:lnTo>
                    <a:pt x="276" y="351"/>
                  </a:lnTo>
                  <a:lnTo>
                    <a:pt x="279" y="351"/>
                  </a:lnTo>
                  <a:lnTo>
                    <a:pt x="282" y="351"/>
                  </a:lnTo>
                  <a:lnTo>
                    <a:pt x="282" y="348"/>
                  </a:lnTo>
                  <a:lnTo>
                    <a:pt x="285" y="345"/>
                  </a:lnTo>
                  <a:lnTo>
                    <a:pt x="288" y="345"/>
                  </a:lnTo>
                  <a:lnTo>
                    <a:pt x="291" y="345"/>
                  </a:lnTo>
                  <a:lnTo>
                    <a:pt x="294" y="345"/>
                  </a:lnTo>
                  <a:lnTo>
                    <a:pt x="294" y="342"/>
                  </a:lnTo>
                  <a:lnTo>
                    <a:pt x="297" y="342"/>
                  </a:lnTo>
                  <a:lnTo>
                    <a:pt x="297" y="0"/>
                  </a:lnTo>
                  <a:lnTo>
                    <a:pt x="300" y="3"/>
                  </a:lnTo>
                  <a:lnTo>
                    <a:pt x="300" y="6"/>
                  </a:lnTo>
                  <a:lnTo>
                    <a:pt x="303" y="6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2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4" y="21"/>
                  </a:lnTo>
                  <a:lnTo>
                    <a:pt x="324" y="24"/>
                  </a:lnTo>
                  <a:lnTo>
                    <a:pt x="327" y="24"/>
                  </a:lnTo>
                  <a:lnTo>
                    <a:pt x="330" y="24"/>
                  </a:lnTo>
                  <a:lnTo>
                    <a:pt x="330" y="27"/>
                  </a:lnTo>
                  <a:lnTo>
                    <a:pt x="330" y="30"/>
                  </a:lnTo>
                  <a:lnTo>
                    <a:pt x="333" y="30"/>
                  </a:lnTo>
                  <a:lnTo>
                    <a:pt x="333" y="33"/>
                  </a:lnTo>
                  <a:lnTo>
                    <a:pt x="333" y="36"/>
                  </a:lnTo>
                  <a:lnTo>
                    <a:pt x="336" y="36"/>
                  </a:lnTo>
                  <a:lnTo>
                    <a:pt x="336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6" y="42"/>
                  </a:lnTo>
                  <a:lnTo>
                    <a:pt x="339" y="42"/>
                  </a:lnTo>
                  <a:lnTo>
                    <a:pt x="339" y="45"/>
                  </a:lnTo>
                  <a:lnTo>
                    <a:pt x="339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42" y="51"/>
                  </a:lnTo>
                </a:path>
              </a:pathLst>
            </a:custGeom>
            <a:solidFill>
              <a:srgbClr val="F79646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4" name="Freeform 32">
              <a:extLst>
                <a:ext uri="{FF2B5EF4-FFF2-40B4-BE49-F238E27FC236}">
                  <a16:creationId xmlns:a16="http://schemas.microsoft.com/office/drawing/2014/main" id="{D33E39EF-7C7A-4841-8DBF-CA0E6F60D9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21063" y="2778125"/>
              <a:ext cx="347662" cy="288925"/>
            </a:xfrm>
            <a:custGeom>
              <a:avLst/>
              <a:gdLst>
                <a:gd name="T0" fmla="*/ 0 w 177"/>
                <a:gd name="T1" fmla="*/ 11793 h 147"/>
                <a:gd name="T2" fmla="*/ 5893 w 177"/>
                <a:gd name="T3" fmla="*/ 11793 h 147"/>
                <a:gd name="T4" fmla="*/ 11785 w 177"/>
                <a:gd name="T5" fmla="*/ 23586 h 147"/>
                <a:gd name="T6" fmla="*/ 11785 w 177"/>
                <a:gd name="T7" fmla="*/ 23586 h 147"/>
                <a:gd name="T8" fmla="*/ 17678 w 177"/>
                <a:gd name="T9" fmla="*/ 23586 h 147"/>
                <a:gd name="T10" fmla="*/ 17678 w 177"/>
                <a:gd name="T11" fmla="*/ 29482 h 147"/>
                <a:gd name="T12" fmla="*/ 23570 w 177"/>
                <a:gd name="T13" fmla="*/ 41275 h 147"/>
                <a:gd name="T14" fmla="*/ 23570 w 177"/>
                <a:gd name="T15" fmla="*/ 53068 h 147"/>
                <a:gd name="T16" fmla="*/ 23570 w 177"/>
                <a:gd name="T17" fmla="*/ 58964 h 147"/>
                <a:gd name="T18" fmla="*/ 29463 w 177"/>
                <a:gd name="T19" fmla="*/ 70757 h 147"/>
                <a:gd name="T20" fmla="*/ 35355 w 177"/>
                <a:gd name="T21" fmla="*/ 82550 h 147"/>
                <a:gd name="T22" fmla="*/ 41248 w 177"/>
                <a:gd name="T23" fmla="*/ 88446 h 147"/>
                <a:gd name="T24" fmla="*/ 47141 w 177"/>
                <a:gd name="T25" fmla="*/ 100239 h 147"/>
                <a:gd name="T26" fmla="*/ 41248 w 177"/>
                <a:gd name="T27" fmla="*/ 112032 h 147"/>
                <a:gd name="T28" fmla="*/ 47141 w 177"/>
                <a:gd name="T29" fmla="*/ 123825 h 147"/>
                <a:gd name="T30" fmla="*/ 47141 w 177"/>
                <a:gd name="T31" fmla="*/ 141514 h 147"/>
                <a:gd name="T32" fmla="*/ 53033 w 177"/>
                <a:gd name="T33" fmla="*/ 153307 h 147"/>
                <a:gd name="T34" fmla="*/ 47141 w 177"/>
                <a:gd name="T35" fmla="*/ 165100 h 147"/>
                <a:gd name="T36" fmla="*/ 35355 w 177"/>
                <a:gd name="T37" fmla="*/ 176893 h 147"/>
                <a:gd name="T38" fmla="*/ 29463 w 177"/>
                <a:gd name="T39" fmla="*/ 188686 h 147"/>
                <a:gd name="T40" fmla="*/ 23570 w 177"/>
                <a:gd name="T41" fmla="*/ 200479 h 147"/>
                <a:gd name="T42" fmla="*/ 11785 w 177"/>
                <a:gd name="T43" fmla="*/ 212271 h 147"/>
                <a:gd name="T44" fmla="*/ 11785 w 177"/>
                <a:gd name="T45" fmla="*/ 229961 h 147"/>
                <a:gd name="T46" fmla="*/ 17678 w 177"/>
                <a:gd name="T47" fmla="*/ 241754 h 147"/>
                <a:gd name="T48" fmla="*/ 11785 w 177"/>
                <a:gd name="T49" fmla="*/ 253546 h 147"/>
                <a:gd name="T50" fmla="*/ 11785 w 177"/>
                <a:gd name="T51" fmla="*/ 265339 h 147"/>
                <a:gd name="T52" fmla="*/ 23570 w 177"/>
                <a:gd name="T53" fmla="*/ 277132 h 147"/>
                <a:gd name="T54" fmla="*/ 29463 w 177"/>
                <a:gd name="T55" fmla="*/ 288925 h 147"/>
                <a:gd name="T56" fmla="*/ 41248 w 177"/>
                <a:gd name="T57" fmla="*/ 283029 h 147"/>
                <a:gd name="T58" fmla="*/ 47141 w 177"/>
                <a:gd name="T59" fmla="*/ 271236 h 147"/>
                <a:gd name="T60" fmla="*/ 64818 w 177"/>
                <a:gd name="T61" fmla="*/ 271236 h 147"/>
                <a:gd name="T62" fmla="*/ 82496 w 177"/>
                <a:gd name="T63" fmla="*/ 277132 h 147"/>
                <a:gd name="T64" fmla="*/ 94281 w 177"/>
                <a:gd name="T65" fmla="*/ 283029 h 147"/>
                <a:gd name="T66" fmla="*/ 111959 w 177"/>
                <a:gd name="T67" fmla="*/ 277132 h 147"/>
                <a:gd name="T68" fmla="*/ 129637 w 177"/>
                <a:gd name="T69" fmla="*/ 277132 h 147"/>
                <a:gd name="T70" fmla="*/ 147314 w 177"/>
                <a:gd name="T71" fmla="*/ 277132 h 147"/>
                <a:gd name="T72" fmla="*/ 159100 w 177"/>
                <a:gd name="T73" fmla="*/ 283029 h 147"/>
                <a:gd name="T74" fmla="*/ 170885 w 177"/>
                <a:gd name="T75" fmla="*/ 277132 h 147"/>
                <a:gd name="T76" fmla="*/ 182670 w 177"/>
                <a:gd name="T77" fmla="*/ 283029 h 147"/>
                <a:gd name="T78" fmla="*/ 194455 w 177"/>
                <a:gd name="T79" fmla="*/ 277132 h 147"/>
                <a:gd name="T80" fmla="*/ 206240 w 177"/>
                <a:gd name="T81" fmla="*/ 271236 h 147"/>
                <a:gd name="T82" fmla="*/ 206240 w 177"/>
                <a:gd name="T83" fmla="*/ 253546 h 147"/>
                <a:gd name="T84" fmla="*/ 212133 w 177"/>
                <a:gd name="T85" fmla="*/ 247650 h 147"/>
                <a:gd name="T86" fmla="*/ 218025 w 177"/>
                <a:gd name="T87" fmla="*/ 247650 h 147"/>
                <a:gd name="T88" fmla="*/ 235703 w 177"/>
                <a:gd name="T89" fmla="*/ 247650 h 147"/>
                <a:gd name="T90" fmla="*/ 247488 w 177"/>
                <a:gd name="T91" fmla="*/ 241754 h 147"/>
                <a:gd name="T92" fmla="*/ 259273 w 177"/>
                <a:gd name="T93" fmla="*/ 229961 h 147"/>
                <a:gd name="T94" fmla="*/ 265166 w 177"/>
                <a:gd name="T95" fmla="*/ 218168 h 147"/>
                <a:gd name="T96" fmla="*/ 271059 w 177"/>
                <a:gd name="T97" fmla="*/ 212271 h 147"/>
                <a:gd name="T98" fmla="*/ 271059 w 177"/>
                <a:gd name="T99" fmla="*/ 194582 h 147"/>
                <a:gd name="T100" fmla="*/ 288736 w 177"/>
                <a:gd name="T101" fmla="*/ 188686 h 147"/>
                <a:gd name="T102" fmla="*/ 294629 w 177"/>
                <a:gd name="T103" fmla="*/ 188686 h 147"/>
                <a:gd name="T104" fmla="*/ 300521 w 177"/>
                <a:gd name="T105" fmla="*/ 176893 h 147"/>
                <a:gd name="T106" fmla="*/ 306414 w 177"/>
                <a:gd name="T107" fmla="*/ 165100 h 147"/>
                <a:gd name="T108" fmla="*/ 318199 w 177"/>
                <a:gd name="T109" fmla="*/ 159204 h 147"/>
                <a:gd name="T110" fmla="*/ 335877 w 177"/>
                <a:gd name="T111" fmla="*/ 165100 h 147"/>
                <a:gd name="T112" fmla="*/ 335877 w 177"/>
                <a:gd name="T113" fmla="*/ 147411 h 147"/>
                <a:gd name="T114" fmla="*/ 347662 w 177"/>
                <a:gd name="T115" fmla="*/ 147411 h 1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77" h="147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9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9" y="15"/>
                  </a:lnTo>
                  <a:lnTo>
                    <a:pt x="9" y="18"/>
                  </a:lnTo>
                  <a:lnTo>
                    <a:pt x="9" y="21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5" y="27"/>
                  </a:lnTo>
                  <a:lnTo>
                    <a:pt x="12" y="27"/>
                  </a:lnTo>
                  <a:lnTo>
                    <a:pt x="9" y="27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2" y="36"/>
                  </a:lnTo>
                  <a:lnTo>
                    <a:pt x="15" y="36"/>
                  </a:lnTo>
                  <a:lnTo>
                    <a:pt x="15" y="39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1" y="51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1" y="54"/>
                  </a:lnTo>
                  <a:lnTo>
                    <a:pt x="21" y="57"/>
                  </a:lnTo>
                  <a:lnTo>
                    <a:pt x="24" y="57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69"/>
                  </a:lnTo>
                  <a:lnTo>
                    <a:pt x="24" y="72"/>
                  </a:lnTo>
                  <a:lnTo>
                    <a:pt x="24" y="75"/>
                  </a:lnTo>
                  <a:lnTo>
                    <a:pt x="27" y="75"/>
                  </a:lnTo>
                  <a:lnTo>
                    <a:pt x="27" y="78"/>
                  </a:lnTo>
                  <a:lnTo>
                    <a:pt x="24" y="78"/>
                  </a:lnTo>
                  <a:lnTo>
                    <a:pt x="24" y="81"/>
                  </a:lnTo>
                  <a:lnTo>
                    <a:pt x="24" y="84"/>
                  </a:lnTo>
                  <a:lnTo>
                    <a:pt x="21" y="84"/>
                  </a:lnTo>
                  <a:lnTo>
                    <a:pt x="21" y="87"/>
                  </a:lnTo>
                  <a:lnTo>
                    <a:pt x="18" y="90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5" y="96"/>
                  </a:lnTo>
                  <a:lnTo>
                    <a:pt x="15" y="99"/>
                  </a:lnTo>
                  <a:lnTo>
                    <a:pt x="12" y="99"/>
                  </a:lnTo>
                  <a:lnTo>
                    <a:pt x="12" y="102"/>
                  </a:lnTo>
                  <a:lnTo>
                    <a:pt x="9" y="102"/>
                  </a:lnTo>
                  <a:lnTo>
                    <a:pt x="6" y="105"/>
                  </a:lnTo>
                  <a:lnTo>
                    <a:pt x="6" y="108"/>
                  </a:lnTo>
                  <a:lnTo>
                    <a:pt x="6" y="111"/>
                  </a:lnTo>
                  <a:lnTo>
                    <a:pt x="6" y="114"/>
                  </a:lnTo>
                  <a:lnTo>
                    <a:pt x="6" y="117"/>
                  </a:lnTo>
                  <a:lnTo>
                    <a:pt x="9" y="117"/>
                  </a:lnTo>
                  <a:lnTo>
                    <a:pt x="9" y="120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32"/>
                  </a:lnTo>
                  <a:lnTo>
                    <a:pt x="9" y="135"/>
                  </a:lnTo>
                  <a:lnTo>
                    <a:pt x="6" y="135"/>
                  </a:lnTo>
                  <a:lnTo>
                    <a:pt x="9" y="138"/>
                  </a:lnTo>
                  <a:lnTo>
                    <a:pt x="9" y="141"/>
                  </a:lnTo>
                  <a:lnTo>
                    <a:pt x="12" y="141"/>
                  </a:lnTo>
                  <a:lnTo>
                    <a:pt x="12" y="144"/>
                  </a:lnTo>
                  <a:lnTo>
                    <a:pt x="12" y="147"/>
                  </a:lnTo>
                  <a:lnTo>
                    <a:pt x="15" y="147"/>
                  </a:lnTo>
                  <a:lnTo>
                    <a:pt x="15" y="144"/>
                  </a:lnTo>
                  <a:lnTo>
                    <a:pt x="18" y="144"/>
                  </a:lnTo>
                  <a:lnTo>
                    <a:pt x="21" y="144"/>
                  </a:lnTo>
                  <a:lnTo>
                    <a:pt x="21" y="141"/>
                  </a:lnTo>
                  <a:lnTo>
                    <a:pt x="24" y="141"/>
                  </a:lnTo>
                  <a:lnTo>
                    <a:pt x="24" y="138"/>
                  </a:lnTo>
                  <a:lnTo>
                    <a:pt x="27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6" y="138"/>
                  </a:lnTo>
                  <a:lnTo>
                    <a:pt x="39" y="141"/>
                  </a:lnTo>
                  <a:lnTo>
                    <a:pt x="42" y="141"/>
                  </a:lnTo>
                  <a:lnTo>
                    <a:pt x="45" y="144"/>
                  </a:lnTo>
                  <a:lnTo>
                    <a:pt x="45" y="141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4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3" y="141"/>
                  </a:lnTo>
                  <a:lnTo>
                    <a:pt x="66" y="141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81" y="141"/>
                  </a:lnTo>
                  <a:lnTo>
                    <a:pt x="81" y="144"/>
                  </a:lnTo>
                  <a:lnTo>
                    <a:pt x="84" y="144"/>
                  </a:lnTo>
                  <a:lnTo>
                    <a:pt x="84" y="141"/>
                  </a:lnTo>
                  <a:lnTo>
                    <a:pt x="87" y="141"/>
                  </a:lnTo>
                  <a:lnTo>
                    <a:pt x="90" y="141"/>
                  </a:lnTo>
                  <a:lnTo>
                    <a:pt x="90" y="144"/>
                  </a:lnTo>
                  <a:lnTo>
                    <a:pt x="93" y="144"/>
                  </a:lnTo>
                  <a:lnTo>
                    <a:pt x="96" y="144"/>
                  </a:lnTo>
                  <a:lnTo>
                    <a:pt x="99" y="144"/>
                  </a:lnTo>
                  <a:lnTo>
                    <a:pt x="99" y="141"/>
                  </a:lnTo>
                  <a:lnTo>
                    <a:pt x="102" y="141"/>
                  </a:lnTo>
                  <a:lnTo>
                    <a:pt x="102" y="138"/>
                  </a:lnTo>
                  <a:lnTo>
                    <a:pt x="105" y="138"/>
                  </a:lnTo>
                  <a:lnTo>
                    <a:pt x="105" y="135"/>
                  </a:lnTo>
                  <a:lnTo>
                    <a:pt x="105" y="132"/>
                  </a:lnTo>
                  <a:lnTo>
                    <a:pt x="105" y="129"/>
                  </a:lnTo>
                  <a:lnTo>
                    <a:pt x="102" y="129"/>
                  </a:lnTo>
                  <a:lnTo>
                    <a:pt x="105" y="126"/>
                  </a:lnTo>
                  <a:lnTo>
                    <a:pt x="108" y="126"/>
                  </a:lnTo>
                  <a:lnTo>
                    <a:pt x="108" y="123"/>
                  </a:lnTo>
                  <a:lnTo>
                    <a:pt x="108" y="126"/>
                  </a:lnTo>
                  <a:lnTo>
                    <a:pt x="111" y="126"/>
                  </a:lnTo>
                  <a:lnTo>
                    <a:pt x="114" y="126"/>
                  </a:lnTo>
                  <a:lnTo>
                    <a:pt x="117" y="126"/>
                  </a:lnTo>
                  <a:lnTo>
                    <a:pt x="120" y="126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0"/>
                  </a:lnTo>
                  <a:lnTo>
                    <a:pt x="129" y="117"/>
                  </a:lnTo>
                  <a:lnTo>
                    <a:pt x="132" y="117"/>
                  </a:lnTo>
                  <a:lnTo>
                    <a:pt x="132" y="114"/>
                  </a:lnTo>
                  <a:lnTo>
                    <a:pt x="135" y="114"/>
                  </a:lnTo>
                  <a:lnTo>
                    <a:pt x="135" y="111"/>
                  </a:lnTo>
                  <a:lnTo>
                    <a:pt x="138" y="111"/>
                  </a:lnTo>
                  <a:lnTo>
                    <a:pt x="135" y="108"/>
                  </a:lnTo>
                  <a:lnTo>
                    <a:pt x="138" y="108"/>
                  </a:lnTo>
                  <a:lnTo>
                    <a:pt x="138" y="105"/>
                  </a:lnTo>
                  <a:lnTo>
                    <a:pt x="138" y="102"/>
                  </a:lnTo>
                  <a:lnTo>
                    <a:pt x="138" y="99"/>
                  </a:lnTo>
                  <a:lnTo>
                    <a:pt x="141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3"/>
                  </a:lnTo>
                  <a:lnTo>
                    <a:pt x="147" y="96"/>
                  </a:lnTo>
                  <a:lnTo>
                    <a:pt x="150" y="96"/>
                  </a:lnTo>
                  <a:lnTo>
                    <a:pt x="150" y="93"/>
                  </a:lnTo>
                  <a:lnTo>
                    <a:pt x="153" y="93"/>
                  </a:lnTo>
                  <a:lnTo>
                    <a:pt x="153" y="90"/>
                  </a:lnTo>
                  <a:lnTo>
                    <a:pt x="156" y="90"/>
                  </a:lnTo>
                  <a:lnTo>
                    <a:pt x="156" y="87"/>
                  </a:lnTo>
                  <a:lnTo>
                    <a:pt x="156" y="84"/>
                  </a:lnTo>
                  <a:lnTo>
                    <a:pt x="159" y="84"/>
                  </a:lnTo>
                  <a:lnTo>
                    <a:pt x="162" y="84"/>
                  </a:lnTo>
                  <a:lnTo>
                    <a:pt x="162" y="81"/>
                  </a:lnTo>
                  <a:lnTo>
                    <a:pt x="165" y="84"/>
                  </a:lnTo>
                  <a:lnTo>
                    <a:pt x="168" y="84"/>
                  </a:lnTo>
                  <a:lnTo>
                    <a:pt x="171" y="84"/>
                  </a:lnTo>
                  <a:lnTo>
                    <a:pt x="171" y="81"/>
                  </a:lnTo>
                  <a:lnTo>
                    <a:pt x="171" y="78"/>
                  </a:lnTo>
                  <a:lnTo>
                    <a:pt x="171" y="75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5"/>
                  </a:lnTo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75" name="Freeform 33">
              <a:extLst>
                <a:ext uri="{FF2B5EF4-FFF2-40B4-BE49-F238E27FC236}">
                  <a16:creationId xmlns:a16="http://schemas.microsoft.com/office/drawing/2014/main" id="{9151F0E4-3385-481D-88D6-EE566549E4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1200" y="2736850"/>
              <a:ext cx="334963" cy="336550"/>
            </a:xfrm>
            <a:custGeom>
              <a:avLst/>
              <a:gdLst>
                <a:gd name="T0" fmla="*/ 270321 w 171"/>
                <a:gd name="T1" fmla="*/ 5904 h 171"/>
                <a:gd name="T2" fmla="*/ 282074 w 171"/>
                <a:gd name="T3" fmla="*/ 11809 h 171"/>
                <a:gd name="T4" fmla="*/ 276198 w 171"/>
                <a:gd name="T5" fmla="*/ 23618 h 171"/>
                <a:gd name="T6" fmla="*/ 258568 w 171"/>
                <a:gd name="T7" fmla="*/ 53139 h 171"/>
                <a:gd name="T8" fmla="*/ 276198 w 171"/>
                <a:gd name="T9" fmla="*/ 64948 h 171"/>
                <a:gd name="T10" fmla="*/ 293827 w 171"/>
                <a:gd name="T11" fmla="*/ 53139 h 171"/>
                <a:gd name="T12" fmla="*/ 323210 w 171"/>
                <a:gd name="T13" fmla="*/ 35426 h 171"/>
                <a:gd name="T14" fmla="*/ 329086 w 171"/>
                <a:gd name="T15" fmla="*/ 59044 h 171"/>
                <a:gd name="T16" fmla="*/ 317333 w 171"/>
                <a:gd name="T17" fmla="*/ 70853 h 171"/>
                <a:gd name="T18" fmla="*/ 299704 w 171"/>
                <a:gd name="T19" fmla="*/ 82661 h 171"/>
                <a:gd name="T20" fmla="*/ 293827 w 171"/>
                <a:gd name="T21" fmla="*/ 106279 h 171"/>
                <a:gd name="T22" fmla="*/ 287951 w 171"/>
                <a:gd name="T23" fmla="*/ 135801 h 171"/>
                <a:gd name="T24" fmla="*/ 276198 w 171"/>
                <a:gd name="T25" fmla="*/ 165323 h 171"/>
                <a:gd name="T26" fmla="*/ 258568 w 171"/>
                <a:gd name="T27" fmla="*/ 165323 h 171"/>
                <a:gd name="T28" fmla="*/ 223309 w 171"/>
                <a:gd name="T29" fmla="*/ 171227 h 171"/>
                <a:gd name="T30" fmla="*/ 217432 w 171"/>
                <a:gd name="T31" fmla="*/ 188940 h 171"/>
                <a:gd name="T32" fmla="*/ 235062 w 171"/>
                <a:gd name="T33" fmla="*/ 212558 h 171"/>
                <a:gd name="T34" fmla="*/ 258568 w 171"/>
                <a:gd name="T35" fmla="*/ 224367 h 171"/>
                <a:gd name="T36" fmla="*/ 270321 w 171"/>
                <a:gd name="T37" fmla="*/ 242080 h 171"/>
                <a:gd name="T38" fmla="*/ 258568 w 171"/>
                <a:gd name="T39" fmla="*/ 247984 h 171"/>
                <a:gd name="T40" fmla="*/ 240938 w 171"/>
                <a:gd name="T41" fmla="*/ 259793 h 171"/>
                <a:gd name="T42" fmla="*/ 223309 w 171"/>
                <a:gd name="T43" fmla="*/ 259793 h 171"/>
                <a:gd name="T44" fmla="*/ 217432 w 171"/>
                <a:gd name="T45" fmla="*/ 277506 h 171"/>
                <a:gd name="T46" fmla="*/ 193926 w 171"/>
                <a:gd name="T47" fmla="*/ 295219 h 171"/>
                <a:gd name="T48" fmla="*/ 188049 w 171"/>
                <a:gd name="T49" fmla="*/ 307028 h 171"/>
                <a:gd name="T50" fmla="*/ 188049 w 171"/>
                <a:gd name="T51" fmla="*/ 318837 h 171"/>
                <a:gd name="T52" fmla="*/ 170420 w 171"/>
                <a:gd name="T53" fmla="*/ 324741 h 171"/>
                <a:gd name="T54" fmla="*/ 170420 w 171"/>
                <a:gd name="T55" fmla="*/ 330646 h 171"/>
                <a:gd name="T56" fmla="*/ 158667 w 171"/>
                <a:gd name="T57" fmla="*/ 324741 h 171"/>
                <a:gd name="T58" fmla="*/ 152790 w 171"/>
                <a:gd name="T59" fmla="*/ 324741 h 171"/>
                <a:gd name="T60" fmla="*/ 135161 w 171"/>
                <a:gd name="T61" fmla="*/ 312932 h 171"/>
                <a:gd name="T62" fmla="*/ 135161 w 171"/>
                <a:gd name="T63" fmla="*/ 295219 h 171"/>
                <a:gd name="T64" fmla="*/ 117531 w 171"/>
                <a:gd name="T65" fmla="*/ 301124 h 171"/>
                <a:gd name="T66" fmla="*/ 94025 w 171"/>
                <a:gd name="T67" fmla="*/ 307028 h 171"/>
                <a:gd name="T68" fmla="*/ 76395 w 171"/>
                <a:gd name="T69" fmla="*/ 307028 h 171"/>
                <a:gd name="T70" fmla="*/ 64642 w 171"/>
                <a:gd name="T71" fmla="*/ 295219 h 171"/>
                <a:gd name="T72" fmla="*/ 58765 w 171"/>
                <a:gd name="T73" fmla="*/ 271602 h 171"/>
                <a:gd name="T74" fmla="*/ 70519 w 171"/>
                <a:gd name="T75" fmla="*/ 253889 h 171"/>
                <a:gd name="T76" fmla="*/ 58765 w 171"/>
                <a:gd name="T77" fmla="*/ 242080 h 171"/>
                <a:gd name="T78" fmla="*/ 35259 w 171"/>
                <a:gd name="T79" fmla="*/ 242080 h 171"/>
                <a:gd name="T80" fmla="*/ 11753 w 171"/>
                <a:gd name="T81" fmla="*/ 253889 h 171"/>
                <a:gd name="T82" fmla="*/ 5877 w 171"/>
                <a:gd name="T83" fmla="*/ 224367 h 171"/>
                <a:gd name="T84" fmla="*/ 17630 w 171"/>
                <a:gd name="T85" fmla="*/ 194845 h 171"/>
                <a:gd name="T86" fmla="*/ 35259 w 171"/>
                <a:gd name="T87" fmla="*/ 183036 h 171"/>
                <a:gd name="T88" fmla="*/ 47012 w 171"/>
                <a:gd name="T89" fmla="*/ 147610 h 171"/>
                <a:gd name="T90" fmla="*/ 64642 w 171"/>
                <a:gd name="T91" fmla="*/ 135801 h 171"/>
                <a:gd name="T92" fmla="*/ 82272 w 171"/>
                <a:gd name="T93" fmla="*/ 141705 h 171"/>
                <a:gd name="T94" fmla="*/ 99901 w 171"/>
                <a:gd name="T95" fmla="*/ 141705 h 171"/>
                <a:gd name="T96" fmla="*/ 117531 w 171"/>
                <a:gd name="T97" fmla="*/ 141705 h 171"/>
                <a:gd name="T98" fmla="*/ 123407 w 171"/>
                <a:gd name="T99" fmla="*/ 123992 h 171"/>
                <a:gd name="T100" fmla="*/ 123407 w 171"/>
                <a:gd name="T101" fmla="*/ 100375 h 171"/>
                <a:gd name="T102" fmla="*/ 141037 w 171"/>
                <a:gd name="T103" fmla="*/ 88566 h 171"/>
                <a:gd name="T104" fmla="*/ 146914 w 171"/>
                <a:gd name="T105" fmla="*/ 64948 h 171"/>
                <a:gd name="T106" fmla="*/ 152790 w 171"/>
                <a:gd name="T107" fmla="*/ 53139 h 171"/>
                <a:gd name="T108" fmla="*/ 152790 w 171"/>
                <a:gd name="T109" fmla="*/ 64948 h 171"/>
                <a:gd name="T110" fmla="*/ 176296 w 171"/>
                <a:gd name="T111" fmla="*/ 53139 h 171"/>
                <a:gd name="T112" fmla="*/ 193926 w 171"/>
                <a:gd name="T113" fmla="*/ 35426 h 171"/>
                <a:gd name="T114" fmla="*/ 217432 w 171"/>
                <a:gd name="T115" fmla="*/ 29522 h 171"/>
                <a:gd name="T116" fmla="*/ 240938 w 171"/>
                <a:gd name="T117" fmla="*/ 23618 h 171"/>
                <a:gd name="T118" fmla="*/ 246815 w 171"/>
                <a:gd name="T119" fmla="*/ 23618 h 171"/>
                <a:gd name="T120" fmla="*/ 240938 w 171"/>
                <a:gd name="T121" fmla="*/ 5904 h 1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1" h="171">
                  <a:moveTo>
                    <a:pt x="123" y="3"/>
                  </a:moveTo>
                  <a:lnTo>
                    <a:pt x="126" y="3"/>
                  </a:lnTo>
                  <a:lnTo>
                    <a:pt x="132" y="0"/>
                  </a:lnTo>
                  <a:lnTo>
                    <a:pt x="135" y="0"/>
                  </a:lnTo>
                  <a:lnTo>
                    <a:pt x="138" y="3"/>
                  </a:lnTo>
                  <a:lnTo>
                    <a:pt x="138" y="6"/>
                  </a:lnTo>
                  <a:lnTo>
                    <a:pt x="141" y="6"/>
                  </a:lnTo>
                  <a:lnTo>
                    <a:pt x="144" y="3"/>
                  </a:lnTo>
                  <a:lnTo>
                    <a:pt x="141" y="6"/>
                  </a:lnTo>
                  <a:lnTo>
                    <a:pt x="144" y="6"/>
                  </a:lnTo>
                  <a:lnTo>
                    <a:pt x="141" y="9"/>
                  </a:lnTo>
                  <a:lnTo>
                    <a:pt x="138" y="6"/>
                  </a:lnTo>
                  <a:lnTo>
                    <a:pt x="138" y="9"/>
                  </a:lnTo>
                  <a:lnTo>
                    <a:pt x="141" y="9"/>
                  </a:lnTo>
                  <a:lnTo>
                    <a:pt x="141" y="12"/>
                  </a:lnTo>
                  <a:lnTo>
                    <a:pt x="141" y="15"/>
                  </a:lnTo>
                  <a:lnTo>
                    <a:pt x="138" y="18"/>
                  </a:lnTo>
                  <a:lnTo>
                    <a:pt x="135" y="21"/>
                  </a:lnTo>
                  <a:lnTo>
                    <a:pt x="132" y="24"/>
                  </a:lnTo>
                  <a:lnTo>
                    <a:pt x="132" y="27"/>
                  </a:lnTo>
                  <a:lnTo>
                    <a:pt x="135" y="27"/>
                  </a:lnTo>
                  <a:lnTo>
                    <a:pt x="135" y="30"/>
                  </a:lnTo>
                  <a:lnTo>
                    <a:pt x="135" y="33"/>
                  </a:lnTo>
                  <a:lnTo>
                    <a:pt x="138" y="33"/>
                  </a:lnTo>
                  <a:lnTo>
                    <a:pt x="141" y="33"/>
                  </a:lnTo>
                  <a:lnTo>
                    <a:pt x="141" y="30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50" y="27"/>
                  </a:lnTo>
                  <a:lnTo>
                    <a:pt x="150" y="24"/>
                  </a:lnTo>
                  <a:lnTo>
                    <a:pt x="153" y="24"/>
                  </a:lnTo>
                  <a:lnTo>
                    <a:pt x="156" y="21"/>
                  </a:lnTo>
                  <a:lnTo>
                    <a:pt x="162" y="21"/>
                  </a:lnTo>
                  <a:lnTo>
                    <a:pt x="165" y="18"/>
                  </a:lnTo>
                  <a:lnTo>
                    <a:pt x="165" y="21"/>
                  </a:lnTo>
                  <a:lnTo>
                    <a:pt x="168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2" y="33"/>
                  </a:lnTo>
                  <a:lnTo>
                    <a:pt x="165" y="36"/>
                  </a:lnTo>
                  <a:lnTo>
                    <a:pt x="162" y="36"/>
                  </a:lnTo>
                  <a:lnTo>
                    <a:pt x="159" y="36"/>
                  </a:lnTo>
                  <a:lnTo>
                    <a:pt x="159" y="39"/>
                  </a:lnTo>
                  <a:lnTo>
                    <a:pt x="159" y="42"/>
                  </a:lnTo>
                  <a:lnTo>
                    <a:pt x="156" y="42"/>
                  </a:lnTo>
                  <a:lnTo>
                    <a:pt x="153" y="42"/>
                  </a:lnTo>
                  <a:lnTo>
                    <a:pt x="156" y="45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53" y="51"/>
                  </a:lnTo>
                  <a:lnTo>
                    <a:pt x="150" y="54"/>
                  </a:lnTo>
                  <a:lnTo>
                    <a:pt x="147" y="57"/>
                  </a:lnTo>
                  <a:lnTo>
                    <a:pt x="150" y="60"/>
                  </a:lnTo>
                  <a:lnTo>
                    <a:pt x="147" y="63"/>
                  </a:lnTo>
                  <a:lnTo>
                    <a:pt x="147" y="66"/>
                  </a:lnTo>
                  <a:lnTo>
                    <a:pt x="147" y="69"/>
                  </a:lnTo>
                  <a:lnTo>
                    <a:pt x="147" y="72"/>
                  </a:lnTo>
                  <a:lnTo>
                    <a:pt x="141" y="72"/>
                  </a:lnTo>
                  <a:lnTo>
                    <a:pt x="141" y="78"/>
                  </a:lnTo>
                  <a:lnTo>
                    <a:pt x="141" y="81"/>
                  </a:lnTo>
                  <a:lnTo>
                    <a:pt x="141" y="84"/>
                  </a:lnTo>
                  <a:lnTo>
                    <a:pt x="138" y="84"/>
                  </a:lnTo>
                  <a:lnTo>
                    <a:pt x="135" y="84"/>
                  </a:lnTo>
                  <a:lnTo>
                    <a:pt x="132" y="84"/>
                  </a:lnTo>
                  <a:lnTo>
                    <a:pt x="132" y="81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0" y="81"/>
                  </a:lnTo>
                  <a:lnTo>
                    <a:pt x="117" y="84"/>
                  </a:lnTo>
                  <a:lnTo>
                    <a:pt x="117" y="90"/>
                  </a:lnTo>
                  <a:lnTo>
                    <a:pt x="114" y="87"/>
                  </a:lnTo>
                  <a:lnTo>
                    <a:pt x="111" y="90"/>
                  </a:lnTo>
                  <a:lnTo>
                    <a:pt x="108" y="90"/>
                  </a:lnTo>
                  <a:lnTo>
                    <a:pt x="108" y="93"/>
                  </a:lnTo>
                  <a:lnTo>
                    <a:pt x="108" y="96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17" y="105"/>
                  </a:lnTo>
                  <a:lnTo>
                    <a:pt x="120" y="108"/>
                  </a:lnTo>
                  <a:lnTo>
                    <a:pt x="120" y="111"/>
                  </a:lnTo>
                  <a:lnTo>
                    <a:pt x="123" y="114"/>
                  </a:lnTo>
                  <a:lnTo>
                    <a:pt x="126" y="117"/>
                  </a:lnTo>
                  <a:lnTo>
                    <a:pt x="129" y="114"/>
                  </a:lnTo>
                  <a:lnTo>
                    <a:pt x="132" y="114"/>
                  </a:lnTo>
                  <a:lnTo>
                    <a:pt x="135" y="111"/>
                  </a:lnTo>
                  <a:lnTo>
                    <a:pt x="135" y="117"/>
                  </a:lnTo>
                  <a:lnTo>
                    <a:pt x="138" y="117"/>
                  </a:lnTo>
                  <a:lnTo>
                    <a:pt x="141" y="120"/>
                  </a:lnTo>
                  <a:lnTo>
                    <a:pt x="138" y="123"/>
                  </a:lnTo>
                  <a:lnTo>
                    <a:pt x="135" y="123"/>
                  </a:lnTo>
                  <a:lnTo>
                    <a:pt x="132" y="123"/>
                  </a:lnTo>
                  <a:lnTo>
                    <a:pt x="132" y="126"/>
                  </a:lnTo>
                  <a:lnTo>
                    <a:pt x="135" y="126"/>
                  </a:lnTo>
                  <a:lnTo>
                    <a:pt x="132" y="126"/>
                  </a:lnTo>
                  <a:lnTo>
                    <a:pt x="132" y="129"/>
                  </a:lnTo>
                  <a:lnTo>
                    <a:pt x="132" y="132"/>
                  </a:lnTo>
                  <a:lnTo>
                    <a:pt x="129" y="132"/>
                  </a:lnTo>
                  <a:lnTo>
                    <a:pt x="126" y="132"/>
                  </a:lnTo>
                  <a:lnTo>
                    <a:pt x="123" y="132"/>
                  </a:lnTo>
                  <a:lnTo>
                    <a:pt x="120" y="132"/>
                  </a:lnTo>
                  <a:lnTo>
                    <a:pt x="120" y="135"/>
                  </a:lnTo>
                  <a:lnTo>
                    <a:pt x="117" y="135"/>
                  </a:lnTo>
                  <a:lnTo>
                    <a:pt x="117" y="132"/>
                  </a:lnTo>
                  <a:lnTo>
                    <a:pt x="114" y="132"/>
                  </a:lnTo>
                  <a:lnTo>
                    <a:pt x="117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11" y="141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05" y="144"/>
                  </a:lnTo>
                  <a:lnTo>
                    <a:pt x="102" y="144"/>
                  </a:lnTo>
                  <a:lnTo>
                    <a:pt x="99" y="150"/>
                  </a:lnTo>
                  <a:lnTo>
                    <a:pt x="102" y="150"/>
                  </a:lnTo>
                  <a:lnTo>
                    <a:pt x="102" y="153"/>
                  </a:lnTo>
                  <a:lnTo>
                    <a:pt x="102" y="156"/>
                  </a:lnTo>
                  <a:lnTo>
                    <a:pt x="99" y="156"/>
                  </a:lnTo>
                  <a:lnTo>
                    <a:pt x="96" y="156"/>
                  </a:lnTo>
                  <a:lnTo>
                    <a:pt x="93" y="159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71"/>
                  </a:lnTo>
                  <a:lnTo>
                    <a:pt x="87" y="168"/>
                  </a:lnTo>
                  <a:lnTo>
                    <a:pt x="84" y="168"/>
                  </a:lnTo>
                  <a:lnTo>
                    <a:pt x="84" y="165"/>
                  </a:lnTo>
                  <a:lnTo>
                    <a:pt x="84" y="162"/>
                  </a:lnTo>
                  <a:lnTo>
                    <a:pt x="81" y="162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78" y="168"/>
                  </a:lnTo>
                  <a:lnTo>
                    <a:pt x="78" y="165"/>
                  </a:lnTo>
                  <a:lnTo>
                    <a:pt x="78" y="162"/>
                  </a:lnTo>
                  <a:lnTo>
                    <a:pt x="75" y="162"/>
                  </a:lnTo>
                  <a:lnTo>
                    <a:pt x="72" y="162"/>
                  </a:lnTo>
                  <a:lnTo>
                    <a:pt x="72" y="159"/>
                  </a:lnTo>
                  <a:lnTo>
                    <a:pt x="69" y="159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6" y="153"/>
                  </a:lnTo>
                  <a:lnTo>
                    <a:pt x="66" y="150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3" y="147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60" y="153"/>
                  </a:lnTo>
                  <a:lnTo>
                    <a:pt x="57" y="153"/>
                  </a:lnTo>
                  <a:lnTo>
                    <a:pt x="54" y="153"/>
                  </a:lnTo>
                  <a:lnTo>
                    <a:pt x="51" y="153"/>
                  </a:lnTo>
                  <a:lnTo>
                    <a:pt x="48" y="153"/>
                  </a:lnTo>
                  <a:lnTo>
                    <a:pt x="48" y="156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45" y="156"/>
                  </a:lnTo>
                  <a:lnTo>
                    <a:pt x="42" y="156"/>
                  </a:lnTo>
                  <a:lnTo>
                    <a:pt x="39" y="156"/>
                  </a:lnTo>
                  <a:lnTo>
                    <a:pt x="36" y="156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47"/>
                  </a:lnTo>
                  <a:lnTo>
                    <a:pt x="33" y="150"/>
                  </a:lnTo>
                  <a:lnTo>
                    <a:pt x="33" y="147"/>
                  </a:lnTo>
                  <a:lnTo>
                    <a:pt x="30" y="144"/>
                  </a:lnTo>
                  <a:lnTo>
                    <a:pt x="33" y="141"/>
                  </a:lnTo>
                  <a:lnTo>
                    <a:pt x="33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3" y="135"/>
                  </a:lnTo>
                  <a:lnTo>
                    <a:pt x="36" y="135"/>
                  </a:lnTo>
                  <a:lnTo>
                    <a:pt x="33" y="132"/>
                  </a:lnTo>
                  <a:lnTo>
                    <a:pt x="36" y="129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6"/>
                  </a:lnTo>
                  <a:lnTo>
                    <a:pt x="30" y="126"/>
                  </a:lnTo>
                  <a:lnTo>
                    <a:pt x="3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9" y="129"/>
                  </a:lnTo>
                  <a:lnTo>
                    <a:pt x="6" y="129"/>
                  </a:lnTo>
                  <a:lnTo>
                    <a:pt x="3" y="132"/>
                  </a:lnTo>
                  <a:lnTo>
                    <a:pt x="3" y="126"/>
                  </a:lnTo>
                  <a:lnTo>
                    <a:pt x="0" y="120"/>
                  </a:lnTo>
                  <a:lnTo>
                    <a:pt x="3" y="117"/>
                  </a:lnTo>
                  <a:lnTo>
                    <a:pt x="3" y="114"/>
                  </a:lnTo>
                  <a:lnTo>
                    <a:pt x="6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9" y="105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5" y="99"/>
                  </a:lnTo>
                  <a:lnTo>
                    <a:pt x="15" y="96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21" y="87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5"/>
                  </a:lnTo>
                  <a:lnTo>
                    <a:pt x="24" y="75"/>
                  </a:lnTo>
                  <a:lnTo>
                    <a:pt x="21" y="72"/>
                  </a:lnTo>
                  <a:lnTo>
                    <a:pt x="24" y="72"/>
                  </a:lnTo>
                  <a:lnTo>
                    <a:pt x="27" y="72"/>
                  </a:lnTo>
                  <a:lnTo>
                    <a:pt x="30" y="69"/>
                  </a:lnTo>
                  <a:lnTo>
                    <a:pt x="33" y="69"/>
                  </a:lnTo>
                  <a:lnTo>
                    <a:pt x="33" y="66"/>
                  </a:lnTo>
                  <a:lnTo>
                    <a:pt x="36" y="66"/>
                  </a:lnTo>
                  <a:lnTo>
                    <a:pt x="39" y="66"/>
                  </a:lnTo>
                  <a:lnTo>
                    <a:pt x="39" y="69"/>
                  </a:lnTo>
                  <a:lnTo>
                    <a:pt x="42" y="72"/>
                  </a:lnTo>
                  <a:lnTo>
                    <a:pt x="45" y="69"/>
                  </a:lnTo>
                  <a:lnTo>
                    <a:pt x="45" y="72"/>
                  </a:lnTo>
                  <a:lnTo>
                    <a:pt x="45" y="75"/>
                  </a:lnTo>
                  <a:lnTo>
                    <a:pt x="48" y="75"/>
                  </a:lnTo>
                  <a:lnTo>
                    <a:pt x="51" y="72"/>
                  </a:lnTo>
                  <a:lnTo>
                    <a:pt x="54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60" y="69"/>
                  </a:lnTo>
                  <a:lnTo>
                    <a:pt x="60" y="72"/>
                  </a:lnTo>
                  <a:lnTo>
                    <a:pt x="60" y="69"/>
                  </a:lnTo>
                  <a:lnTo>
                    <a:pt x="63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3" y="63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57"/>
                  </a:lnTo>
                  <a:lnTo>
                    <a:pt x="63" y="54"/>
                  </a:lnTo>
                  <a:lnTo>
                    <a:pt x="63" y="51"/>
                  </a:lnTo>
                  <a:lnTo>
                    <a:pt x="66" y="51"/>
                  </a:lnTo>
                  <a:lnTo>
                    <a:pt x="66" y="48"/>
                  </a:lnTo>
                  <a:lnTo>
                    <a:pt x="69" y="48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2"/>
                  </a:lnTo>
                  <a:lnTo>
                    <a:pt x="75" y="42"/>
                  </a:lnTo>
                  <a:lnTo>
                    <a:pt x="75" y="39"/>
                  </a:lnTo>
                  <a:lnTo>
                    <a:pt x="75" y="36"/>
                  </a:lnTo>
                  <a:lnTo>
                    <a:pt x="75" y="33"/>
                  </a:lnTo>
                  <a:lnTo>
                    <a:pt x="72" y="30"/>
                  </a:lnTo>
                  <a:lnTo>
                    <a:pt x="72" y="27"/>
                  </a:lnTo>
                  <a:lnTo>
                    <a:pt x="75" y="27"/>
                  </a:lnTo>
                  <a:lnTo>
                    <a:pt x="78" y="24"/>
                  </a:lnTo>
                  <a:lnTo>
                    <a:pt x="78" y="27"/>
                  </a:lnTo>
                  <a:lnTo>
                    <a:pt x="81" y="24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8" y="30"/>
                  </a:lnTo>
                  <a:lnTo>
                    <a:pt x="78" y="33"/>
                  </a:lnTo>
                  <a:lnTo>
                    <a:pt x="81" y="30"/>
                  </a:lnTo>
                  <a:lnTo>
                    <a:pt x="84" y="30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3" y="27"/>
                  </a:lnTo>
                  <a:lnTo>
                    <a:pt x="93" y="21"/>
                  </a:lnTo>
                  <a:lnTo>
                    <a:pt x="93" y="18"/>
                  </a:lnTo>
                  <a:lnTo>
                    <a:pt x="96" y="18"/>
                  </a:lnTo>
                  <a:lnTo>
                    <a:pt x="99" y="18"/>
                  </a:lnTo>
                  <a:lnTo>
                    <a:pt x="99" y="21"/>
                  </a:lnTo>
                  <a:lnTo>
                    <a:pt x="105" y="21"/>
                  </a:lnTo>
                  <a:lnTo>
                    <a:pt x="105" y="18"/>
                  </a:lnTo>
                  <a:lnTo>
                    <a:pt x="111" y="18"/>
                  </a:lnTo>
                  <a:lnTo>
                    <a:pt x="111" y="15"/>
                  </a:lnTo>
                  <a:lnTo>
                    <a:pt x="114" y="15"/>
                  </a:lnTo>
                  <a:lnTo>
                    <a:pt x="117" y="15"/>
                  </a:lnTo>
                  <a:lnTo>
                    <a:pt x="120" y="18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6" y="9"/>
                  </a:lnTo>
                  <a:lnTo>
                    <a:pt x="123" y="12"/>
                  </a:lnTo>
                  <a:lnTo>
                    <a:pt x="120" y="9"/>
                  </a:lnTo>
                  <a:lnTo>
                    <a:pt x="120" y="6"/>
                  </a:lnTo>
                  <a:lnTo>
                    <a:pt x="123" y="3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6" name="Freeform 34">
              <a:extLst>
                <a:ext uri="{FF2B5EF4-FFF2-40B4-BE49-F238E27FC236}">
                  <a16:creationId xmlns:a16="http://schemas.microsoft.com/office/drawing/2014/main" id="{4E760568-4B95-4883-A598-B096D137BD7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16513" y="2849563"/>
              <a:ext cx="217487" cy="295275"/>
            </a:xfrm>
            <a:custGeom>
              <a:avLst/>
              <a:gdLst>
                <a:gd name="T0" fmla="*/ 193975 w 111"/>
                <a:gd name="T1" fmla="*/ 47244 h 150"/>
                <a:gd name="T2" fmla="*/ 211609 w 111"/>
                <a:gd name="T3" fmla="*/ 53150 h 150"/>
                <a:gd name="T4" fmla="*/ 211609 w 111"/>
                <a:gd name="T5" fmla="*/ 70866 h 150"/>
                <a:gd name="T6" fmla="*/ 211609 w 111"/>
                <a:gd name="T7" fmla="*/ 88583 h 150"/>
                <a:gd name="T8" fmla="*/ 211609 w 111"/>
                <a:gd name="T9" fmla="*/ 106299 h 150"/>
                <a:gd name="T10" fmla="*/ 211609 w 111"/>
                <a:gd name="T11" fmla="*/ 124016 h 150"/>
                <a:gd name="T12" fmla="*/ 217487 w 111"/>
                <a:gd name="T13" fmla="*/ 141732 h 150"/>
                <a:gd name="T14" fmla="*/ 217487 w 111"/>
                <a:gd name="T15" fmla="*/ 165354 h 150"/>
                <a:gd name="T16" fmla="*/ 217487 w 111"/>
                <a:gd name="T17" fmla="*/ 183071 h 150"/>
                <a:gd name="T18" fmla="*/ 217487 w 111"/>
                <a:gd name="T19" fmla="*/ 200787 h 150"/>
                <a:gd name="T20" fmla="*/ 211609 w 111"/>
                <a:gd name="T21" fmla="*/ 200787 h 150"/>
                <a:gd name="T22" fmla="*/ 199853 w 111"/>
                <a:gd name="T23" fmla="*/ 206693 h 150"/>
                <a:gd name="T24" fmla="*/ 193975 w 111"/>
                <a:gd name="T25" fmla="*/ 230315 h 150"/>
                <a:gd name="T26" fmla="*/ 193975 w 111"/>
                <a:gd name="T27" fmla="*/ 248031 h 150"/>
                <a:gd name="T28" fmla="*/ 193975 w 111"/>
                <a:gd name="T29" fmla="*/ 265748 h 150"/>
                <a:gd name="T30" fmla="*/ 193975 w 111"/>
                <a:gd name="T31" fmla="*/ 283464 h 150"/>
                <a:gd name="T32" fmla="*/ 182219 w 111"/>
                <a:gd name="T33" fmla="*/ 295275 h 150"/>
                <a:gd name="T34" fmla="*/ 158707 w 111"/>
                <a:gd name="T35" fmla="*/ 295275 h 150"/>
                <a:gd name="T36" fmla="*/ 141073 w 111"/>
                <a:gd name="T37" fmla="*/ 295275 h 150"/>
                <a:gd name="T38" fmla="*/ 123439 w 111"/>
                <a:gd name="T39" fmla="*/ 295275 h 150"/>
                <a:gd name="T40" fmla="*/ 105804 w 111"/>
                <a:gd name="T41" fmla="*/ 295275 h 150"/>
                <a:gd name="T42" fmla="*/ 82292 w 111"/>
                <a:gd name="T43" fmla="*/ 283464 h 150"/>
                <a:gd name="T44" fmla="*/ 64658 w 111"/>
                <a:gd name="T45" fmla="*/ 277559 h 150"/>
                <a:gd name="T46" fmla="*/ 52902 w 111"/>
                <a:gd name="T47" fmla="*/ 271653 h 150"/>
                <a:gd name="T48" fmla="*/ 47024 w 111"/>
                <a:gd name="T49" fmla="*/ 259842 h 150"/>
                <a:gd name="T50" fmla="*/ 35268 w 111"/>
                <a:gd name="T51" fmla="*/ 253937 h 150"/>
                <a:gd name="T52" fmla="*/ 29390 w 111"/>
                <a:gd name="T53" fmla="*/ 242126 h 150"/>
                <a:gd name="T54" fmla="*/ 29390 w 111"/>
                <a:gd name="T55" fmla="*/ 224409 h 150"/>
                <a:gd name="T56" fmla="*/ 23512 w 111"/>
                <a:gd name="T57" fmla="*/ 212598 h 150"/>
                <a:gd name="T58" fmla="*/ 11756 w 111"/>
                <a:gd name="T59" fmla="*/ 200787 h 150"/>
                <a:gd name="T60" fmla="*/ 5878 w 111"/>
                <a:gd name="T61" fmla="*/ 200787 h 150"/>
                <a:gd name="T62" fmla="*/ 0 w 111"/>
                <a:gd name="T63" fmla="*/ 200787 h 150"/>
                <a:gd name="T64" fmla="*/ 0 w 111"/>
                <a:gd name="T65" fmla="*/ 183071 h 150"/>
                <a:gd name="T66" fmla="*/ 0 w 111"/>
                <a:gd name="T67" fmla="*/ 159449 h 150"/>
                <a:gd name="T68" fmla="*/ 0 w 111"/>
                <a:gd name="T69" fmla="*/ 135827 h 150"/>
                <a:gd name="T70" fmla="*/ 11756 w 111"/>
                <a:gd name="T71" fmla="*/ 112205 h 150"/>
                <a:gd name="T72" fmla="*/ 29390 w 111"/>
                <a:gd name="T73" fmla="*/ 100394 h 150"/>
                <a:gd name="T74" fmla="*/ 35268 w 111"/>
                <a:gd name="T75" fmla="*/ 88583 h 150"/>
                <a:gd name="T76" fmla="*/ 41146 w 111"/>
                <a:gd name="T77" fmla="*/ 76772 h 150"/>
                <a:gd name="T78" fmla="*/ 47024 w 111"/>
                <a:gd name="T79" fmla="*/ 64961 h 150"/>
                <a:gd name="T80" fmla="*/ 52902 w 111"/>
                <a:gd name="T81" fmla="*/ 47244 h 150"/>
                <a:gd name="T82" fmla="*/ 76414 w 111"/>
                <a:gd name="T83" fmla="*/ 17717 h 150"/>
                <a:gd name="T84" fmla="*/ 105804 w 111"/>
                <a:gd name="T85" fmla="*/ 5906 h 150"/>
                <a:gd name="T86" fmla="*/ 141073 w 111"/>
                <a:gd name="T87" fmla="*/ 29528 h 150"/>
                <a:gd name="T88" fmla="*/ 158707 w 111"/>
                <a:gd name="T89" fmla="*/ 41339 h 150"/>
                <a:gd name="T90" fmla="*/ 188097 w 111"/>
                <a:gd name="T91" fmla="*/ 47244 h 1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11" h="150">
                  <a:moveTo>
                    <a:pt x="96" y="24"/>
                  </a:moveTo>
                  <a:lnTo>
                    <a:pt x="99" y="21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105" y="27"/>
                  </a:lnTo>
                  <a:lnTo>
                    <a:pt x="108" y="27"/>
                  </a:lnTo>
                  <a:lnTo>
                    <a:pt x="108" y="30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5"/>
                  </a:lnTo>
                  <a:lnTo>
                    <a:pt x="108" y="48"/>
                  </a:lnTo>
                  <a:lnTo>
                    <a:pt x="108" y="51"/>
                  </a:lnTo>
                  <a:lnTo>
                    <a:pt x="108" y="54"/>
                  </a:lnTo>
                  <a:lnTo>
                    <a:pt x="108" y="57"/>
                  </a:lnTo>
                  <a:lnTo>
                    <a:pt x="108" y="60"/>
                  </a:lnTo>
                  <a:lnTo>
                    <a:pt x="108" y="63"/>
                  </a:lnTo>
                  <a:lnTo>
                    <a:pt x="108" y="66"/>
                  </a:lnTo>
                  <a:lnTo>
                    <a:pt x="108" y="69"/>
                  </a:lnTo>
                  <a:lnTo>
                    <a:pt x="111" y="72"/>
                  </a:lnTo>
                  <a:lnTo>
                    <a:pt x="111" y="75"/>
                  </a:lnTo>
                  <a:lnTo>
                    <a:pt x="111" y="81"/>
                  </a:lnTo>
                  <a:lnTo>
                    <a:pt x="111" y="84"/>
                  </a:lnTo>
                  <a:lnTo>
                    <a:pt x="111" y="87"/>
                  </a:lnTo>
                  <a:lnTo>
                    <a:pt x="111" y="90"/>
                  </a:lnTo>
                  <a:lnTo>
                    <a:pt x="111" y="93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08" y="105"/>
                  </a:lnTo>
                  <a:lnTo>
                    <a:pt x="108" y="102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2" y="108"/>
                  </a:lnTo>
                  <a:lnTo>
                    <a:pt x="99" y="114"/>
                  </a:lnTo>
                  <a:lnTo>
                    <a:pt x="99" y="117"/>
                  </a:lnTo>
                  <a:lnTo>
                    <a:pt x="99" y="120"/>
                  </a:lnTo>
                  <a:lnTo>
                    <a:pt x="99" y="123"/>
                  </a:lnTo>
                  <a:lnTo>
                    <a:pt x="99" y="126"/>
                  </a:lnTo>
                  <a:lnTo>
                    <a:pt x="99" y="129"/>
                  </a:lnTo>
                  <a:lnTo>
                    <a:pt x="99" y="132"/>
                  </a:lnTo>
                  <a:lnTo>
                    <a:pt x="99" y="135"/>
                  </a:lnTo>
                  <a:lnTo>
                    <a:pt x="99" y="138"/>
                  </a:lnTo>
                  <a:lnTo>
                    <a:pt x="99" y="141"/>
                  </a:lnTo>
                  <a:lnTo>
                    <a:pt x="99" y="144"/>
                  </a:lnTo>
                  <a:lnTo>
                    <a:pt x="99" y="147"/>
                  </a:lnTo>
                  <a:lnTo>
                    <a:pt x="99" y="150"/>
                  </a:lnTo>
                  <a:lnTo>
                    <a:pt x="93" y="150"/>
                  </a:lnTo>
                  <a:lnTo>
                    <a:pt x="87" y="150"/>
                  </a:lnTo>
                  <a:lnTo>
                    <a:pt x="84" y="150"/>
                  </a:lnTo>
                  <a:lnTo>
                    <a:pt x="81" y="150"/>
                  </a:lnTo>
                  <a:lnTo>
                    <a:pt x="78" y="150"/>
                  </a:lnTo>
                  <a:lnTo>
                    <a:pt x="75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6" y="150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57" y="150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5" y="147"/>
                  </a:lnTo>
                  <a:lnTo>
                    <a:pt x="42" y="144"/>
                  </a:lnTo>
                  <a:lnTo>
                    <a:pt x="39" y="144"/>
                  </a:lnTo>
                  <a:lnTo>
                    <a:pt x="36" y="141"/>
                  </a:lnTo>
                  <a:lnTo>
                    <a:pt x="33" y="141"/>
                  </a:lnTo>
                  <a:lnTo>
                    <a:pt x="30" y="141"/>
                  </a:lnTo>
                  <a:lnTo>
                    <a:pt x="30" y="138"/>
                  </a:lnTo>
                  <a:lnTo>
                    <a:pt x="27" y="138"/>
                  </a:lnTo>
                  <a:lnTo>
                    <a:pt x="27" y="135"/>
                  </a:lnTo>
                  <a:lnTo>
                    <a:pt x="24" y="135"/>
                  </a:lnTo>
                  <a:lnTo>
                    <a:pt x="24" y="132"/>
                  </a:lnTo>
                  <a:lnTo>
                    <a:pt x="21" y="132"/>
                  </a:lnTo>
                  <a:lnTo>
                    <a:pt x="21" y="129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6"/>
                  </a:lnTo>
                  <a:lnTo>
                    <a:pt x="15" y="123"/>
                  </a:lnTo>
                  <a:lnTo>
                    <a:pt x="12" y="120"/>
                  </a:lnTo>
                  <a:lnTo>
                    <a:pt x="15" y="117"/>
                  </a:lnTo>
                  <a:lnTo>
                    <a:pt x="15" y="114"/>
                  </a:lnTo>
                  <a:lnTo>
                    <a:pt x="15" y="111"/>
                  </a:lnTo>
                  <a:lnTo>
                    <a:pt x="12" y="111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6" y="102"/>
                  </a:lnTo>
                  <a:lnTo>
                    <a:pt x="3" y="102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3" y="66"/>
                  </a:lnTo>
                  <a:lnTo>
                    <a:pt x="3" y="63"/>
                  </a:lnTo>
                  <a:lnTo>
                    <a:pt x="6" y="57"/>
                  </a:lnTo>
                  <a:lnTo>
                    <a:pt x="9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18" y="45"/>
                  </a:lnTo>
                  <a:lnTo>
                    <a:pt x="18" y="42"/>
                  </a:lnTo>
                  <a:lnTo>
                    <a:pt x="18" y="39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1" y="33"/>
                  </a:lnTo>
                  <a:lnTo>
                    <a:pt x="24" y="33"/>
                  </a:lnTo>
                  <a:lnTo>
                    <a:pt x="24" y="30"/>
                  </a:lnTo>
                  <a:lnTo>
                    <a:pt x="24" y="27"/>
                  </a:lnTo>
                  <a:lnTo>
                    <a:pt x="27" y="24"/>
                  </a:lnTo>
                  <a:lnTo>
                    <a:pt x="27" y="18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42" y="3"/>
                  </a:lnTo>
                  <a:lnTo>
                    <a:pt x="51" y="0"/>
                  </a:lnTo>
                  <a:lnTo>
                    <a:pt x="54" y="3"/>
                  </a:lnTo>
                  <a:lnTo>
                    <a:pt x="57" y="6"/>
                  </a:lnTo>
                  <a:lnTo>
                    <a:pt x="63" y="9"/>
                  </a:lnTo>
                  <a:lnTo>
                    <a:pt x="72" y="15"/>
                  </a:lnTo>
                  <a:lnTo>
                    <a:pt x="75" y="15"/>
                  </a:lnTo>
                  <a:lnTo>
                    <a:pt x="78" y="21"/>
                  </a:lnTo>
                  <a:lnTo>
                    <a:pt x="81" y="21"/>
                  </a:lnTo>
                  <a:lnTo>
                    <a:pt x="87" y="24"/>
                  </a:lnTo>
                  <a:lnTo>
                    <a:pt x="90" y="27"/>
                  </a:lnTo>
                  <a:lnTo>
                    <a:pt x="96" y="24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77" name="Freeform 35">
              <a:extLst>
                <a:ext uri="{FF2B5EF4-FFF2-40B4-BE49-F238E27FC236}">
                  <a16:creationId xmlns:a16="http://schemas.microsoft.com/office/drawing/2014/main" id="{6D5CFF46-C956-4EA5-9501-E3B3AA2AFC8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48125" y="3025775"/>
              <a:ext cx="895350" cy="755650"/>
            </a:xfrm>
            <a:custGeom>
              <a:avLst/>
              <a:gdLst>
                <a:gd name="T0" fmla="*/ 583156 w 456"/>
                <a:gd name="T1" fmla="*/ 11807 h 384"/>
                <a:gd name="T2" fmla="*/ 612608 w 456"/>
                <a:gd name="T3" fmla="*/ 29518 h 384"/>
                <a:gd name="T4" fmla="*/ 642060 w 456"/>
                <a:gd name="T5" fmla="*/ 41325 h 384"/>
                <a:gd name="T6" fmla="*/ 671513 w 456"/>
                <a:gd name="T7" fmla="*/ 59035 h 384"/>
                <a:gd name="T8" fmla="*/ 695074 w 456"/>
                <a:gd name="T9" fmla="*/ 70842 h 384"/>
                <a:gd name="T10" fmla="*/ 718636 w 456"/>
                <a:gd name="T11" fmla="*/ 53132 h 384"/>
                <a:gd name="T12" fmla="*/ 748088 w 456"/>
                <a:gd name="T13" fmla="*/ 64939 h 384"/>
                <a:gd name="T14" fmla="*/ 777541 w 456"/>
                <a:gd name="T15" fmla="*/ 76746 h 384"/>
                <a:gd name="T16" fmla="*/ 812884 w 456"/>
                <a:gd name="T17" fmla="*/ 94456 h 384"/>
                <a:gd name="T18" fmla="*/ 854117 w 456"/>
                <a:gd name="T19" fmla="*/ 129877 h 384"/>
                <a:gd name="T20" fmla="*/ 883569 w 456"/>
                <a:gd name="T21" fmla="*/ 141684 h 384"/>
                <a:gd name="T22" fmla="*/ 889460 w 456"/>
                <a:gd name="T23" fmla="*/ 177105 h 384"/>
                <a:gd name="T24" fmla="*/ 883569 w 456"/>
                <a:gd name="T25" fmla="*/ 218430 h 384"/>
                <a:gd name="T26" fmla="*/ 871788 w 456"/>
                <a:gd name="T27" fmla="*/ 283369 h 384"/>
                <a:gd name="T28" fmla="*/ 830555 w 456"/>
                <a:gd name="T29" fmla="*/ 312886 h 384"/>
                <a:gd name="T30" fmla="*/ 801103 w 456"/>
                <a:gd name="T31" fmla="*/ 348307 h 384"/>
                <a:gd name="T32" fmla="*/ 759869 w 456"/>
                <a:gd name="T33" fmla="*/ 360114 h 384"/>
                <a:gd name="T34" fmla="*/ 724527 w 456"/>
                <a:gd name="T35" fmla="*/ 377825 h 384"/>
                <a:gd name="T36" fmla="*/ 671513 w 456"/>
                <a:gd name="T37" fmla="*/ 366018 h 384"/>
                <a:gd name="T38" fmla="*/ 624389 w 456"/>
                <a:gd name="T39" fmla="*/ 389632 h 384"/>
                <a:gd name="T40" fmla="*/ 600827 w 456"/>
                <a:gd name="T41" fmla="*/ 407343 h 384"/>
                <a:gd name="T42" fmla="*/ 577265 w 456"/>
                <a:gd name="T43" fmla="*/ 413246 h 384"/>
                <a:gd name="T44" fmla="*/ 553703 w 456"/>
                <a:gd name="T45" fmla="*/ 430957 h 384"/>
                <a:gd name="T46" fmla="*/ 541922 w 456"/>
                <a:gd name="T47" fmla="*/ 460474 h 384"/>
                <a:gd name="T48" fmla="*/ 518361 w 456"/>
                <a:gd name="T49" fmla="*/ 489992 h 384"/>
                <a:gd name="T50" fmla="*/ 488908 w 456"/>
                <a:gd name="T51" fmla="*/ 525413 h 384"/>
                <a:gd name="T52" fmla="*/ 459456 w 456"/>
                <a:gd name="T53" fmla="*/ 549027 h 384"/>
                <a:gd name="T54" fmla="*/ 453565 w 456"/>
                <a:gd name="T55" fmla="*/ 572641 h 384"/>
                <a:gd name="T56" fmla="*/ 488908 w 456"/>
                <a:gd name="T57" fmla="*/ 631676 h 384"/>
                <a:gd name="T58" fmla="*/ 500689 w 456"/>
                <a:gd name="T59" fmla="*/ 673001 h 384"/>
                <a:gd name="T60" fmla="*/ 500689 w 456"/>
                <a:gd name="T61" fmla="*/ 690711 h 384"/>
                <a:gd name="T62" fmla="*/ 500689 w 456"/>
                <a:gd name="T63" fmla="*/ 708422 h 384"/>
                <a:gd name="T64" fmla="*/ 471237 w 456"/>
                <a:gd name="T65" fmla="*/ 720229 h 384"/>
                <a:gd name="T66" fmla="*/ 447675 w 456"/>
                <a:gd name="T67" fmla="*/ 737939 h 384"/>
                <a:gd name="T68" fmla="*/ 394661 w 456"/>
                <a:gd name="T69" fmla="*/ 749746 h 384"/>
                <a:gd name="T70" fmla="*/ 353428 w 456"/>
                <a:gd name="T71" fmla="*/ 732036 h 384"/>
                <a:gd name="T72" fmla="*/ 318085 w 456"/>
                <a:gd name="T73" fmla="*/ 726132 h 384"/>
                <a:gd name="T74" fmla="*/ 282742 w 456"/>
                <a:gd name="T75" fmla="*/ 720229 h 384"/>
                <a:gd name="T76" fmla="*/ 253290 w 456"/>
                <a:gd name="T77" fmla="*/ 743843 h 384"/>
                <a:gd name="T78" fmla="*/ 212057 w 456"/>
                <a:gd name="T79" fmla="*/ 743843 h 384"/>
                <a:gd name="T80" fmla="*/ 159042 w 456"/>
                <a:gd name="T81" fmla="*/ 726132 h 384"/>
                <a:gd name="T82" fmla="*/ 117809 w 456"/>
                <a:gd name="T83" fmla="*/ 690711 h 384"/>
                <a:gd name="T84" fmla="*/ 88357 w 456"/>
                <a:gd name="T85" fmla="*/ 655290 h 384"/>
                <a:gd name="T86" fmla="*/ 53014 w 456"/>
                <a:gd name="T87" fmla="*/ 608062 h 384"/>
                <a:gd name="T88" fmla="*/ 17671 w 456"/>
                <a:gd name="T89" fmla="*/ 590352 h 384"/>
                <a:gd name="T90" fmla="*/ 29452 w 456"/>
                <a:gd name="T91" fmla="*/ 501799 h 384"/>
                <a:gd name="T92" fmla="*/ 70686 w 456"/>
                <a:gd name="T93" fmla="*/ 413246 h 384"/>
                <a:gd name="T94" fmla="*/ 82466 w 456"/>
                <a:gd name="T95" fmla="*/ 342404 h 384"/>
                <a:gd name="T96" fmla="*/ 106028 w 456"/>
                <a:gd name="T97" fmla="*/ 295176 h 384"/>
                <a:gd name="T98" fmla="*/ 135481 w 456"/>
                <a:gd name="T99" fmla="*/ 230237 h 384"/>
                <a:gd name="T100" fmla="*/ 170823 w 456"/>
                <a:gd name="T101" fmla="*/ 200720 h 384"/>
                <a:gd name="T102" fmla="*/ 223838 w 456"/>
                <a:gd name="T103" fmla="*/ 177105 h 384"/>
                <a:gd name="T104" fmla="*/ 276852 w 456"/>
                <a:gd name="T105" fmla="*/ 177105 h 384"/>
                <a:gd name="T106" fmla="*/ 294523 w 456"/>
                <a:gd name="T107" fmla="*/ 165298 h 384"/>
                <a:gd name="T108" fmla="*/ 329866 w 456"/>
                <a:gd name="T109" fmla="*/ 135781 h 384"/>
                <a:gd name="T110" fmla="*/ 347537 w 456"/>
                <a:gd name="T111" fmla="*/ 118070 h 384"/>
                <a:gd name="T112" fmla="*/ 353428 w 456"/>
                <a:gd name="T113" fmla="*/ 82649 h 384"/>
                <a:gd name="T114" fmla="*/ 394661 w 456"/>
                <a:gd name="T115" fmla="*/ 53132 h 384"/>
                <a:gd name="T116" fmla="*/ 430004 w 456"/>
                <a:gd name="T117" fmla="*/ 47228 h 384"/>
                <a:gd name="T118" fmla="*/ 471237 w 456"/>
                <a:gd name="T119" fmla="*/ 47228 h 384"/>
                <a:gd name="T120" fmla="*/ 500689 w 456"/>
                <a:gd name="T121" fmla="*/ 41325 h 384"/>
                <a:gd name="T122" fmla="*/ 536032 w 456"/>
                <a:gd name="T123" fmla="*/ 11807 h 38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6" h="384">
                  <a:moveTo>
                    <a:pt x="273" y="6"/>
                  </a:moveTo>
                  <a:lnTo>
                    <a:pt x="276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82" y="9"/>
                  </a:lnTo>
                  <a:lnTo>
                    <a:pt x="285" y="9"/>
                  </a:lnTo>
                  <a:lnTo>
                    <a:pt x="288" y="9"/>
                  </a:lnTo>
                  <a:lnTo>
                    <a:pt x="288" y="12"/>
                  </a:lnTo>
                  <a:lnTo>
                    <a:pt x="288" y="9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3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09" y="9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27" y="24"/>
                  </a:lnTo>
                  <a:lnTo>
                    <a:pt x="327" y="21"/>
                  </a:lnTo>
                  <a:lnTo>
                    <a:pt x="327" y="18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4"/>
                  </a:lnTo>
                  <a:lnTo>
                    <a:pt x="336" y="24"/>
                  </a:lnTo>
                  <a:lnTo>
                    <a:pt x="336" y="27"/>
                  </a:lnTo>
                  <a:lnTo>
                    <a:pt x="336" y="24"/>
                  </a:lnTo>
                  <a:lnTo>
                    <a:pt x="339" y="24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5" y="27"/>
                  </a:lnTo>
                  <a:lnTo>
                    <a:pt x="348" y="30"/>
                  </a:lnTo>
                  <a:lnTo>
                    <a:pt x="348" y="27"/>
                  </a:lnTo>
                  <a:lnTo>
                    <a:pt x="351" y="27"/>
                  </a:lnTo>
                  <a:lnTo>
                    <a:pt x="351" y="30"/>
                  </a:lnTo>
                  <a:lnTo>
                    <a:pt x="351" y="33"/>
                  </a:lnTo>
                  <a:lnTo>
                    <a:pt x="354" y="33"/>
                  </a:lnTo>
                  <a:lnTo>
                    <a:pt x="354" y="36"/>
                  </a:lnTo>
                  <a:lnTo>
                    <a:pt x="351" y="36"/>
                  </a:lnTo>
                  <a:lnTo>
                    <a:pt x="354" y="36"/>
                  </a:lnTo>
                  <a:lnTo>
                    <a:pt x="354" y="33"/>
                  </a:lnTo>
                  <a:lnTo>
                    <a:pt x="357" y="33"/>
                  </a:lnTo>
                  <a:lnTo>
                    <a:pt x="360" y="33"/>
                  </a:lnTo>
                  <a:lnTo>
                    <a:pt x="360" y="30"/>
                  </a:lnTo>
                  <a:lnTo>
                    <a:pt x="360" y="33"/>
                  </a:lnTo>
                  <a:lnTo>
                    <a:pt x="363" y="33"/>
                  </a:lnTo>
                  <a:lnTo>
                    <a:pt x="363" y="30"/>
                  </a:lnTo>
                  <a:lnTo>
                    <a:pt x="360" y="30"/>
                  </a:lnTo>
                  <a:lnTo>
                    <a:pt x="360" y="27"/>
                  </a:lnTo>
                  <a:lnTo>
                    <a:pt x="363" y="27"/>
                  </a:lnTo>
                  <a:lnTo>
                    <a:pt x="366" y="27"/>
                  </a:lnTo>
                  <a:lnTo>
                    <a:pt x="369" y="27"/>
                  </a:lnTo>
                  <a:lnTo>
                    <a:pt x="369" y="30"/>
                  </a:lnTo>
                  <a:lnTo>
                    <a:pt x="372" y="30"/>
                  </a:lnTo>
                  <a:lnTo>
                    <a:pt x="372" y="33"/>
                  </a:lnTo>
                  <a:lnTo>
                    <a:pt x="375" y="33"/>
                  </a:lnTo>
                  <a:lnTo>
                    <a:pt x="375" y="30"/>
                  </a:lnTo>
                  <a:lnTo>
                    <a:pt x="375" y="33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1" y="36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1" y="33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7" y="30"/>
                  </a:lnTo>
                  <a:lnTo>
                    <a:pt x="390" y="30"/>
                  </a:lnTo>
                  <a:lnTo>
                    <a:pt x="393" y="30"/>
                  </a:lnTo>
                  <a:lnTo>
                    <a:pt x="393" y="33"/>
                  </a:lnTo>
                  <a:lnTo>
                    <a:pt x="396" y="33"/>
                  </a:lnTo>
                  <a:lnTo>
                    <a:pt x="396" y="30"/>
                  </a:lnTo>
                  <a:lnTo>
                    <a:pt x="396" y="33"/>
                  </a:lnTo>
                  <a:lnTo>
                    <a:pt x="396" y="36"/>
                  </a:lnTo>
                  <a:lnTo>
                    <a:pt x="399" y="36"/>
                  </a:lnTo>
                  <a:lnTo>
                    <a:pt x="396" y="36"/>
                  </a:lnTo>
                  <a:lnTo>
                    <a:pt x="396" y="39"/>
                  </a:lnTo>
                  <a:lnTo>
                    <a:pt x="399" y="39"/>
                  </a:lnTo>
                  <a:lnTo>
                    <a:pt x="399" y="42"/>
                  </a:lnTo>
                  <a:lnTo>
                    <a:pt x="399" y="45"/>
                  </a:lnTo>
                  <a:lnTo>
                    <a:pt x="402" y="45"/>
                  </a:lnTo>
                  <a:lnTo>
                    <a:pt x="402" y="48"/>
                  </a:lnTo>
                  <a:lnTo>
                    <a:pt x="402" y="45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08" y="45"/>
                  </a:lnTo>
                  <a:lnTo>
                    <a:pt x="411" y="45"/>
                  </a:lnTo>
                  <a:lnTo>
                    <a:pt x="411" y="48"/>
                  </a:lnTo>
                  <a:lnTo>
                    <a:pt x="414" y="48"/>
                  </a:lnTo>
                  <a:lnTo>
                    <a:pt x="417" y="48"/>
                  </a:lnTo>
                  <a:lnTo>
                    <a:pt x="417" y="51"/>
                  </a:lnTo>
                  <a:lnTo>
                    <a:pt x="420" y="51"/>
                  </a:lnTo>
                  <a:lnTo>
                    <a:pt x="420" y="54"/>
                  </a:lnTo>
                  <a:lnTo>
                    <a:pt x="423" y="54"/>
                  </a:lnTo>
                  <a:lnTo>
                    <a:pt x="426" y="54"/>
                  </a:lnTo>
                  <a:lnTo>
                    <a:pt x="429" y="54"/>
                  </a:lnTo>
                  <a:lnTo>
                    <a:pt x="429" y="57"/>
                  </a:lnTo>
                  <a:lnTo>
                    <a:pt x="432" y="57"/>
                  </a:lnTo>
                  <a:lnTo>
                    <a:pt x="432" y="60"/>
                  </a:lnTo>
                  <a:lnTo>
                    <a:pt x="432" y="63"/>
                  </a:lnTo>
                  <a:lnTo>
                    <a:pt x="435" y="63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35" y="66"/>
                  </a:lnTo>
                  <a:lnTo>
                    <a:pt x="438" y="66"/>
                  </a:lnTo>
                  <a:lnTo>
                    <a:pt x="438" y="69"/>
                  </a:lnTo>
                  <a:lnTo>
                    <a:pt x="438" y="72"/>
                  </a:lnTo>
                  <a:lnTo>
                    <a:pt x="441" y="72"/>
                  </a:lnTo>
                  <a:lnTo>
                    <a:pt x="441" y="75"/>
                  </a:lnTo>
                  <a:lnTo>
                    <a:pt x="441" y="78"/>
                  </a:lnTo>
                  <a:lnTo>
                    <a:pt x="444" y="78"/>
                  </a:lnTo>
                  <a:lnTo>
                    <a:pt x="447" y="78"/>
                  </a:lnTo>
                  <a:lnTo>
                    <a:pt x="450" y="78"/>
                  </a:lnTo>
                  <a:lnTo>
                    <a:pt x="450" y="75"/>
                  </a:lnTo>
                  <a:lnTo>
                    <a:pt x="450" y="72"/>
                  </a:lnTo>
                  <a:lnTo>
                    <a:pt x="453" y="72"/>
                  </a:lnTo>
                  <a:lnTo>
                    <a:pt x="456" y="72"/>
                  </a:lnTo>
                  <a:lnTo>
                    <a:pt x="453" y="72"/>
                  </a:lnTo>
                  <a:lnTo>
                    <a:pt x="453" y="75"/>
                  </a:lnTo>
                  <a:lnTo>
                    <a:pt x="450" y="75"/>
                  </a:lnTo>
                  <a:lnTo>
                    <a:pt x="453" y="75"/>
                  </a:lnTo>
                  <a:lnTo>
                    <a:pt x="450" y="78"/>
                  </a:lnTo>
                  <a:lnTo>
                    <a:pt x="453" y="81"/>
                  </a:lnTo>
                  <a:lnTo>
                    <a:pt x="456" y="81"/>
                  </a:lnTo>
                  <a:lnTo>
                    <a:pt x="456" y="84"/>
                  </a:lnTo>
                  <a:lnTo>
                    <a:pt x="456" y="87"/>
                  </a:lnTo>
                  <a:lnTo>
                    <a:pt x="453" y="87"/>
                  </a:lnTo>
                  <a:lnTo>
                    <a:pt x="453" y="90"/>
                  </a:lnTo>
                  <a:lnTo>
                    <a:pt x="450" y="90"/>
                  </a:lnTo>
                  <a:lnTo>
                    <a:pt x="447" y="90"/>
                  </a:lnTo>
                  <a:lnTo>
                    <a:pt x="447" y="93"/>
                  </a:lnTo>
                  <a:lnTo>
                    <a:pt x="450" y="96"/>
                  </a:lnTo>
                  <a:lnTo>
                    <a:pt x="450" y="99"/>
                  </a:lnTo>
                  <a:lnTo>
                    <a:pt x="450" y="102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3" y="108"/>
                  </a:lnTo>
                  <a:lnTo>
                    <a:pt x="450" y="108"/>
                  </a:lnTo>
                  <a:lnTo>
                    <a:pt x="450" y="111"/>
                  </a:lnTo>
                  <a:lnTo>
                    <a:pt x="450" y="114"/>
                  </a:lnTo>
                  <a:lnTo>
                    <a:pt x="450" y="117"/>
                  </a:lnTo>
                  <a:lnTo>
                    <a:pt x="447" y="117"/>
                  </a:lnTo>
                  <a:lnTo>
                    <a:pt x="447" y="120"/>
                  </a:lnTo>
                  <a:lnTo>
                    <a:pt x="447" y="123"/>
                  </a:lnTo>
                  <a:lnTo>
                    <a:pt x="444" y="123"/>
                  </a:lnTo>
                  <a:lnTo>
                    <a:pt x="444" y="126"/>
                  </a:lnTo>
                  <a:lnTo>
                    <a:pt x="444" y="129"/>
                  </a:lnTo>
                  <a:lnTo>
                    <a:pt x="447" y="132"/>
                  </a:lnTo>
                  <a:lnTo>
                    <a:pt x="447" y="135"/>
                  </a:lnTo>
                  <a:lnTo>
                    <a:pt x="447" y="138"/>
                  </a:lnTo>
                  <a:lnTo>
                    <a:pt x="447" y="141"/>
                  </a:lnTo>
                  <a:lnTo>
                    <a:pt x="444" y="144"/>
                  </a:lnTo>
                  <a:lnTo>
                    <a:pt x="444" y="147"/>
                  </a:lnTo>
                  <a:lnTo>
                    <a:pt x="441" y="147"/>
                  </a:lnTo>
                  <a:lnTo>
                    <a:pt x="441" y="150"/>
                  </a:lnTo>
                  <a:lnTo>
                    <a:pt x="438" y="150"/>
                  </a:lnTo>
                  <a:lnTo>
                    <a:pt x="435" y="150"/>
                  </a:lnTo>
                  <a:lnTo>
                    <a:pt x="432" y="150"/>
                  </a:lnTo>
                  <a:lnTo>
                    <a:pt x="432" y="153"/>
                  </a:lnTo>
                  <a:lnTo>
                    <a:pt x="429" y="153"/>
                  </a:lnTo>
                  <a:lnTo>
                    <a:pt x="429" y="156"/>
                  </a:lnTo>
                  <a:lnTo>
                    <a:pt x="426" y="156"/>
                  </a:lnTo>
                  <a:lnTo>
                    <a:pt x="426" y="159"/>
                  </a:lnTo>
                  <a:lnTo>
                    <a:pt x="426" y="162"/>
                  </a:lnTo>
                  <a:lnTo>
                    <a:pt x="423" y="159"/>
                  </a:lnTo>
                  <a:lnTo>
                    <a:pt x="423" y="162"/>
                  </a:lnTo>
                  <a:lnTo>
                    <a:pt x="420" y="162"/>
                  </a:lnTo>
                  <a:lnTo>
                    <a:pt x="417" y="165"/>
                  </a:lnTo>
                  <a:lnTo>
                    <a:pt x="420" y="165"/>
                  </a:lnTo>
                  <a:lnTo>
                    <a:pt x="417" y="165"/>
                  </a:lnTo>
                  <a:lnTo>
                    <a:pt x="417" y="168"/>
                  </a:lnTo>
                  <a:lnTo>
                    <a:pt x="414" y="165"/>
                  </a:lnTo>
                  <a:lnTo>
                    <a:pt x="411" y="165"/>
                  </a:lnTo>
                  <a:lnTo>
                    <a:pt x="411" y="168"/>
                  </a:lnTo>
                  <a:lnTo>
                    <a:pt x="408" y="171"/>
                  </a:lnTo>
                  <a:lnTo>
                    <a:pt x="408" y="174"/>
                  </a:lnTo>
                  <a:lnTo>
                    <a:pt x="411" y="174"/>
                  </a:lnTo>
                  <a:lnTo>
                    <a:pt x="408" y="177"/>
                  </a:lnTo>
                  <a:lnTo>
                    <a:pt x="405" y="177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2" y="180"/>
                  </a:lnTo>
                  <a:lnTo>
                    <a:pt x="402" y="177"/>
                  </a:lnTo>
                  <a:lnTo>
                    <a:pt x="399" y="177"/>
                  </a:lnTo>
                  <a:lnTo>
                    <a:pt x="396" y="177"/>
                  </a:lnTo>
                  <a:lnTo>
                    <a:pt x="393" y="177"/>
                  </a:lnTo>
                  <a:lnTo>
                    <a:pt x="393" y="180"/>
                  </a:lnTo>
                  <a:lnTo>
                    <a:pt x="390" y="180"/>
                  </a:lnTo>
                  <a:lnTo>
                    <a:pt x="387" y="183"/>
                  </a:lnTo>
                  <a:lnTo>
                    <a:pt x="390" y="183"/>
                  </a:lnTo>
                  <a:lnTo>
                    <a:pt x="387" y="183"/>
                  </a:lnTo>
                  <a:lnTo>
                    <a:pt x="387" y="186"/>
                  </a:lnTo>
                  <a:lnTo>
                    <a:pt x="384" y="189"/>
                  </a:lnTo>
                  <a:lnTo>
                    <a:pt x="384" y="192"/>
                  </a:lnTo>
                  <a:lnTo>
                    <a:pt x="381" y="195"/>
                  </a:lnTo>
                  <a:lnTo>
                    <a:pt x="381" y="198"/>
                  </a:lnTo>
                  <a:lnTo>
                    <a:pt x="378" y="198"/>
                  </a:lnTo>
                  <a:lnTo>
                    <a:pt x="375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2" y="192"/>
                  </a:lnTo>
                  <a:lnTo>
                    <a:pt x="372" y="189"/>
                  </a:lnTo>
                  <a:lnTo>
                    <a:pt x="369" y="189"/>
                  </a:lnTo>
                  <a:lnTo>
                    <a:pt x="369" y="192"/>
                  </a:lnTo>
                  <a:lnTo>
                    <a:pt x="369" y="189"/>
                  </a:lnTo>
                  <a:lnTo>
                    <a:pt x="366" y="189"/>
                  </a:lnTo>
                  <a:lnTo>
                    <a:pt x="366" y="186"/>
                  </a:lnTo>
                  <a:lnTo>
                    <a:pt x="366" y="183"/>
                  </a:lnTo>
                  <a:lnTo>
                    <a:pt x="366" y="180"/>
                  </a:lnTo>
                  <a:lnTo>
                    <a:pt x="363" y="180"/>
                  </a:lnTo>
                  <a:lnTo>
                    <a:pt x="360" y="180"/>
                  </a:lnTo>
                  <a:lnTo>
                    <a:pt x="360" y="183"/>
                  </a:lnTo>
                  <a:lnTo>
                    <a:pt x="357" y="183"/>
                  </a:lnTo>
                  <a:lnTo>
                    <a:pt x="354" y="183"/>
                  </a:lnTo>
                  <a:lnTo>
                    <a:pt x="351" y="183"/>
                  </a:lnTo>
                  <a:lnTo>
                    <a:pt x="348" y="183"/>
                  </a:lnTo>
                  <a:lnTo>
                    <a:pt x="342" y="186"/>
                  </a:lnTo>
                  <a:lnTo>
                    <a:pt x="342" y="183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9" y="189"/>
                  </a:lnTo>
                  <a:lnTo>
                    <a:pt x="336" y="192"/>
                  </a:lnTo>
                  <a:lnTo>
                    <a:pt x="333" y="192"/>
                  </a:lnTo>
                  <a:lnTo>
                    <a:pt x="330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5"/>
                  </a:lnTo>
                  <a:lnTo>
                    <a:pt x="318" y="195"/>
                  </a:lnTo>
                  <a:lnTo>
                    <a:pt x="318" y="198"/>
                  </a:lnTo>
                  <a:lnTo>
                    <a:pt x="315" y="198"/>
                  </a:lnTo>
                  <a:lnTo>
                    <a:pt x="315" y="201"/>
                  </a:lnTo>
                  <a:lnTo>
                    <a:pt x="315" y="204"/>
                  </a:lnTo>
                  <a:lnTo>
                    <a:pt x="312" y="204"/>
                  </a:lnTo>
                  <a:lnTo>
                    <a:pt x="312" y="207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6" y="207"/>
                  </a:lnTo>
                  <a:lnTo>
                    <a:pt x="306" y="210"/>
                  </a:lnTo>
                  <a:lnTo>
                    <a:pt x="306" y="207"/>
                  </a:lnTo>
                  <a:lnTo>
                    <a:pt x="303" y="207"/>
                  </a:lnTo>
                  <a:lnTo>
                    <a:pt x="300" y="207"/>
                  </a:lnTo>
                  <a:lnTo>
                    <a:pt x="300" y="210"/>
                  </a:lnTo>
                  <a:lnTo>
                    <a:pt x="297" y="210"/>
                  </a:lnTo>
                  <a:lnTo>
                    <a:pt x="300" y="210"/>
                  </a:lnTo>
                  <a:lnTo>
                    <a:pt x="300" y="213"/>
                  </a:lnTo>
                  <a:lnTo>
                    <a:pt x="297" y="213"/>
                  </a:lnTo>
                  <a:lnTo>
                    <a:pt x="297" y="210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1" y="213"/>
                  </a:lnTo>
                  <a:lnTo>
                    <a:pt x="291" y="210"/>
                  </a:lnTo>
                  <a:lnTo>
                    <a:pt x="288" y="210"/>
                  </a:lnTo>
                  <a:lnTo>
                    <a:pt x="288" y="213"/>
                  </a:lnTo>
                  <a:lnTo>
                    <a:pt x="288" y="216"/>
                  </a:lnTo>
                  <a:lnTo>
                    <a:pt x="288" y="213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9"/>
                  </a:lnTo>
                  <a:lnTo>
                    <a:pt x="282" y="219"/>
                  </a:lnTo>
                  <a:lnTo>
                    <a:pt x="285" y="219"/>
                  </a:lnTo>
                  <a:lnTo>
                    <a:pt x="285" y="222"/>
                  </a:lnTo>
                  <a:lnTo>
                    <a:pt x="282" y="222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9" y="228"/>
                  </a:lnTo>
                  <a:lnTo>
                    <a:pt x="282" y="228"/>
                  </a:lnTo>
                  <a:lnTo>
                    <a:pt x="279" y="228"/>
                  </a:lnTo>
                  <a:lnTo>
                    <a:pt x="276" y="228"/>
                  </a:lnTo>
                  <a:lnTo>
                    <a:pt x="279" y="228"/>
                  </a:lnTo>
                  <a:lnTo>
                    <a:pt x="279" y="231"/>
                  </a:lnTo>
                  <a:lnTo>
                    <a:pt x="276" y="231"/>
                  </a:lnTo>
                  <a:lnTo>
                    <a:pt x="276" y="234"/>
                  </a:lnTo>
                  <a:lnTo>
                    <a:pt x="273" y="234"/>
                  </a:lnTo>
                  <a:lnTo>
                    <a:pt x="276" y="234"/>
                  </a:lnTo>
                  <a:lnTo>
                    <a:pt x="276" y="237"/>
                  </a:lnTo>
                  <a:lnTo>
                    <a:pt x="273" y="237"/>
                  </a:lnTo>
                  <a:lnTo>
                    <a:pt x="270" y="237"/>
                  </a:lnTo>
                  <a:lnTo>
                    <a:pt x="270" y="240"/>
                  </a:lnTo>
                  <a:lnTo>
                    <a:pt x="267" y="240"/>
                  </a:lnTo>
                  <a:lnTo>
                    <a:pt x="267" y="243"/>
                  </a:lnTo>
                  <a:lnTo>
                    <a:pt x="270" y="243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1" y="249"/>
                  </a:lnTo>
                  <a:lnTo>
                    <a:pt x="264" y="249"/>
                  </a:lnTo>
                  <a:lnTo>
                    <a:pt x="264" y="252"/>
                  </a:lnTo>
                  <a:lnTo>
                    <a:pt x="261" y="252"/>
                  </a:lnTo>
                  <a:lnTo>
                    <a:pt x="261" y="255"/>
                  </a:lnTo>
                  <a:lnTo>
                    <a:pt x="258" y="255"/>
                  </a:lnTo>
                  <a:lnTo>
                    <a:pt x="258" y="258"/>
                  </a:lnTo>
                  <a:lnTo>
                    <a:pt x="258" y="261"/>
                  </a:lnTo>
                  <a:lnTo>
                    <a:pt x="255" y="261"/>
                  </a:lnTo>
                  <a:lnTo>
                    <a:pt x="255" y="264"/>
                  </a:lnTo>
                  <a:lnTo>
                    <a:pt x="255" y="267"/>
                  </a:lnTo>
                  <a:lnTo>
                    <a:pt x="252" y="267"/>
                  </a:lnTo>
                  <a:lnTo>
                    <a:pt x="249" y="267"/>
                  </a:lnTo>
                  <a:lnTo>
                    <a:pt x="249" y="270"/>
                  </a:lnTo>
                  <a:lnTo>
                    <a:pt x="249" y="273"/>
                  </a:lnTo>
                  <a:lnTo>
                    <a:pt x="249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6"/>
                  </a:lnTo>
                  <a:lnTo>
                    <a:pt x="237" y="276"/>
                  </a:lnTo>
                  <a:lnTo>
                    <a:pt x="237" y="273"/>
                  </a:lnTo>
                  <a:lnTo>
                    <a:pt x="237" y="276"/>
                  </a:lnTo>
                  <a:lnTo>
                    <a:pt x="234" y="276"/>
                  </a:lnTo>
                  <a:lnTo>
                    <a:pt x="234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28" y="282"/>
                  </a:lnTo>
                  <a:lnTo>
                    <a:pt x="228" y="279"/>
                  </a:lnTo>
                  <a:lnTo>
                    <a:pt x="225" y="279"/>
                  </a:lnTo>
                  <a:lnTo>
                    <a:pt x="225" y="282"/>
                  </a:lnTo>
                  <a:lnTo>
                    <a:pt x="225" y="285"/>
                  </a:lnTo>
                  <a:lnTo>
                    <a:pt x="228" y="285"/>
                  </a:lnTo>
                  <a:lnTo>
                    <a:pt x="228" y="288"/>
                  </a:lnTo>
                  <a:lnTo>
                    <a:pt x="231" y="288"/>
                  </a:lnTo>
                  <a:lnTo>
                    <a:pt x="231" y="291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7" y="300"/>
                  </a:lnTo>
                  <a:lnTo>
                    <a:pt x="237" y="303"/>
                  </a:lnTo>
                  <a:lnTo>
                    <a:pt x="237" y="306"/>
                  </a:lnTo>
                  <a:lnTo>
                    <a:pt x="240" y="306"/>
                  </a:lnTo>
                  <a:lnTo>
                    <a:pt x="240" y="309"/>
                  </a:lnTo>
                  <a:lnTo>
                    <a:pt x="240" y="312"/>
                  </a:lnTo>
                  <a:lnTo>
                    <a:pt x="243" y="315"/>
                  </a:lnTo>
                  <a:lnTo>
                    <a:pt x="243" y="318"/>
                  </a:lnTo>
                  <a:lnTo>
                    <a:pt x="246" y="318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4"/>
                  </a:lnTo>
                  <a:lnTo>
                    <a:pt x="249" y="327"/>
                  </a:lnTo>
                  <a:lnTo>
                    <a:pt x="249" y="330"/>
                  </a:lnTo>
                  <a:lnTo>
                    <a:pt x="252" y="330"/>
                  </a:lnTo>
                  <a:lnTo>
                    <a:pt x="255" y="330"/>
                  </a:lnTo>
                  <a:lnTo>
                    <a:pt x="258" y="330"/>
                  </a:lnTo>
                  <a:lnTo>
                    <a:pt x="258" y="333"/>
                  </a:lnTo>
                  <a:lnTo>
                    <a:pt x="255" y="333"/>
                  </a:lnTo>
                  <a:lnTo>
                    <a:pt x="255" y="336"/>
                  </a:lnTo>
                  <a:lnTo>
                    <a:pt x="255" y="339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2" y="348"/>
                  </a:lnTo>
                  <a:lnTo>
                    <a:pt x="255" y="348"/>
                  </a:lnTo>
                  <a:lnTo>
                    <a:pt x="255" y="351"/>
                  </a:lnTo>
                  <a:lnTo>
                    <a:pt x="255" y="354"/>
                  </a:lnTo>
                  <a:lnTo>
                    <a:pt x="255" y="351"/>
                  </a:lnTo>
                  <a:lnTo>
                    <a:pt x="258" y="351"/>
                  </a:lnTo>
                  <a:lnTo>
                    <a:pt x="258" y="354"/>
                  </a:lnTo>
                  <a:lnTo>
                    <a:pt x="255" y="354"/>
                  </a:lnTo>
                  <a:lnTo>
                    <a:pt x="255" y="357"/>
                  </a:lnTo>
                  <a:lnTo>
                    <a:pt x="252" y="357"/>
                  </a:lnTo>
                  <a:lnTo>
                    <a:pt x="252" y="354"/>
                  </a:lnTo>
                  <a:lnTo>
                    <a:pt x="252" y="357"/>
                  </a:lnTo>
                  <a:lnTo>
                    <a:pt x="252" y="360"/>
                  </a:lnTo>
                  <a:lnTo>
                    <a:pt x="252" y="357"/>
                  </a:lnTo>
                  <a:lnTo>
                    <a:pt x="255" y="357"/>
                  </a:lnTo>
                  <a:lnTo>
                    <a:pt x="255" y="360"/>
                  </a:lnTo>
                  <a:lnTo>
                    <a:pt x="252" y="360"/>
                  </a:lnTo>
                  <a:lnTo>
                    <a:pt x="249" y="360"/>
                  </a:lnTo>
                  <a:lnTo>
                    <a:pt x="249" y="363"/>
                  </a:lnTo>
                  <a:lnTo>
                    <a:pt x="252" y="363"/>
                  </a:lnTo>
                  <a:lnTo>
                    <a:pt x="249" y="363"/>
                  </a:lnTo>
                  <a:lnTo>
                    <a:pt x="249" y="366"/>
                  </a:lnTo>
                  <a:lnTo>
                    <a:pt x="246" y="366"/>
                  </a:lnTo>
                  <a:lnTo>
                    <a:pt x="246" y="363"/>
                  </a:lnTo>
                  <a:lnTo>
                    <a:pt x="243" y="363"/>
                  </a:lnTo>
                  <a:lnTo>
                    <a:pt x="243" y="366"/>
                  </a:lnTo>
                  <a:lnTo>
                    <a:pt x="243" y="363"/>
                  </a:lnTo>
                  <a:lnTo>
                    <a:pt x="240" y="363"/>
                  </a:lnTo>
                  <a:lnTo>
                    <a:pt x="240" y="366"/>
                  </a:lnTo>
                  <a:lnTo>
                    <a:pt x="240" y="369"/>
                  </a:lnTo>
                  <a:lnTo>
                    <a:pt x="240" y="366"/>
                  </a:lnTo>
                  <a:lnTo>
                    <a:pt x="237" y="366"/>
                  </a:lnTo>
                  <a:lnTo>
                    <a:pt x="234" y="366"/>
                  </a:lnTo>
                  <a:lnTo>
                    <a:pt x="234" y="369"/>
                  </a:lnTo>
                  <a:lnTo>
                    <a:pt x="234" y="372"/>
                  </a:lnTo>
                  <a:lnTo>
                    <a:pt x="231" y="372"/>
                  </a:lnTo>
                  <a:lnTo>
                    <a:pt x="231" y="369"/>
                  </a:lnTo>
                  <a:lnTo>
                    <a:pt x="228" y="369"/>
                  </a:lnTo>
                  <a:lnTo>
                    <a:pt x="225" y="369"/>
                  </a:lnTo>
                  <a:lnTo>
                    <a:pt x="225" y="372"/>
                  </a:lnTo>
                  <a:lnTo>
                    <a:pt x="228" y="372"/>
                  </a:lnTo>
                  <a:lnTo>
                    <a:pt x="228" y="375"/>
                  </a:lnTo>
                  <a:lnTo>
                    <a:pt x="225" y="375"/>
                  </a:lnTo>
                  <a:lnTo>
                    <a:pt x="222" y="375"/>
                  </a:lnTo>
                  <a:lnTo>
                    <a:pt x="219" y="375"/>
                  </a:lnTo>
                  <a:lnTo>
                    <a:pt x="219" y="378"/>
                  </a:lnTo>
                  <a:lnTo>
                    <a:pt x="219" y="381"/>
                  </a:lnTo>
                  <a:lnTo>
                    <a:pt x="216" y="381"/>
                  </a:lnTo>
                  <a:lnTo>
                    <a:pt x="213" y="381"/>
                  </a:lnTo>
                  <a:lnTo>
                    <a:pt x="213" y="384"/>
                  </a:lnTo>
                  <a:lnTo>
                    <a:pt x="210" y="384"/>
                  </a:lnTo>
                  <a:lnTo>
                    <a:pt x="210" y="381"/>
                  </a:lnTo>
                  <a:lnTo>
                    <a:pt x="207" y="378"/>
                  </a:lnTo>
                  <a:lnTo>
                    <a:pt x="204" y="381"/>
                  </a:lnTo>
                  <a:lnTo>
                    <a:pt x="201" y="381"/>
                  </a:lnTo>
                  <a:lnTo>
                    <a:pt x="201" y="384"/>
                  </a:lnTo>
                  <a:lnTo>
                    <a:pt x="198" y="384"/>
                  </a:lnTo>
                  <a:lnTo>
                    <a:pt x="198" y="381"/>
                  </a:lnTo>
                  <a:lnTo>
                    <a:pt x="195" y="381"/>
                  </a:lnTo>
                  <a:lnTo>
                    <a:pt x="195" y="384"/>
                  </a:lnTo>
                  <a:lnTo>
                    <a:pt x="192" y="384"/>
                  </a:lnTo>
                  <a:lnTo>
                    <a:pt x="192" y="381"/>
                  </a:lnTo>
                  <a:lnTo>
                    <a:pt x="189" y="381"/>
                  </a:lnTo>
                  <a:lnTo>
                    <a:pt x="186" y="381"/>
                  </a:lnTo>
                  <a:lnTo>
                    <a:pt x="183" y="378"/>
                  </a:lnTo>
                  <a:lnTo>
                    <a:pt x="180" y="378"/>
                  </a:lnTo>
                  <a:lnTo>
                    <a:pt x="180" y="375"/>
                  </a:lnTo>
                  <a:lnTo>
                    <a:pt x="180" y="372"/>
                  </a:lnTo>
                  <a:lnTo>
                    <a:pt x="177" y="372"/>
                  </a:lnTo>
                  <a:lnTo>
                    <a:pt x="174" y="372"/>
                  </a:lnTo>
                  <a:lnTo>
                    <a:pt x="171" y="372"/>
                  </a:lnTo>
                  <a:lnTo>
                    <a:pt x="171" y="375"/>
                  </a:lnTo>
                  <a:lnTo>
                    <a:pt x="168" y="375"/>
                  </a:lnTo>
                  <a:lnTo>
                    <a:pt x="168" y="372"/>
                  </a:lnTo>
                  <a:lnTo>
                    <a:pt x="165" y="372"/>
                  </a:lnTo>
                  <a:lnTo>
                    <a:pt x="165" y="375"/>
                  </a:lnTo>
                  <a:lnTo>
                    <a:pt x="162" y="375"/>
                  </a:lnTo>
                  <a:lnTo>
                    <a:pt x="162" y="372"/>
                  </a:lnTo>
                  <a:lnTo>
                    <a:pt x="165" y="372"/>
                  </a:lnTo>
                  <a:lnTo>
                    <a:pt x="162" y="372"/>
                  </a:lnTo>
                  <a:lnTo>
                    <a:pt x="162" y="369"/>
                  </a:lnTo>
                  <a:lnTo>
                    <a:pt x="159" y="369"/>
                  </a:lnTo>
                  <a:lnTo>
                    <a:pt x="156" y="369"/>
                  </a:lnTo>
                  <a:lnTo>
                    <a:pt x="156" y="366"/>
                  </a:lnTo>
                  <a:lnTo>
                    <a:pt x="156" y="363"/>
                  </a:lnTo>
                  <a:lnTo>
                    <a:pt x="153" y="363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53" y="366"/>
                  </a:lnTo>
                  <a:lnTo>
                    <a:pt x="153" y="369"/>
                  </a:lnTo>
                  <a:lnTo>
                    <a:pt x="150" y="369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4" y="366"/>
                  </a:lnTo>
                  <a:lnTo>
                    <a:pt x="144" y="369"/>
                  </a:lnTo>
                  <a:lnTo>
                    <a:pt x="141" y="369"/>
                  </a:lnTo>
                  <a:lnTo>
                    <a:pt x="138" y="369"/>
                  </a:lnTo>
                  <a:lnTo>
                    <a:pt x="135" y="369"/>
                  </a:lnTo>
                  <a:lnTo>
                    <a:pt x="135" y="372"/>
                  </a:lnTo>
                  <a:lnTo>
                    <a:pt x="132" y="372"/>
                  </a:lnTo>
                  <a:lnTo>
                    <a:pt x="132" y="369"/>
                  </a:lnTo>
                  <a:lnTo>
                    <a:pt x="129" y="369"/>
                  </a:lnTo>
                  <a:lnTo>
                    <a:pt x="129" y="372"/>
                  </a:lnTo>
                  <a:lnTo>
                    <a:pt x="129" y="375"/>
                  </a:lnTo>
                  <a:lnTo>
                    <a:pt x="132" y="375"/>
                  </a:lnTo>
                  <a:lnTo>
                    <a:pt x="129" y="375"/>
                  </a:lnTo>
                  <a:lnTo>
                    <a:pt x="129" y="378"/>
                  </a:lnTo>
                  <a:lnTo>
                    <a:pt x="126" y="378"/>
                  </a:lnTo>
                  <a:lnTo>
                    <a:pt x="123" y="378"/>
                  </a:lnTo>
                  <a:lnTo>
                    <a:pt x="123" y="381"/>
                  </a:lnTo>
                  <a:lnTo>
                    <a:pt x="120" y="381"/>
                  </a:lnTo>
                  <a:lnTo>
                    <a:pt x="120" y="384"/>
                  </a:lnTo>
                  <a:lnTo>
                    <a:pt x="117" y="384"/>
                  </a:lnTo>
                  <a:lnTo>
                    <a:pt x="114" y="384"/>
                  </a:lnTo>
                  <a:lnTo>
                    <a:pt x="114" y="381"/>
                  </a:lnTo>
                  <a:lnTo>
                    <a:pt x="114" y="378"/>
                  </a:lnTo>
                  <a:lnTo>
                    <a:pt x="111" y="378"/>
                  </a:lnTo>
                  <a:lnTo>
                    <a:pt x="111" y="381"/>
                  </a:lnTo>
                  <a:lnTo>
                    <a:pt x="108" y="381"/>
                  </a:lnTo>
                  <a:lnTo>
                    <a:pt x="108" y="378"/>
                  </a:lnTo>
                  <a:lnTo>
                    <a:pt x="108" y="375"/>
                  </a:lnTo>
                  <a:lnTo>
                    <a:pt x="105" y="375"/>
                  </a:lnTo>
                  <a:lnTo>
                    <a:pt x="102" y="375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75"/>
                  </a:lnTo>
                  <a:lnTo>
                    <a:pt x="93" y="375"/>
                  </a:lnTo>
                  <a:lnTo>
                    <a:pt x="90" y="375"/>
                  </a:lnTo>
                  <a:lnTo>
                    <a:pt x="90" y="372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78" y="369"/>
                  </a:lnTo>
                  <a:lnTo>
                    <a:pt x="78" y="366"/>
                  </a:lnTo>
                  <a:lnTo>
                    <a:pt x="75" y="366"/>
                  </a:lnTo>
                  <a:lnTo>
                    <a:pt x="72" y="366"/>
                  </a:lnTo>
                  <a:lnTo>
                    <a:pt x="72" y="363"/>
                  </a:lnTo>
                  <a:lnTo>
                    <a:pt x="69" y="363"/>
                  </a:lnTo>
                  <a:lnTo>
                    <a:pt x="69" y="360"/>
                  </a:lnTo>
                  <a:lnTo>
                    <a:pt x="69" y="357"/>
                  </a:lnTo>
                  <a:lnTo>
                    <a:pt x="66" y="357"/>
                  </a:lnTo>
                  <a:lnTo>
                    <a:pt x="66" y="354"/>
                  </a:lnTo>
                  <a:lnTo>
                    <a:pt x="63" y="354"/>
                  </a:lnTo>
                  <a:lnTo>
                    <a:pt x="63" y="351"/>
                  </a:lnTo>
                  <a:lnTo>
                    <a:pt x="60" y="351"/>
                  </a:lnTo>
                  <a:lnTo>
                    <a:pt x="60" y="348"/>
                  </a:lnTo>
                  <a:lnTo>
                    <a:pt x="60" y="345"/>
                  </a:lnTo>
                  <a:lnTo>
                    <a:pt x="57" y="345"/>
                  </a:lnTo>
                  <a:lnTo>
                    <a:pt x="54" y="345"/>
                  </a:lnTo>
                  <a:lnTo>
                    <a:pt x="54" y="342"/>
                  </a:lnTo>
                  <a:lnTo>
                    <a:pt x="51" y="342"/>
                  </a:lnTo>
                  <a:lnTo>
                    <a:pt x="51" y="339"/>
                  </a:lnTo>
                  <a:lnTo>
                    <a:pt x="54" y="339"/>
                  </a:lnTo>
                  <a:lnTo>
                    <a:pt x="51" y="339"/>
                  </a:lnTo>
                  <a:lnTo>
                    <a:pt x="51" y="336"/>
                  </a:lnTo>
                  <a:lnTo>
                    <a:pt x="48" y="336"/>
                  </a:lnTo>
                  <a:lnTo>
                    <a:pt x="48" y="333"/>
                  </a:lnTo>
                  <a:lnTo>
                    <a:pt x="45" y="333"/>
                  </a:lnTo>
                  <a:lnTo>
                    <a:pt x="45" y="330"/>
                  </a:lnTo>
                  <a:lnTo>
                    <a:pt x="42" y="330"/>
                  </a:lnTo>
                  <a:lnTo>
                    <a:pt x="42" y="327"/>
                  </a:lnTo>
                  <a:lnTo>
                    <a:pt x="42" y="324"/>
                  </a:lnTo>
                  <a:lnTo>
                    <a:pt x="39" y="324"/>
                  </a:lnTo>
                  <a:lnTo>
                    <a:pt x="39" y="321"/>
                  </a:lnTo>
                  <a:lnTo>
                    <a:pt x="39" y="318"/>
                  </a:lnTo>
                  <a:lnTo>
                    <a:pt x="39" y="315"/>
                  </a:lnTo>
                  <a:lnTo>
                    <a:pt x="36" y="315"/>
                  </a:lnTo>
                  <a:lnTo>
                    <a:pt x="33" y="315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7" y="306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1" y="306"/>
                  </a:lnTo>
                  <a:lnTo>
                    <a:pt x="18" y="303"/>
                  </a:lnTo>
                  <a:lnTo>
                    <a:pt x="18" y="300"/>
                  </a:lnTo>
                  <a:lnTo>
                    <a:pt x="18" y="303"/>
                  </a:lnTo>
                  <a:lnTo>
                    <a:pt x="15" y="303"/>
                  </a:lnTo>
                  <a:lnTo>
                    <a:pt x="15" y="300"/>
                  </a:lnTo>
                  <a:lnTo>
                    <a:pt x="12" y="300"/>
                  </a:lnTo>
                  <a:lnTo>
                    <a:pt x="12" y="297"/>
                  </a:lnTo>
                  <a:lnTo>
                    <a:pt x="9" y="297"/>
                  </a:lnTo>
                  <a:lnTo>
                    <a:pt x="9" y="300"/>
                  </a:lnTo>
                  <a:lnTo>
                    <a:pt x="9" y="297"/>
                  </a:lnTo>
                  <a:lnTo>
                    <a:pt x="6" y="297"/>
                  </a:lnTo>
                  <a:lnTo>
                    <a:pt x="6" y="294"/>
                  </a:lnTo>
                  <a:lnTo>
                    <a:pt x="6" y="291"/>
                  </a:lnTo>
                  <a:lnTo>
                    <a:pt x="3" y="291"/>
                  </a:lnTo>
                  <a:lnTo>
                    <a:pt x="3" y="288"/>
                  </a:lnTo>
                  <a:lnTo>
                    <a:pt x="3" y="285"/>
                  </a:lnTo>
                  <a:lnTo>
                    <a:pt x="0" y="282"/>
                  </a:lnTo>
                  <a:lnTo>
                    <a:pt x="3" y="279"/>
                  </a:lnTo>
                  <a:lnTo>
                    <a:pt x="6" y="273"/>
                  </a:lnTo>
                  <a:lnTo>
                    <a:pt x="12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5" y="252"/>
                  </a:lnTo>
                  <a:lnTo>
                    <a:pt x="18" y="249"/>
                  </a:lnTo>
                  <a:lnTo>
                    <a:pt x="18" y="246"/>
                  </a:lnTo>
                  <a:lnTo>
                    <a:pt x="21" y="243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7" y="228"/>
                  </a:lnTo>
                  <a:lnTo>
                    <a:pt x="30" y="225"/>
                  </a:lnTo>
                  <a:lnTo>
                    <a:pt x="30" y="222"/>
                  </a:lnTo>
                  <a:lnTo>
                    <a:pt x="33" y="219"/>
                  </a:lnTo>
                  <a:lnTo>
                    <a:pt x="33" y="216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9" y="207"/>
                  </a:lnTo>
                  <a:lnTo>
                    <a:pt x="39" y="204"/>
                  </a:lnTo>
                  <a:lnTo>
                    <a:pt x="39" y="201"/>
                  </a:lnTo>
                  <a:lnTo>
                    <a:pt x="42" y="198"/>
                  </a:lnTo>
                  <a:lnTo>
                    <a:pt x="45" y="195"/>
                  </a:lnTo>
                  <a:lnTo>
                    <a:pt x="45" y="192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48" y="186"/>
                  </a:lnTo>
                  <a:lnTo>
                    <a:pt x="42" y="186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5" y="168"/>
                  </a:lnTo>
                  <a:lnTo>
                    <a:pt x="48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51" y="159"/>
                  </a:lnTo>
                  <a:lnTo>
                    <a:pt x="51" y="156"/>
                  </a:lnTo>
                  <a:lnTo>
                    <a:pt x="48" y="153"/>
                  </a:lnTo>
                  <a:lnTo>
                    <a:pt x="45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7" y="141"/>
                  </a:lnTo>
                  <a:lnTo>
                    <a:pt x="57" y="132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3" y="126"/>
                  </a:lnTo>
                  <a:lnTo>
                    <a:pt x="66" y="126"/>
                  </a:lnTo>
                  <a:lnTo>
                    <a:pt x="63" y="123"/>
                  </a:lnTo>
                  <a:lnTo>
                    <a:pt x="66" y="123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5" y="114"/>
                  </a:lnTo>
                  <a:lnTo>
                    <a:pt x="78" y="114"/>
                  </a:lnTo>
                  <a:lnTo>
                    <a:pt x="78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8" y="108"/>
                  </a:lnTo>
                  <a:lnTo>
                    <a:pt x="78" y="105"/>
                  </a:lnTo>
                  <a:lnTo>
                    <a:pt x="81" y="105"/>
                  </a:lnTo>
                  <a:lnTo>
                    <a:pt x="84" y="105"/>
                  </a:lnTo>
                  <a:lnTo>
                    <a:pt x="84" y="102"/>
                  </a:lnTo>
                  <a:lnTo>
                    <a:pt x="87" y="102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5" y="96"/>
                  </a:lnTo>
                  <a:lnTo>
                    <a:pt x="105" y="93"/>
                  </a:lnTo>
                  <a:lnTo>
                    <a:pt x="108" y="93"/>
                  </a:lnTo>
                  <a:lnTo>
                    <a:pt x="111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87"/>
                  </a:lnTo>
                  <a:lnTo>
                    <a:pt x="120" y="87"/>
                  </a:lnTo>
                  <a:lnTo>
                    <a:pt x="123" y="84"/>
                  </a:lnTo>
                  <a:lnTo>
                    <a:pt x="126" y="84"/>
                  </a:lnTo>
                  <a:lnTo>
                    <a:pt x="126" y="87"/>
                  </a:lnTo>
                  <a:lnTo>
                    <a:pt x="129" y="90"/>
                  </a:lnTo>
                  <a:lnTo>
                    <a:pt x="132" y="90"/>
                  </a:lnTo>
                  <a:lnTo>
                    <a:pt x="132" y="87"/>
                  </a:lnTo>
                  <a:lnTo>
                    <a:pt x="135" y="87"/>
                  </a:lnTo>
                  <a:lnTo>
                    <a:pt x="135" y="90"/>
                  </a:lnTo>
                  <a:lnTo>
                    <a:pt x="138" y="90"/>
                  </a:lnTo>
                  <a:lnTo>
                    <a:pt x="141" y="90"/>
                  </a:lnTo>
                  <a:lnTo>
                    <a:pt x="141" y="93"/>
                  </a:lnTo>
                  <a:lnTo>
                    <a:pt x="141" y="96"/>
                  </a:lnTo>
                  <a:lnTo>
                    <a:pt x="141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4" y="96"/>
                  </a:lnTo>
                  <a:lnTo>
                    <a:pt x="144" y="93"/>
                  </a:lnTo>
                  <a:lnTo>
                    <a:pt x="147" y="93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59" y="72"/>
                  </a:lnTo>
                  <a:lnTo>
                    <a:pt x="162" y="72"/>
                  </a:lnTo>
                  <a:lnTo>
                    <a:pt x="162" y="69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9"/>
                  </a:lnTo>
                  <a:lnTo>
                    <a:pt x="177" y="69"/>
                  </a:lnTo>
                  <a:lnTo>
                    <a:pt x="177" y="66"/>
                  </a:lnTo>
                  <a:lnTo>
                    <a:pt x="180" y="66"/>
                  </a:lnTo>
                  <a:lnTo>
                    <a:pt x="183" y="69"/>
                  </a:lnTo>
                  <a:lnTo>
                    <a:pt x="183" y="66"/>
                  </a:lnTo>
                  <a:lnTo>
                    <a:pt x="180" y="66"/>
                  </a:lnTo>
                  <a:lnTo>
                    <a:pt x="177" y="66"/>
                  </a:lnTo>
                  <a:lnTo>
                    <a:pt x="177" y="63"/>
                  </a:lnTo>
                  <a:lnTo>
                    <a:pt x="177" y="60"/>
                  </a:lnTo>
                  <a:lnTo>
                    <a:pt x="180" y="60"/>
                  </a:lnTo>
                  <a:lnTo>
                    <a:pt x="180" y="57"/>
                  </a:lnTo>
                  <a:lnTo>
                    <a:pt x="183" y="57"/>
                  </a:lnTo>
                  <a:lnTo>
                    <a:pt x="183" y="54"/>
                  </a:lnTo>
                  <a:lnTo>
                    <a:pt x="180" y="54"/>
                  </a:lnTo>
                  <a:lnTo>
                    <a:pt x="180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74" y="48"/>
                  </a:lnTo>
                  <a:lnTo>
                    <a:pt x="174" y="45"/>
                  </a:lnTo>
                  <a:lnTo>
                    <a:pt x="177" y="45"/>
                  </a:lnTo>
                  <a:lnTo>
                    <a:pt x="180" y="45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89" y="36"/>
                  </a:lnTo>
                  <a:lnTo>
                    <a:pt x="189" y="33"/>
                  </a:lnTo>
                  <a:lnTo>
                    <a:pt x="192" y="33"/>
                  </a:lnTo>
                  <a:lnTo>
                    <a:pt x="192" y="30"/>
                  </a:lnTo>
                  <a:lnTo>
                    <a:pt x="195" y="30"/>
                  </a:lnTo>
                  <a:lnTo>
                    <a:pt x="198" y="30"/>
                  </a:lnTo>
                  <a:lnTo>
                    <a:pt x="198" y="33"/>
                  </a:lnTo>
                  <a:lnTo>
                    <a:pt x="198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4" y="24"/>
                  </a:lnTo>
                  <a:lnTo>
                    <a:pt x="207" y="24"/>
                  </a:lnTo>
                  <a:lnTo>
                    <a:pt x="207" y="27"/>
                  </a:lnTo>
                  <a:lnTo>
                    <a:pt x="210" y="27"/>
                  </a:lnTo>
                  <a:lnTo>
                    <a:pt x="210" y="24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6" y="27"/>
                  </a:lnTo>
                  <a:lnTo>
                    <a:pt x="216" y="24"/>
                  </a:lnTo>
                  <a:lnTo>
                    <a:pt x="219" y="24"/>
                  </a:lnTo>
                  <a:lnTo>
                    <a:pt x="216" y="24"/>
                  </a:lnTo>
                  <a:lnTo>
                    <a:pt x="216" y="21"/>
                  </a:lnTo>
                  <a:lnTo>
                    <a:pt x="219" y="21"/>
                  </a:lnTo>
                  <a:lnTo>
                    <a:pt x="219" y="18"/>
                  </a:lnTo>
                  <a:lnTo>
                    <a:pt x="219" y="21"/>
                  </a:lnTo>
                  <a:lnTo>
                    <a:pt x="222" y="21"/>
                  </a:lnTo>
                  <a:lnTo>
                    <a:pt x="222" y="24"/>
                  </a:lnTo>
                  <a:lnTo>
                    <a:pt x="225" y="24"/>
                  </a:lnTo>
                  <a:lnTo>
                    <a:pt x="228" y="24"/>
                  </a:lnTo>
                  <a:lnTo>
                    <a:pt x="231" y="24"/>
                  </a:lnTo>
                  <a:lnTo>
                    <a:pt x="234" y="24"/>
                  </a:lnTo>
                  <a:lnTo>
                    <a:pt x="237" y="24"/>
                  </a:lnTo>
                  <a:lnTo>
                    <a:pt x="240" y="24"/>
                  </a:lnTo>
                  <a:lnTo>
                    <a:pt x="240" y="27"/>
                  </a:lnTo>
                  <a:lnTo>
                    <a:pt x="237" y="27"/>
                  </a:lnTo>
                  <a:lnTo>
                    <a:pt x="240" y="27"/>
                  </a:lnTo>
                  <a:lnTo>
                    <a:pt x="240" y="30"/>
                  </a:lnTo>
                  <a:lnTo>
                    <a:pt x="240" y="27"/>
                  </a:lnTo>
                  <a:lnTo>
                    <a:pt x="243" y="27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1"/>
                  </a:lnTo>
                  <a:lnTo>
                    <a:pt x="249" y="18"/>
                  </a:lnTo>
                  <a:lnTo>
                    <a:pt x="252" y="18"/>
                  </a:lnTo>
                  <a:lnTo>
                    <a:pt x="255" y="18"/>
                  </a:lnTo>
                  <a:lnTo>
                    <a:pt x="255" y="21"/>
                  </a:lnTo>
                  <a:lnTo>
                    <a:pt x="258" y="21"/>
                  </a:lnTo>
                  <a:lnTo>
                    <a:pt x="258" y="24"/>
                  </a:lnTo>
                  <a:lnTo>
                    <a:pt x="261" y="24"/>
                  </a:lnTo>
                  <a:lnTo>
                    <a:pt x="261" y="21"/>
                  </a:lnTo>
                  <a:lnTo>
                    <a:pt x="264" y="21"/>
                  </a:lnTo>
                  <a:lnTo>
                    <a:pt x="264" y="18"/>
                  </a:lnTo>
                  <a:lnTo>
                    <a:pt x="264" y="15"/>
                  </a:lnTo>
                  <a:lnTo>
                    <a:pt x="267" y="15"/>
                  </a:lnTo>
                  <a:lnTo>
                    <a:pt x="267" y="12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3" y="9"/>
                  </a:lnTo>
                  <a:lnTo>
                    <a:pt x="273" y="6"/>
                  </a:lnTo>
                  <a:close/>
                </a:path>
              </a:pathLst>
            </a:custGeom>
            <a:solidFill>
              <a:srgbClr val="FFC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8" name="Freeform 36">
              <a:extLst>
                <a:ext uri="{FF2B5EF4-FFF2-40B4-BE49-F238E27FC236}">
                  <a16:creationId xmlns:a16="http://schemas.microsoft.com/office/drawing/2014/main" id="{7E0FFDCB-7A9C-4BE6-94DC-7A770DCE30A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778375" y="3049588"/>
              <a:ext cx="679450" cy="808037"/>
            </a:xfrm>
            <a:custGeom>
              <a:avLst/>
              <a:gdLst>
                <a:gd name="T0" fmla="*/ 478569 w 345"/>
                <a:gd name="T1" fmla="*/ 94369 h 411"/>
                <a:gd name="T2" fmla="*/ 531743 w 345"/>
                <a:gd name="T3" fmla="*/ 70777 h 411"/>
                <a:gd name="T4" fmla="*/ 537652 w 345"/>
                <a:gd name="T5" fmla="*/ 0 h 411"/>
                <a:gd name="T6" fmla="*/ 584918 w 345"/>
                <a:gd name="T7" fmla="*/ 11796 h 411"/>
                <a:gd name="T8" fmla="*/ 679450 w 345"/>
                <a:gd name="T9" fmla="*/ 17694 h 411"/>
                <a:gd name="T10" fmla="*/ 667633 w 345"/>
                <a:gd name="T11" fmla="*/ 76675 h 411"/>
                <a:gd name="T12" fmla="*/ 644000 w 345"/>
                <a:gd name="T13" fmla="*/ 129758 h 411"/>
                <a:gd name="T14" fmla="*/ 632184 w 345"/>
                <a:gd name="T15" fmla="*/ 194637 h 411"/>
                <a:gd name="T16" fmla="*/ 620367 w 345"/>
                <a:gd name="T17" fmla="*/ 253617 h 411"/>
                <a:gd name="T18" fmla="*/ 602643 w 345"/>
                <a:gd name="T19" fmla="*/ 306700 h 411"/>
                <a:gd name="T20" fmla="*/ 567193 w 345"/>
                <a:gd name="T21" fmla="*/ 353885 h 411"/>
                <a:gd name="T22" fmla="*/ 543560 w 345"/>
                <a:gd name="T23" fmla="*/ 383375 h 411"/>
                <a:gd name="T24" fmla="*/ 484477 w 345"/>
                <a:gd name="T25" fmla="*/ 412866 h 411"/>
                <a:gd name="T26" fmla="*/ 449028 w 345"/>
                <a:gd name="T27" fmla="*/ 454152 h 411"/>
                <a:gd name="T28" fmla="*/ 407670 w 345"/>
                <a:gd name="T29" fmla="*/ 501337 h 411"/>
                <a:gd name="T30" fmla="*/ 372220 w 345"/>
                <a:gd name="T31" fmla="*/ 566216 h 411"/>
                <a:gd name="T32" fmla="*/ 348587 w 345"/>
                <a:gd name="T33" fmla="*/ 613400 h 411"/>
                <a:gd name="T34" fmla="*/ 324954 w 345"/>
                <a:gd name="T35" fmla="*/ 666483 h 411"/>
                <a:gd name="T36" fmla="*/ 289505 w 345"/>
                <a:gd name="T37" fmla="*/ 719566 h 411"/>
                <a:gd name="T38" fmla="*/ 259963 w 345"/>
                <a:gd name="T39" fmla="*/ 766750 h 411"/>
                <a:gd name="T40" fmla="*/ 236330 w 345"/>
                <a:gd name="T41" fmla="*/ 802139 h 411"/>
                <a:gd name="T42" fmla="*/ 230422 w 345"/>
                <a:gd name="T43" fmla="*/ 778547 h 411"/>
                <a:gd name="T44" fmla="*/ 206789 w 345"/>
                <a:gd name="T45" fmla="*/ 760852 h 411"/>
                <a:gd name="T46" fmla="*/ 189064 w 345"/>
                <a:gd name="T47" fmla="*/ 749056 h 411"/>
                <a:gd name="T48" fmla="*/ 171340 w 345"/>
                <a:gd name="T49" fmla="*/ 737260 h 411"/>
                <a:gd name="T50" fmla="*/ 153615 w 345"/>
                <a:gd name="T51" fmla="*/ 731362 h 411"/>
                <a:gd name="T52" fmla="*/ 106349 w 345"/>
                <a:gd name="T53" fmla="*/ 719566 h 411"/>
                <a:gd name="T54" fmla="*/ 64991 w 345"/>
                <a:gd name="T55" fmla="*/ 713668 h 411"/>
                <a:gd name="T56" fmla="*/ 29541 w 345"/>
                <a:gd name="T57" fmla="*/ 707770 h 411"/>
                <a:gd name="T58" fmla="*/ 0 w 345"/>
                <a:gd name="T59" fmla="*/ 666483 h 411"/>
                <a:gd name="T60" fmla="*/ 35450 w 345"/>
                <a:gd name="T61" fmla="*/ 642891 h 411"/>
                <a:gd name="T62" fmla="*/ 59083 w 345"/>
                <a:gd name="T63" fmla="*/ 619298 h 411"/>
                <a:gd name="T64" fmla="*/ 59083 w 345"/>
                <a:gd name="T65" fmla="*/ 583910 h 411"/>
                <a:gd name="T66" fmla="*/ 59083 w 345"/>
                <a:gd name="T67" fmla="*/ 548521 h 411"/>
                <a:gd name="T68" fmla="*/ 88624 w 345"/>
                <a:gd name="T69" fmla="*/ 519031 h 411"/>
                <a:gd name="T70" fmla="*/ 106349 w 345"/>
                <a:gd name="T71" fmla="*/ 489541 h 411"/>
                <a:gd name="T72" fmla="*/ 94532 w 345"/>
                <a:gd name="T73" fmla="*/ 448254 h 411"/>
                <a:gd name="T74" fmla="*/ 64991 w 345"/>
                <a:gd name="T75" fmla="*/ 412866 h 411"/>
                <a:gd name="T76" fmla="*/ 35450 w 345"/>
                <a:gd name="T77" fmla="*/ 389273 h 411"/>
                <a:gd name="T78" fmla="*/ 23633 w 345"/>
                <a:gd name="T79" fmla="*/ 347987 h 411"/>
                <a:gd name="T80" fmla="*/ 59083 w 345"/>
                <a:gd name="T81" fmla="*/ 330292 h 411"/>
                <a:gd name="T82" fmla="*/ 88624 w 345"/>
                <a:gd name="T83" fmla="*/ 306700 h 411"/>
                <a:gd name="T84" fmla="*/ 112257 w 345"/>
                <a:gd name="T85" fmla="*/ 277210 h 411"/>
                <a:gd name="T86" fmla="*/ 147707 w 345"/>
                <a:gd name="T87" fmla="*/ 241821 h 411"/>
                <a:gd name="T88" fmla="*/ 153615 w 345"/>
                <a:gd name="T89" fmla="*/ 188739 h 411"/>
                <a:gd name="T90" fmla="*/ 153615 w 345"/>
                <a:gd name="T91" fmla="*/ 153350 h 411"/>
                <a:gd name="T92" fmla="*/ 159523 w 345"/>
                <a:gd name="T93" fmla="*/ 117962 h 411"/>
                <a:gd name="T94" fmla="*/ 194973 w 345"/>
                <a:gd name="T95" fmla="*/ 106165 h 411"/>
                <a:gd name="T96" fmla="*/ 242239 w 345"/>
                <a:gd name="T97" fmla="*/ 106165 h 411"/>
                <a:gd name="T98" fmla="*/ 283597 w 345"/>
                <a:gd name="T99" fmla="*/ 94369 h 411"/>
                <a:gd name="T100" fmla="*/ 354496 w 345"/>
                <a:gd name="T101" fmla="*/ 100267 h 411"/>
                <a:gd name="T102" fmla="*/ 384037 w 345"/>
                <a:gd name="T103" fmla="*/ 100267 h 411"/>
                <a:gd name="T104" fmla="*/ 112257 w 345"/>
                <a:gd name="T105" fmla="*/ 601604 h 411"/>
                <a:gd name="T106" fmla="*/ 124073 w 345"/>
                <a:gd name="T107" fmla="*/ 642891 h 411"/>
                <a:gd name="T108" fmla="*/ 141798 w 345"/>
                <a:gd name="T109" fmla="*/ 690075 h 411"/>
                <a:gd name="T110" fmla="*/ 165431 w 345"/>
                <a:gd name="T111" fmla="*/ 695973 h 411"/>
                <a:gd name="T112" fmla="*/ 200881 w 345"/>
                <a:gd name="T113" fmla="*/ 707770 h 411"/>
                <a:gd name="T114" fmla="*/ 224514 w 345"/>
                <a:gd name="T115" fmla="*/ 678279 h 411"/>
                <a:gd name="T116" fmla="*/ 206789 w 345"/>
                <a:gd name="T117" fmla="*/ 666483 h 411"/>
                <a:gd name="T118" fmla="*/ 183156 w 345"/>
                <a:gd name="T119" fmla="*/ 631095 h 411"/>
                <a:gd name="T120" fmla="*/ 159523 w 345"/>
                <a:gd name="T121" fmla="*/ 613400 h 411"/>
                <a:gd name="T122" fmla="*/ 118165 w 345"/>
                <a:gd name="T123" fmla="*/ 589808 h 4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5" h="411">
                  <a:moveTo>
                    <a:pt x="210" y="42"/>
                  </a:moveTo>
                  <a:lnTo>
                    <a:pt x="213" y="42"/>
                  </a:lnTo>
                  <a:lnTo>
                    <a:pt x="216" y="45"/>
                  </a:lnTo>
                  <a:lnTo>
                    <a:pt x="219" y="45"/>
                  </a:lnTo>
                  <a:lnTo>
                    <a:pt x="225" y="48"/>
                  </a:lnTo>
                  <a:lnTo>
                    <a:pt x="228" y="48"/>
                  </a:lnTo>
                  <a:lnTo>
                    <a:pt x="231" y="48"/>
                  </a:lnTo>
                  <a:lnTo>
                    <a:pt x="234" y="48"/>
                  </a:lnTo>
                  <a:lnTo>
                    <a:pt x="237" y="48"/>
                  </a:lnTo>
                  <a:lnTo>
                    <a:pt x="240" y="48"/>
                  </a:lnTo>
                  <a:lnTo>
                    <a:pt x="243" y="48"/>
                  </a:lnTo>
                  <a:lnTo>
                    <a:pt x="246" y="48"/>
                  </a:lnTo>
                  <a:lnTo>
                    <a:pt x="249" y="48"/>
                  </a:lnTo>
                  <a:lnTo>
                    <a:pt x="252" y="48"/>
                  </a:lnTo>
                  <a:lnTo>
                    <a:pt x="255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45"/>
                  </a:lnTo>
                  <a:lnTo>
                    <a:pt x="270" y="42"/>
                  </a:lnTo>
                  <a:lnTo>
                    <a:pt x="270" y="39"/>
                  </a:lnTo>
                  <a:lnTo>
                    <a:pt x="270" y="36"/>
                  </a:lnTo>
                  <a:lnTo>
                    <a:pt x="270" y="33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70" y="21"/>
                  </a:lnTo>
                  <a:lnTo>
                    <a:pt x="270" y="18"/>
                  </a:lnTo>
                  <a:lnTo>
                    <a:pt x="270" y="15"/>
                  </a:lnTo>
                  <a:lnTo>
                    <a:pt x="270" y="12"/>
                  </a:lnTo>
                  <a:lnTo>
                    <a:pt x="273" y="6"/>
                  </a:lnTo>
                  <a:lnTo>
                    <a:pt x="273" y="3"/>
                  </a:lnTo>
                  <a:lnTo>
                    <a:pt x="273" y="0"/>
                  </a:lnTo>
                  <a:lnTo>
                    <a:pt x="276" y="0"/>
                  </a:lnTo>
                  <a:lnTo>
                    <a:pt x="279" y="0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4" y="3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15" y="6"/>
                  </a:lnTo>
                  <a:lnTo>
                    <a:pt x="321" y="6"/>
                  </a:lnTo>
                  <a:lnTo>
                    <a:pt x="330" y="6"/>
                  </a:lnTo>
                  <a:lnTo>
                    <a:pt x="333" y="6"/>
                  </a:lnTo>
                  <a:lnTo>
                    <a:pt x="339" y="6"/>
                  </a:lnTo>
                  <a:lnTo>
                    <a:pt x="342" y="6"/>
                  </a:lnTo>
                  <a:lnTo>
                    <a:pt x="345" y="6"/>
                  </a:lnTo>
                  <a:lnTo>
                    <a:pt x="345" y="9"/>
                  </a:lnTo>
                  <a:lnTo>
                    <a:pt x="345" y="12"/>
                  </a:lnTo>
                  <a:lnTo>
                    <a:pt x="345" y="15"/>
                  </a:lnTo>
                  <a:lnTo>
                    <a:pt x="345" y="18"/>
                  </a:lnTo>
                  <a:lnTo>
                    <a:pt x="345" y="21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39" y="33"/>
                  </a:lnTo>
                  <a:lnTo>
                    <a:pt x="339" y="36"/>
                  </a:lnTo>
                  <a:lnTo>
                    <a:pt x="339" y="39"/>
                  </a:lnTo>
                  <a:lnTo>
                    <a:pt x="339" y="42"/>
                  </a:lnTo>
                  <a:lnTo>
                    <a:pt x="336" y="42"/>
                  </a:lnTo>
                  <a:lnTo>
                    <a:pt x="336" y="45"/>
                  </a:lnTo>
                  <a:lnTo>
                    <a:pt x="336" y="48"/>
                  </a:lnTo>
                  <a:lnTo>
                    <a:pt x="333" y="51"/>
                  </a:lnTo>
                  <a:lnTo>
                    <a:pt x="333" y="54"/>
                  </a:lnTo>
                  <a:lnTo>
                    <a:pt x="333" y="57"/>
                  </a:lnTo>
                  <a:lnTo>
                    <a:pt x="330" y="57"/>
                  </a:lnTo>
                  <a:lnTo>
                    <a:pt x="330" y="60"/>
                  </a:lnTo>
                  <a:lnTo>
                    <a:pt x="330" y="63"/>
                  </a:lnTo>
                  <a:lnTo>
                    <a:pt x="327" y="66"/>
                  </a:lnTo>
                  <a:lnTo>
                    <a:pt x="327" y="69"/>
                  </a:lnTo>
                  <a:lnTo>
                    <a:pt x="327" y="72"/>
                  </a:lnTo>
                  <a:lnTo>
                    <a:pt x="327" y="75"/>
                  </a:lnTo>
                  <a:lnTo>
                    <a:pt x="327" y="78"/>
                  </a:lnTo>
                  <a:lnTo>
                    <a:pt x="324" y="81"/>
                  </a:lnTo>
                  <a:lnTo>
                    <a:pt x="324" y="84"/>
                  </a:lnTo>
                  <a:lnTo>
                    <a:pt x="324" y="87"/>
                  </a:lnTo>
                  <a:lnTo>
                    <a:pt x="324" y="90"/>
                  </a:lnTo>
                  <a:lnTo>
                    <a:pt x="321" y="93"/>
                  </a:lnTo>
                  <a:lnTo>
                    <a:pt x="321" y="96"/>
                  </a:lnTo>
                  <a:lnTo>
                    <a:pt x="321" y="99"/>
                  </a:lnTo>
                  <a:lnTo>
                    <a:pt x="321" y="102"/>
                  </a:lnTo>
                  <a:lnTo>
                    <a:pt x="321" y="105"/>
                  </a:lnTo>
                  <a:lnTo>
                    <a:pt x="321" y="108"/>
                  </a:lnTo>
                  <a:lnTo>
                    <a:pt x="321" y="111"/>
                  </a:lnTo>
                  <a:lnTo>
                    <a:pt x="321" y="114"/>
                  </a:lnTo>
                  <a:lnTo>
                    <a:pt x="318" y="114"/>
                  </a:lnTo>
                  <a:lnTo>
                    <a:pt x="318" y="117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5" y="129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2" y="135"/>
                  </a:lnTo>
                  <a:lnTo>
                    <a:pt x="312" y="138"/>
                  </a:lnTo>
                  <a:lnTo>
                    <a:pt x="312" y="141"/>
                  </a:lnTo>
                  <a:lnTo>
                    <a:pt x="309" y="144"/>
                  </a:lnTo>
                  <a:lnTo>
                    <a:pt x="309" y="147"/>
                  </a:lnTo>
                  <a:lnTo>
                    <a:pt x="306" y="147"/>
                  </a:lnTo>
                  <a:lnTo>
                    <a:pt x="306" y="150"/>
                  </a:lnTo>
                  <a:lnTo>
                    <a:pt x="306" y="153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3" y="162"/>
                  </a:lnTo>
                  <a:lnTo>
                    <a:pt x="303" y="165"/>
                  </a:lnTo>
                  <a:lnTo>
                    <a:pt x="303" y="168"/>
                  </a:lnTo>
                  <a:lnTo>
                    <a:pt x="300" y="168"/>
                  </a:lnTo>
                  <a:lnTo>
                    <a:pt x="300" y="171"/>
                  </a:lnTo>
                  <a:lnTo>
                    <a:pt x="297" y="171"/>
                  </a:lnTo>
                  <a:lnTo>
                    <a:pt x="297" y="174"/>
                  </a:lnTo>
                  <a:lnTo>
                    <a:pt x="294" y="174"/>
                  </a:lnTo>
                  <a:lnTo>
                    <a:pt x="291" y="177"/>
                  </a:lnTo>
                  <a:lnTo>
                    <a:pt x="288" y="180"/>
                  </a:lnTo>
                  <a:lnTo>
                    <a:pt x="285" y="183"/>
                  </a:lnTo>
                  <a:lnTo>
                    <a:pt x="282" y="186"/>
                  </a:lnTo>
                  <a:lnTo>
                    <a:pt x="279" y="189"/>
                  </a:lnTo>
                  <a:lnTo>
                    <a:pt x="276" y="189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6" y="192"/>
                  </a:lnTo>
                  <a:lnTo>
                    <a:pt x="276" y="189"/>
                  </a:lnTo>
                  <a:lnTo>
                    <a:pt x="279" y="189"/>
                  </a:lnTo>
                  <a:lnTo>
                    <a:pt x="276" y="192"/>
                  </a:lnTo>
                  <a:lnTo>
                    <a:pt x="276" y="195"/>
                  </a:lnTo>
                  <a:lnTo>
                    <a:pt x="273" y="195"/>
                  </a:lnTo>
                  <a:lnTo>
                    <a:pt x="270" y="198"/>
                  </a:lnTo>
                  <a:lnTo>
                    <a:pt x="267" y="198"/>
                  </a:lnTo>
                  <a:lnTo>
                    <a:pt x="264" y="201"/>
                  </a:lnTo>
                  <a:lnTo>
                    <a:pt x="261" y="201"/>
                  </a:lnTo>
                  <a:lnTo>
                    <a:pt x="258" y="201"/>
                  </a:lnTo>
                  <a:lnTo>
                    <a:pt x="258" y="204"/>
                  </a:lnTo>
                  <a:lnTo>
                    <a:pt x="255" y="204"/>
                  </a:lnTo>
                  <a:lnTo>
                    <a:pt x="252" y="204"/>
                  </a:lnTo>
                  <a:lnTo>
                    <a:pt x="249" y="207"/>
                  </a:lnTo>
                  <a:lnTo>
                    <a:pt x="246" y="210"/>
                  </a:lnTo>
                  <a:lnTo>
                    <a:pt x="246" y="213"/>
                  </a:lnTo>
                  <a:lnTo>
                    <a:pt x="243" y="213"/>
                  </a:lnTo>
                  <a:lnTo>
                    <a:pt x="243" y="216"/>
                  </a:lnTo>
                  <a:lnTo>
                    <a:pt x="240" y="216"/>
                  </a:lnTo>
                  <a:lnTo>
                    <a:pt x="240" y="219"/>
                  </a:lnTo>
                  <a:lnTo>
                    <a:pt x="237" y="219"/>
                  </a:lnTo>
                  <a:lnTo>
                    <a:pt x="237" y="222"/>
                  </a:lnTo>
                  <a:lnTo>
                    <a:pt x="234" y="222"/>
                  </a:lnTo>
                  <a:lnTo>
                    <a:pt x="234" y="225"/>
                  </a:lnTo>
                  <a:lnTo>
                    <a:pt x="231" y="228"/>
                  </a:lnTo>
                  <a:lnTo>
                    <a:pt x="228" y="231"/>
                  </a:lnTo>
                  <a:lnTo>
                    <a:pt x="225" y="234"/>
                  </a:lnTo>
                  <a:lnTo>
                    <a:pt x="225" y="237"/>
                  </a:lnTo>
                  <a:lnTo>
                    <a:pt x="222" y="237"/>
                  </a:lnTo>
                  <a:lnTo>
                    <a:pt x="222" y="240"/>
                  </a:lnTo>
                  <a:lnTo>
                    <a:pt x="219" y="240"/>
                  </a:lnTo>
                  <a:lnTo>
                    <a:pt x="219" y="243"/>
                  </a:lnTo>
                  <a:lnTo>
                    <a:pt x="216" y="246"/>
                  </a:lnTo>
                  <a:lnTo>
                    <a:pt x="213" y="249"/>
                  </a:lnTo>
                  <a:lnTo>
                    <a:pt x="210" y="252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7" y="258"/>
                  </a:lnTo>
                  <a:lnTo>
                    <a:pt x="204" y="261"/>
                  </a:lnTo>
                  <a:lnTo>
                    <a:pt x="201" y="264"/>
                  </a:lnTo>
                  <a:lnTo>
                    <a:pt x="201" y="267"/>
                  </a:lnTo>
                  <a:lnTo>
                    <a:pt x="198" y="270"/>
                  </a:lnTo>
                  <a:lnTo>
                    <a:pt x="198" y="273"/>
                  </a:lnTo>
                  <a:lnTo>
                    <a:pt x="195" y="276"/>
                  </a:lnTo>
                  <a:lnTo>
                    <a:pt x="195" y="279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8"/>
                  </a:lnTo>
                  <a:lnTo>
                    <a:pt x="189" y="291"/>
                  </a:lnTo>
                  <a:lnTo>
                    <a:pt x="192" y="291"/>
                  </a:lnTo>
                  <a:lnTo>
                    <a:pt x="192" y="294"/>
                  </a:lnTo>
                  <a:lnTo>
                    <a:pt x="189" y="297"/>
                  </a:lnTo>
                  <a:lnTo>
                    <a:pt x="186" y="300"/>
                  </a:lnTo>
                  <a:lnTo>
                    <a:pt x="186" y="303"/>
                  </a:lnTo>
                  <a:lnTo>
                    <a:pt x="183" y="303"/>
                  </a:lnTo>
                  <a:lnTo>
                    <a:pt x="183" y="306"/>
                  </a:lnTo>
                  <a:lnTo>
                    <a:pt x="180" y="309"/>
                  </a:lnTo>
                  <a:lnTo>
                    <a:pt x="177" y="309"/>
                  </a:lnTo>
                  <a:lnTo>
                    <a:pt x="177" y="312"/>
                  </a:lnTo>
                  <a:lnTo>
                    <a:pt x="177" y="315"/>
                  </a:lnTo>
                  <a:lnTo>
                    <a:pt x="174" y="315"/>
                  </a:lnTo>
                  <a:lnTo>
                    <a:pt x="174" y="318"/>
                  </a:lnTo>
                  <a:lnTo>
                    <a:pt x="174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7"/>
                  </a:lnTo>
                  <a:lnTo>
                    <a:pt x="168" y="330"/>
                  </a:lnTo>
                  <a:lnTo>
                    <a:pt x="168" y="333"/>
                  </a:lnTo>
                  <a:lnTo>
                    <a:pt x="165" y="336"/>
                  </a:lnTo>
                  <a:lnTo>
                    <a:pt x="165" y="339"/>
                  </a:lnTo>
                  <a:lnTo>
                    <a:pt x="162" y="342"/>
                  </a:lnTo>
                  <a:lnTo>
                    <a:pt x="159" y="345"/>
                  </a:lnTo>
                  <a:lnTo>
                    <a:pt x="159" y="348"/>
                  </a:lnTo>
                  <a:lnTo>
                    <a:pt x="159" y="351"/>
                  </a:lnTo>
                  <a:lnTo>
                    <a:pt x="156" y="354"/>
                  </a:lnTo>
                  <a:lnTo>
                    <a:pt x="156" y="357"/>
                  </a:lnTo>
                  <a:lnTo>
                    <a:pt x="153" y="357"/>
                  </a:lnTo>
                  <a:lnTo>
                    <a:pt x="153" y="360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72"/>
                  </a:lnTo>
                  <a:lnTo>
                    <a:pt x="144" y="375"/>
                  </a:lnTo>
                  <a:lnTo>
                    <a:pt x="141" y="378"/>
                  </a:lnTo>
                  <a:lnTo>
                    <a:pt x="141" y="381"/>
                  </a:lnTo>
                  <a:lnTo>
                    <a:pt x="138" y="381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5" y="387"/>
                  </a:lnTo>
                  <a:lnTo>
                    <a:pt x="135" y="390"/>
                  </a:lnTo>
                  <a:lnTo>
                    <a:pt x="132" y="390"/>
                  </a:lnTo>
                  <a:lnTo>
                    <a:pt x="132" y="393"/>
                  </a:lnTo>
                  <a:lnTo>
                    <a:pt x="129" y="396"/>
                  </a:lnTo>
                  <a:lnTo>
                    <a:pt x="129" y="399"/>
                  </a:lnTo>
                  <a:lnTo>
                    <a:pt x="126" y="399"/>
                  </a:lnTo>
                  <a:lnTo>
                    <a:pt x="126" y="402"/>
                  </a:lnTo>
                  <a:lnTo>
                    <a:pt x="126" y="405"/>
                  </a:lnTo>
                  <a:lnTo>
                    <a:pt x="123" y="405"/>
                  </a:lnTo>
                  <a:lnTo>
                    <a:pt x="123" y="408"/>
                  </a:lnTo>
                  <a:lnTo>
                    <a:pt x="120" y="408"/>
                  </a:lnTo>
                  <a:lnTo>
                    <a:pt x="120" y="411"/>
                  </a:lnTo>
                  <a:lnTo>
                    <a:pt x="120" y="408"/>
                  </a:lnTo>
                  <a:lnTo>
                    <a:pt x="117" y="408"/>
                  </a:lnTo>
                  <a:lnTo>
                    <a:pt x="117" y="405"/>
                  </a:lnTo>
                  <a:lnTo>
                    <a:pt x="114" y="405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7" y="399"/>
                  </a:lnTo>
                  <a:lnTo>
                    <a:pt x="114" y="399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7" y="393"/>
                  </a:lnTo>
                  <a:lnTo>
                    <a:pt x="114" y="393"/>
                  </a:lnTo>
                  <a:lnTo>
                    <a:pt x="114" y="390"/>
                  </a:lnTo>
                  <a:lnTo>
                    <a:pt x="111" y="390"/>
                  </a:lnTo>
                  <a:lnTo>
                    <a:pt x="108" y="390"/>
                  </a:lnTo>
                  <a:lnTo>
                    <a:pt x="111" y="390"/>
                  </a:lnTo>
                  <a:lnTo>
                    <a:pt x="111" y="387"/>
                  </a:lnTo>
                  <a:lnTo>
                    <a:pt x="108" y="387"/>
                  </a:lnTo>
                  <a:lnTo>
                    <a:pt x="105" y="387"/>
                  </a:lnTo>
                  <a:lnTo>
                    <a:pt x="105" y="384"/>
                  </a:lnTo>
                  <a:lnTo>
                    <a:pt x="102" y="384"/>
                  </a:lnTo>
                  <a:lnTo>
                    <a:pt x="102" y="387"/>
                  </a:lnTo>
                  <a:lnTo>
                    <a:pt x="99" y="387"/>
                  </a:lnTo>
                  <a:lnTo>
                    <a:pt x="99" y="384"/>
                  </a:lnTo>
                  <a:lnTo>
                    <a:pt x="102" y="384"/>
                  </a:lnTo>
                  <a:lnTo>
                    <a:pt x="99" y="384"/>
                  </a:lnTo>
                  <a:lnTo>
                    <a:pt x="99" y="381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3" y="381"/>
                  </a:lnTo>
                  <a:lnTo>
                    <a:pt x="93" y="378"/>
                  </a:lnTo>
                  <a:lnTo>
                    <a:pt x="96" y="378"/>
                  </a:lnTo>
                  <a:lnTo>
                    <a:pt x="93" y="378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1" y="375"/>
                  </a:lnTo>
                  <a:lnTo>
                    <a:pt x="81" y="372"/>
                  </a:lnTo>
                  <a:lnTo>
                    <a:pt x="78" y="372"/>
                  </a:lnTo>
                  <a:lnTo>
                    <a:pt x="78" y="369"/>
                  </a:lnTo>
                  <a:lnTo>
                    <a:pt x="75" y="369"/>
                  </a:lnTo>
                  <a:lnTo>
                    <a:pt x="75" y="372"/>
                  </a:lnTo>
                  <a:lnTo>
                    <a:pt x="72" y="372"/>
                  </a:lnTo>
                  <a:lnTo>
                    <a:pt x="69" y="372"/>
                  </a:lnTo>
                  <a:lnTo>
                    <a:pt x="69" y="369"/>
                  </a:lnTo>
                  <a:lnTo>
                    <a:pt x="66" y="369"/>
                  </a:lnTo>
                  <a:lnTo>
                    <a:pt x="63" y="366"/>
                  </a:lnTo>
                  <a:lnTo>
                    <a:pt x="60" y="366"/>
                  </a:lnTo>
                  <a:lnTo>
                    <a:pt x="57" y="366"/>
                  </a:lnTo>
                  <a:lnTo>
                    <a:pt x="54" y="366"/>
                  </a:lnTo>
                  <a:lnTo>
                    <a:pt x="51" y="369"/>
                  </a:lnTo>
                  <a:lnTo>
                    <a:pt x="48" y="369"/>
                  </a:lnTo>
                  <a:lnTo>
                    <a:pt x="48" y="366"/>
                  </a:lnTo>
                  <a:lnTo>
                    <a:pt x="45" y="366"/>
                  </a:lnTo>
                  <a:lnTo>
                    <a:pt x="42" y="366"/>
                  </a:lnTo>
                  <a:lnTo>
                    <a:pt x="39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0" y="360"/>
                  </a:lnTo>
                  <a:lnTo>
                    <a:pt x="30" y="357"/>
                  </a:lnTo>
                  <a:lnTo>
                    <a:pt x="27" y="357"/>
                  </a:lnTo>
                  <a:lnTo>
                    <a:pt x="24" y="354"/>
                  </a:lnTo>
                  <a:lnTo>
                    <a:pt x="21" y="354"/>
                  </a:lnTo>
                  <a:lnTo>
                    <a:pt x="18" y="357"/>
                  </a:lnTo>
                  <a:lnTo>
                    <a:pt x="18" y="360"/>
                  </a:lnTo>
                  <a:lnTo>
                    <a:pt x="15" y="360"/>
                  </a:lnTo>
                  <a:lnTo>
                    <a:pt x="12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6" y="357"/>
                  </a:lnTo>
                  <a:lnTo>
                    <a:pt x="6" y="354"/>
                  </a:lnTo>
                  <a:lnTo>
                    <a:pt x="3" y="354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3" y="345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6"/>
                  </a:lnTo>
                  <a:lnTo>
                    <a:pt x="0" y="333"/>
                  </a:lnTo>
                  <a:lnTo>
                    <a:pt x="3" y="333"/>
                  </a:lnTo>
                  <a:lnTo>
                    <a:pt x="6" y="336"/>
                  </a:lnTo>
                  <a:lnTo>
                    <a:pt x="9" y="336"/>
                  </a:lnTo>
                  <a:lnTo>
                    <a:pt x="12" y="333"/>
                  </a:lnTo>
                  <a:lnTo>
                    <a:pt x="12" y="330"/>
                  </a:lnTo>
                  <a:lnTo>
                    <a:pt x="15" y="330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8" y="327"/>
                  </a:lnTo>
                  <a:lnTo>
                    <a:pt x="21" y="327"/>
                  </a:lnTo>
                  <a:lnTo>
                    <a:pt x="21" y="324"/>
                  </a:lnTo>
                  <a:lnTo>
                    <a:pt x="18" y="324"/>
                  </a:lnTo>
                  <a:lnTo>
                    <a:pt x="21" y="324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27" y="321"/>
                  </a:lnTo>
                  <a:lnTo>
                    <a:pt x="27" y="318"/>
                  </a:lnTo>
                  <a:lnTo>
                    <a:pt x="30" y="321"/>
                  </a:lnTo>
                  <a:lnTo>
                    <a:pt x="30" y="318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4" y="306"/>
                  </a:lnTo>
                  <a:lnTo>
                    <a:pt x="21" y="306"/>
                  </a:lnTo>
                  <a:lnTo>
                    <a:pt x="21" y="303"/>
                  </a:lnTo>
                  <a:lnTo>
                    <a:pt x="24" y="303"/>
                  </a:lnTo>
                  <a:lnTo>
                    <a:pt x="24" y="300"/>
                  </a:lnTo>
                  <a:lnTo>
                    <a:pt x="27" y="300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3" y="297"/>
                  </a:lnTo>
                  <a:lnTo>
                    <a:pt x="33" y="294"/>
                  </a:lnTo>
                  <a:lnTo>
                    <a:pt x="30" y="294"/>
                  </a:lnTo>
                  <a:lnTo>
                    <a:pt x="33" y="291"/>
                  </a:lnTo>
                  <a:lnTo>
                    <a:pt x="27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282"/>
                  </a:lnTo>
                  <a:lnTo>
                    <a:pt x="30" y="279"/>
                  </a:lnTo>
                  <a:lnTo>
                    <a:pt x="33" y="279"/>
                  </a:lnTo>
                  <a:lnTo>
                    <a:pt x="33" y="276"/>
                  </a:lnTo>
                  <a:lnTo>
                    <a:pt x="33" y="273"/>
                  </a:lnTo>
                  <a:lnTo>
                    <a:pt x="36" y="273"/>
                  </a:lnTo>
                  <a:lnTo>
                    <a:pt x="39" y="270"/>
                  </a:lnTo>
                  <a:lnTo>
                    <a:pt x="42" y="270"/>
                  </a:lnTo>
                  <a:lnTo>
                    <a:pt x="45" y="270"/>
                  </a:lnTo>
                  <a:lnTo>
                    <a:pt x="42" y="267"/>
                  </a:lnTo>
                  <a:lnTo>
                    <a:pt x="45" y="267"/>
                  </a:lnTo>
                  <a:lnTo>
                    <a:pt x="42" y="264"/>
                  </a:lnTo>
                  <a:lnTo>
                    <a:pt x="45" y="264"/>
                  </a:lnTo>
                  <a:lnTo>
                    <a:pt x="48" y="264"/>
                  </a:lnTo>
                  <a:lnTo>
                    <a:pt x="45" y="261"/>
                  </a:lnTo>
                  <a:lnTo>
                    <a:pt x="45" y="258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8" y="252"/>
                  </a:lnTo>
                  <a:lnTo>
                    <a:pt x="51" y="252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4" y="246"/>
                  </a:lnTo>
                  <a:lnTo>
                    <a:pt x="57" y="246"/>
                  </a:lnTo>
                  <a:lnTo>
                    <a:pt x="57" y="243"/>
                  </a:lnTo>
                  <a:lnTo>
                    <a:pt x="57" y="240"/>
                  </a:lnTo>
                  <a:lnTo>
                    <a:pt x="57" y="237"/>
                  </a:lnTo>
                  <a:lnTo>
                    <a:pt x="57" y="234"/>
                  </a:lnTo>
                  <a:lnTo>
                    <a:pt x="54" y="234"/>
                  </a:lnTo>
                  <a:lnTo>
                    <a:pt x="54" y="231"/>
                  </a:lnTo>
                  <a:lnTo>
                    <a:pt x="54" y="228"/>
                  </a:lnTo>
                  <a:lnTo>
                    <a:pt x="51" y="228"/>
                  </a:lnTo>
                  <a:lnTo>
                    <a:pt x="48" y="228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5" y="216"/>
                  </a:lnTo>
                  <a:lnTo>
                    <a:pt x="42" y="216"/>
                  </a:lnTo>
                  <a:lnTo>
                    <a:pt x="39" y="216"/>
                  </a:lnTo>
                  <a:lnTo>
                    <a:pt x="39" y="213"/>
                  </a:lnTo>
                  <a:lnTo>
                    <a:pt x="36" y="213"/>
                  </a:lnTo>
                  <a:lnTo>
                    <a:pt x="39" y="210"/>
                  </a:lnTo>
                  <a:lnTo>
                    <a:pt x="36" y="210"/>
                  </a:lnTo>
                  <a:lnTo>
                    <a:pt x="33" y="210"/>
                  </a:lnTo>
                  <a:lnTo>
                    <a:pt x="33" y="207"/>
                  </a:lnTo>
                  <a:lnTo>
                    <a:pt x="30" y="207"/>
                  </a:lnTo>
                  <a:lnTo>
                    <a:pt x="30" y="204"/>
                  </a:lnTo>
                  <a:lnTo>
                    <a:pt x="27" y="204"/>
                  </a:lnTo>
                  <a:lnTo>
                    <a:pt x="27" y="201"/>
                  </a:lnTo>
                  <a:lnTo>
                    <a:pt x="24" y="201"/>
                  </a:lnTo>
                  <a:lnTo>
                    <a:pt x="24" y="198"/>
                  </a:lnTo>
                  <a:lnTo>
                    <a:pt x="21" y="198"/>
                  </a:lnTo>
                  <a:lnTo>
                    <a:pt x="18" y="198"/>
                  </a:lnTo>
                  <a:lnTo>
                    <a:pt x="18" y="201"/>
                  </a:lnTo>
                  <a:lnTo>
                    <a:pt x="18" y="198"/>
                  </a:lnTo>
                  <a:lnTo>
                    <a:pt x="15" y="198"/>
                  </a:lnTo>
                  <a:lnTo>
                    <a:pt x="15" y="195"/>
                  </a:lnTo>
                  <a:lnTo>
                    <a:pt x="15" y="192"/>
                  </a:lnTo>
                  <a:lnTo>
                    <a:pt x="12" y="192"/>
                  </a:lnTo>
                  <a:lnTo>
                    <a:pt x="12" y="189"/>
                  </a:lnTo>
                  <a:lnTo>
                    <a:pt x="15" y="189"/>
                  </a:lnTo>
                  <a:lnTo>
                    <a:pt x="12" y="186"/>
                  </a:lnTo>
                  <a:lnTo>
                    <a:pt x="9" y="186"/>
                  </a:lnTo>
                  <a:lnTo>
                    <a:pt x="9" y="183"/>
                  </a:lnTo>
                  <a:lnTo>
                    <a:pt x="12" y="180"/>
                  </a:lnTo>
                  <a:lnTo>
                    <a:pt x="12" y="177"/>
                  </a:lnTo>
                  <a:lnTo>
                    <a:pt x="15" y="174"/>
                  </a:lnTo>
                  <a:lnTo>
                    <a:pt x="15" y="171"/>
                  </a:lnTo>
                  <a:lnTo>
                    <a:pt x="18" y="171"/>
                  </a:lnTo>
                  <a:lnTo>
                    <a:pt x="15" y="171"/>
                  </a:lnTo>
                  <a:lnTo>
                    <a:pt x="18" y="168"/>
                  </a:lnTo>
                  <a:lnTo>
                    <a:pt x="21" y="168"/>
                  </a:lnTo>
                  <a:lnTo>
                    <a:pt x="21" y="165"/>
                  </a:lnTo>
                  <a:lnTo>
                    <a:pt x="24" y="165"/>
                  </a:lnTo>
                  <a:lnTo>
                    <a:pt x="27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2"/>
                  </a:lnTo>
                  <a:lnTo>
                    <a:pt x="33" y="165"/>
                  </a:lnTo>
                  <a:lnTo>
                    <a:pt x="36" y="165"/>
                  </a:lnTo>
                  <a:lnTo>
                    <a:pt x="39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9" y="156"/>
                  </a:lnTo>
                  <a:lnTo>
                    <a:pt x="39" y="153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3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4" y="144"/>
                  </a:lnTo>
                  <a:lnTo>
                    <a:pt x="57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0" y="138"/>
                  </a:lnTo>
                  <a:lnTo>
                    <a:pt x="63" y="138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5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5" y="129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78" y="102"/>
                  </a:lnTo>
                  <a:lnTo>
                    <a:pt x="78" y="99"/>
                  </a:lnTo>
                  <a:lnTo>
                    <a:pt x="78" y="96"/>
                  </a:lnTo>
                  <a:lnTo>
                    <a:pt x="81" y="96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8" y="90"/>
                  </a:lnTo>
                  <a:lnTo>
                    <a:pt x="78" y="87"/>
                  </a:lnTo>
                  <a:lnTo>
                    <a:pt x="78" y="84"/>
                  </a:lnTo>
                  <a:lnTo>
                    <a:pt x="75" y="81"/>
                  </a:lnTo>
                  <a:lnTo>
                    <a:pt x="75" y="78"/>
                  </a:lnTo>
                  <a:lnTo>
                    <a:pt x="78" y="78"/>
                  </a:lnTo>
                  <a:lnTo>
                    <a:pt x="81" y="78"/>
                  </a:lnTo>
                  <a:lnTo>
                    <a:pt x="81" y="75"/>
                  </a:lnTo>
                  <a:lnTo>
                    <a:pt x="84" y="75"/>
                  </a:lnTo>
                  <a:lnTo>
                    <a:pt x="84" y="72"/>
                  </a:lnTo>
                  <a:lnTo>
                    <a:pt x="84" y="69"/>
                  </a:lnTo>
                  <a:lnTo>
                    <a:pt x="81" y="69"/>
                  </a:lnTo>
                  <a:lnTo>
                    <a:pt x="78" y="66"/>
                  </a:lnTo>
                  <a:lnTo>
                    <a:pt x="81" y="63"/>
                  </a:lnTo>
                  <a:lnTo>
                    <a:pt x="78" y="63"/>
                  </a:lnTo>
                  <a:lnTo>
                    <a:pt x="81" y="63"/>
                  </a:lnTo>
                  <a:lnTo>
                    <a:pt x="81" y="60"/>
                  </a:lnTo>
                  <a:lnTo>
                    <a:pt x="84" y="60"/>
                  </a:lnTo>
                  <a:lnTo>
                    <a:pt x="87" y="60"/>
                  </a:lnTo>
                  <a:lnTo>
                    <a:pt x="87" y="63"/>
                  </a:lnTo>
                  <a:lnTo>
                    <a:pt x="87" y="60"/>
                  </a:lnTo>
                  <a:lnTo>
                    <a:pt x="87" y="57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6" y="51"/>
                  </a:lnTo>
                  <a:lnTo>
                    <a:pt x="99" y="54"/>
                  </a:lnTo>
                  <a:lnTo>
                    <a:pt x="102" y="54"/>
                  </a:lnTo>
                  <a:lnTo>
                    <a:pt x="105" y="57"/>
                  </a:lnTo>
                  <a:lnTo>
                    <a:pt x="105" y="54"/>
                  </a:lnTo>
                  <a:lnTo>
                    <a:pt x="108" y="54"/>
                  </a:lnTo>
                  <a:lnTo>
                    <a:pt x="111" y="54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4"/>
                  </a:lnTo>
                  <a:lnTo>
                    <a:pt x="120" y="54"/>
                  </a:lnTo>
                  <a:lnTo>
                    <a:pt x="120" y="51"/>
                  </a:lnTo>
                  <a:lnTo>
                    <a:pt x="123" y="54"/>
                  </a:lnTo>
                  <a:lnTo>
                    <a:pt x="126" y="54"/>
                  </a:lnTo>
                  <a:lnTo>
                    <a:pt x="126" y="51"/>
                  </a:lnTo>
                  <a:lnTo>
                    <a:pt x="126" y="48"/>
                  </a:lnTo>
                  <a:lnTo>
                    <a:pt x="129" y="48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8" y="45"/>
                  </a:lnTo>
                  <a:lnTo>
                    <a:pt x="138" y="48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3" y="48"/>
                  </a:lnTo>
                  <a:lnTo>
                    <a:pt x="159" y="45"/>
                  </a:lnTo>
                  <a:lnTo>
                    <a:pt x="162" y="45"/>
                  </a:lnTo>
                  <a:lnTo>
                    <a:pt x="168" y="48"/>
                  </a:lnTo>
                  <a:lnTo>
                    <a:pt x="174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80" y="48"/>
                  </a:lnTo>
                  <a:lnTo>
                    <a:pt x="180" y="51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6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51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8" y="51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48"/>
                  </a:lnTo>
                  <a:lnTo>
                    <a:pt x="207" y="45"/>
                  </a:lnTo>
                  <a:lnTo>
                    <a:pt x="210" y="42"/>
                  </a:lnTo>
                  <a:close/>
                  <a:moveTo>
                    <a:pt x="60" y="300"/>
                  </a:moveTo>
                  <a:lnTo>
                    <a:pt x="57" y="300"/>
                  </a:lnTo>
                  <a:lnTo>
                    <a:pt x="57" y="303"/>
                  </a:lnTo>
                  <a:lnTo>
                    <a:pt x="54" y="303"/>
                  </a:lnTo>
                  <a:lnTo>
                    <a:pt x="57" y="306"/>
                  </a:lnTo>
                  <a:lnTo>
                    <a:pt x="60" y="306"/>
                  </a:lnTo>
                  <a:lnTo>
                    <a:pt x="60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54" y="315"/>
                  </a:lnTo>
                  <a:lnTo>
                    <a:pt x="54" y="318"/>
                  </a:lnTo>
                  <a:lnTo>
                    <a:pt x="51" y="321"/>
                  </a:lnTo>
                  <a:lnTo>
                    <a:pt x="54" y="321"/>
                  </a:lnTo>
                  <a:lnTo>
                    <a:pt x="57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3" y="330"/>
                  </a:lnTo>
                  <a:lnTo>
                    <a:pt x="60" y="330"/>
                  </a:lnTo>
                  <a:lnTo>
                    <a:pt x="63" y="333"/>
                  </a:lnTo>
                  <a:lnTo>
                    <a:pt x="63" y="336"/>
                  </a:lnTo>
                  <a:lnTo>
                    <a:pt x="60" y="339"/>
                  </a:lnTo>
                  <a:lnTo>
                    <a:pt x="63" y="339"/>
                  </a:lnTo>
                  <a:lnTo>
                    <a:pt x="66" y="342"/>
                  </a:lnTo>
                  <a:lnTo>
                    <a:pt x="69" y="345"/>
                  </a:lnTo>
                  <a:lnTo>
                    <a:pt x="69" y="348"/>
                  </a:lnTo>
                  <a:lnTo>
                    <a:pt x="69" y="351"/>
                  </a:lnTo>
                  <a:lnTo>
                    <a:pt x="72" y="351"/>
                  </a:lnTo>
                  <a:lnTo>
                    <a:pt x="72" y="354"/>
                  </a:lnTo>
                  <a:lnTo>
                    <a:pt x="69" y="354"/>
                  </a:lnTo>
                  <a:lnTo>
                    <a:pt x="72" y="357"/>
                  </a:lnTo>
                  <a:lnTo>
                    <a:pt x="69" y="357"/>
                  </a:lnTo>
                  <a:lnTo>
                    <a:pt x="72" y="357"/>
                  </a:lnTo>
                  <a:lnTo>
                    <a:pt x="72" y="360"/>
                  </a:lnTo>
                  <a:lnTo>
                    <a:pt x="75" y="357"/>
                  </a:lnTo>
                  <a:lnTo>
                    <a:pt x="75" y="354"/>
                  </a:lnTo>
                  <a:lnTo>
                    <a:pt x="78" y="354"/>
                  </a:lnTo>
                  <a:lnTo>
                    <a:pt x="81" y="354"/>
                  </a:lnTo>
                  <a:lnTo>
                    <a:pt x="84" y="354"/>
                  </a:lnTo>
                  <a:lnTo>
                    <a:pt x="87" y="354"/>
                  </a:lnTo>
                  <a:lnTo>
                    <a:pt x="87" y="357"/>
                  </a:lnTo>
                  <a:lnTo>
                    <a:pt x="90" y="357"/>
                  </a:lnTo>
                  <a:lnTo>
                    <a:pt x="90" y="360"/>
                  </a:lnTo>
                  <a:lnTo>
                    <a:pt x="93" y="360"/>
                  </a:lnTo>
                  <a:lnTo>
                    <a:pt x="96" y="360"/>
                  </a:lnTo>
                  <a:lnTo>
                    <a:pt x="96" y="357"/>
                  </a:lnTo>
                  <a:lnTo>
                    <a:pt x="99" y="360"/>
                  </a:lnTo>
                  <a:lnTo>
                    <a:pt x="99" y="363"/>
                  </a:lnTo>
                  <a:lnTo>
                    <a:pt x="99" y="360"/>
                  </a:lnTo>
                  <a:lnTo>
                    <a:pt x="102" y="360"/>
                  </a:lnTo>
                  <a:lnTo>
                    <a:pt x="102" y="357"/>
                  </a:lnTo>
                  <a:lnTo>
                    <a:pt x="102" y="354"/>
                  </a:lnTo>
                  <a:lnTo>
                    <a:pt x="105" y="354"/>
                  </a:lnTo>
                  <a:lnTo>
                    <a:pt x="105" y="351"/>
                  </a:lnTo>
                  <a:lnTo>
                    <a:pt x="108" y="351"/>
                  </a:lnTo>
                  <a:lnTo>
                    <a:pt x="108" y="348"/>
                  </a:lnTo>
                  <a:lnTo>
                    <a:pt x="108" y="345"/>
                  </a:lnTo>
                  <a:lnTo>
                    <a:pt x="108" y="348"/>
                  </a:lnTo>
                  <a:lnTo>
                    <a:pt x="111" y="348"/>
                  </a:lnTo>
                  <a:lnTo>
                    <a:pt x="111" y="345"/>
                  </a:lnTo>
                  <a:lnTo>
                    <a:pt x="114" y="345"/>
                  </a:lnTo>
                  <a:lnTo>
                    <a:pt x="114" y="342"/>
                  </a:lnTo>
                  <a:lnTo>
                    <a:pt x="111" y="342"/>
                  </a:lnTo>
                  <a:lnTo>
                    <a:pt x="111" y="339"/>
                  </a:lnTo>
                  <a:lnTo>
                    <a:pt x="108" y="339"/>
                  </a:lnTo>
                  <a:lnTo>
                    <a:pt x="108" y="342"/>
                  </a:lnTo>
                  <a:lnTo>
                    <a:pt x="108" y="339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5" y="339"/>
                  </a:lnTo>
                  <a:lnTo>
                    <a:pt x="105" y="336"/>
                  </a:lnTo>
                  <a:lnTo>
                    <a:pt x="102" y="336"/>
                  </a:lnTo>
                  <a:lnTo>
                    <a:pt x="102" y="333"/>
                  </a:lnTo>
                  <a:lnTo>
                    <a:pt x="99" y="333"/>
                  </a:lnTo>
                  <a:lnTo>
                    <a:pt x="99" y="330"/>
                  </a:lnTo>
                  <a:lnTo>
                    <a:pt x="96" y="327"/>
                  </a:lnTo>
                  <a:lnTo>
                    <a:pt x="99" y="327"/>
                  </a:lnTo>
                  <a:lnTo>
                    <a:pt x="99" y="324"/>
                  </a:lnTo>
                  <a:lnTo>
                    <a:pt x="96" y="324"/>
                  </a:lnTo>
                  <a:lnTo>
                    <a:pt x="96" y="321"/>
                  </a:lnTo>
                  <a:lnTo>
                    <a:pt x="93" y="321"/>
                  </a:lnTo>
                  <a:lnTo>
                    <a:pt x="90" y="318"/>
                  </a:lnTo>
                  <a:lnTo>
                    <a:pt x="93" y="318"/>
                  </a:lnTo>
                  <a:lnTo>
                    <a:pt x="90" y="315"/>
                  </a:lnTo>
                  <a:lnTo>
                    <a:pt x="90" y="312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4" y="312"/>
                  </a:lnTo>
                  <a:lnTo>
                    <a:pt x="81" y="312"/>
                  </a:lnTo>
                  <a:lnTo>
                    <a:pt x="78" y="312"/>
                  </a:lnTo>
                  <a:lnTo>
                    <a:pt x="75" y="312"/>
                  </a:lnTo>
                  <a:lnTo>
                    <a:pt x="75" y="309"/>
                  </a:lnTo>
                  <a:lnTo>
                    <a:pt x="72" y="309"/>
                  </a:lnTo>
                  <a:lnTo>
                    <a:pt x="69" y="309"/>
                  </a:lnTo>
                  <a:lnTo>
                    <a:pt x="69" y="306"/>
                  </a:lnTo>
                  <a:lnTo>
                    <a:pt x="66" y="306"/>
                  </a:lnTo>
                  <a:lnTo>
                    <a:pt x="63" y="306"/>
                  </a:lnTo>
                  <a:lnTo>
                    <a:pt x="63" y="303"/>
                  </a:lnTo>
                  <a:lnTo>
                    <a:pt x="60" y="303"/>
                  </a:lnTo>
                  <a:lnTo>
                    <a:pt x="60" y="30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79" name="Freeform 37">
              <a:extLst>
                <a:ext uri="{FF2B5EF4-FFF2-40B4-BE49-F238E27FC236}">
                  <a16:creationId xmlns:a16="http://schemas.microsoft.com/office/drawing/2014/main" id="{5E711D18-7561-4B82-B8E1-539BC88C8A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89450" y="3379788"/>
              <a:ext cx="403225" cy="395287"/>
            </a:xfrm>
            <a:custGeom>
              <a:avLst/>
              <a:gdLst>
                <a:gd name="T0" fmla="*/ 272770 w 204"/>
                <a:gd name="T1" fmla="*/ 0 h 201"/>
                <a:gd name="T2" fmla="*/ 284629 w 204"/>
                <a:gd name="T3" fmla="*/ 23599 h 201"/>
                <a:gd name="T4" fmla="*/ 296489 w 204"/>
                <a:gd name="T5" fmla="*/ 35399 h 201"/>
                <a:gd name="T6" fmla="*/ 314278 w 204"/>
                <a:gd name="T7" fmla="*/ 47198 h 201"/>
                <a:gd name="T8" fmla="*/ 326138 w 204"/>
                <a:gd name="T9" fmla="*/ 58998 h 201"/>
                <a:gd name="T10" fmla="*/ 349857 w 204"/>
                <a:gd name="T11" fmla="*/ 70798 h 201"/>
                <a:gd name="T12" fmla="*/ 361717 w 204"/>
                <a:gd name="T13" fmla="*/ 88497 h 201"/>
                <a:gd name="T14" fmla="*/ 385436 w 204"/>
                <a:gd name="T15" fmla="*/ 106197 h 201"/>
                <a:gd name="T16" fmla="*/ 397295 w 204"/>
                <a:gd name="T17" fmla="*/ 129796 h 201"/>
                <a:gd name="T18" fmla="*/ 397295 w 204"/>
                <a:gd name="T19" fmla="*/ 153395 h 201"/>
                <a:gd name="T20" fmla="*/ 379506 w 204"/>
                <a:gd name="T21" fmla="*/ 171094 h 201"/>
                <a:gd name="T22" fmla="*/ 379506 w 204"/>
                <a:gd name="T23" fmla="*/ 188794 h 201"/>
                <a:gd name="T24" fmla="*/ 367646 w 204"/>
                <a:gd name="T25" fmla="*/ 200593 h 201"/>
                <a:gd name="T26" fmla="*/ 349857 w 204"/>
                <a:gd name="T27" fmla="*/ 224193 h 201"/>
                <a:gd name="T28" fmla="*/ 355787 w 204"/>
                <a:gd name="T29" fmla="*/ 247792 h 201"/>
                <a:gd name="T30" fmla="*/ 343927 w 204"/>
                <a:gd name="T31" fmla="*/ 259591 h 201"/>
                <a:gd name="T32" fmla="*/ 326138 w 204"/>
                <a:gd name="T33" fmla="*/ 271391 h 201"/>
                <a:gd name="T34" fmla="*/ 302419 w 204"/>
                <a:gd name="T35" fmla="*/ 289090 h 201"/>
                <a:gd name="T36" fmla="*/ 266840 w 204"/>
                <a:gd name="T37" fmla="*/ 294990 h 201"/>
                <a:gd name="T38" fmla="*/ 231261 w 204"/>
                <a:gd name="T39" fmla="*/ 294990 h 201"/>
                <a:gd name="T40" fmla="*/ 213472 w 204"/>
                <a:gd name="T41" fmla="*/ 318590 h 201"/>
                <a:gd name="T42" fmla="*/ 207542 w 204"/>
                <a:gd name="T43" fmla="*/ 336289 h 201"/>
                <a:gd name="T44" fmla="*/ 189753 w 204"/>
                <a:gd name="T45" fmla="*/ 359888 h 201"/>
                <a:gd name="T46" fmla="*/ 189753 w 204"/>
                <a:gd name="T47" fmla="*/ 377588 h 201"/>
                <a:gd name="T48" fmla="*/ 171964 w 204"/>
                <a:gd name="T49" fmla="*/ 383487 h 201"/>
                <a:gd name="T50" fmla="*/ 148244 w 204"/>
                <a:gd name="T51" fmla="*/ 377588 h 201"/>
                <a:gd name="T52" fmla="*/ 130455 w 204"/>
                <a:gd name="T53" fmla="*/ 359888 h 201"/>
                <a:gd name="T54" fmla="*/ 112666 w 204"/>
                <a:gd name="T55" fmla="*/ 342189 h 201"/>
                <a:gd name="T56" fmla="*/ 100806 w 204"/>
                <a:gd name="T57" fmla="*/ 330389 h 201"/>
                <a:gd name="T58" fmla="*/ 88947 w 204"/>
                <a:gd name="T59" fmla="*/ 318590 h 201"/>
                <a:gd name="T60" fmla="*/ 71157 w 204"/>
                <a:gd name="T61" fmla="*/ 300890 h 201"/>
                <a:gd name="T62" fmla="*/ 47438 w 204"/>
                <a:gd name="T63" fmla="*/ 289090 h 201"/>
                <a:gd name="T64" fmla="*/ 35579 w 204"/>
                <a:gd name="T65" fmla="*/ 265491 h 201"/>
                <a:gd name="T66" fmla="*/ 23719 w 204"/>
                <a:gd name="T67" fmla="*/ 235992 h 201"/>
                <a:gd name="T68" fmla="*/ 5930 w 204"/>
                <a:gd name="T69" fmla="*/ 206493 h 201"/>
                <a:gd name="T70" fmla="*/ 5930 w 204"/>
                <a:gd name="T71" fmla="*/ 194694 h 201"/>
                <a:gd name="T72" fmla="*/ 23719 w 204"/>
                <a:gd name="T73" fmla="*/ 188794 h 201"/>
                <a:gd name="T74" fmla="*/ 41508 w 204"/>
                <a:gd name="T75" fmla="*/ 182894 h 201"/>
                <a:gd name="T76" fmla="*/ 53368 w 204"/>
                <a:gd name="T77" fmla="*/ 171094 h 201"/>
                <a:gd name="T78" fmla="*/ 65228 w 204"/>
                <a:gd name="T79" fmla="*/ 147495 h 201"/>
                <a:gd name="T80" fmla="*/ 77087 w 204"/>
                <a:gd name="T81" fmla="*/ 135696 h 201"/>
                <a:gd name="T82" fmla="*/ 83017 w 204"/>
                <a:gd name="T83" fmla="*/ 117996 h 201"/>
                <a:gd name="T84" fmla="*/ 94876 w 204"/>
                <a:gd name="T85" fmla="*/ 106197 h 201"/>
                <a:gd name="T86" fmla="*/ 106736 w 204"/>
                <a:gd name="T87" fmla="*/ 94397 h 201"/>
                <a:gd name="T88" fmla="*/ 118596 w 204"/>
                <a:gd name="T89" fmla="*/ 82597 h 201"/>
                <a:gd name="T90" fmla="*/ 118596 w 204"/>
                <a:gd name="T91" fmla="*/ 70798 h 201"/>
                <a:gd name="T92" fmla="*/ 130455 w 204"/>
                <a:gd name="T93" fmla="*/ 58998 h 201"/>
                <a:gd name="T94" fmla="*/ 142315 w 204"/>
                <a:gd name="T95" fmla="*/ 58998 h 201"/>
                <a:gd name="T96" fmla="*/ 148244 w 204"/>
                <a:gd name="T97" fmla="*/ 53098 h 201"/>
                <a:gd name="T98" fmla="*/ 166034 w 204"/>
                <a:gd name="T99" fmla="*/ 58998 h 201"/>
                <a:gd name="T100" fmla="*/ 171964 w 204"/>
                <a:gd name="T101" fmla="*/ 53098 h 201"/>
                <a:gd name="T102" fmla="*/ 183823 w 204"/>
                <a:gd name="T103" fmla="*/ 29499 h 201"/>
                <a:gd name="T104" fmla="*/ 213472 w 204"/>
                <a:gd name="T105" fmla="*/ 23599 h 201"/>
                <a:gd name="T106" fmla="*/ 231261 w 204"/>
                <a:gd name="T107" fmla="*/ 11800 h 2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01">
                  <a:moveTo>
                    <a:pt x="126" y="3"/>
                  </a:moveTo>
                  <a:lnTo>
                    <a:pt x="129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0"/>
                  </a:lnTo>
                  <a:lnTo>
                    <a:pt x="138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9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9"/>
                  </a:lnTo>
                  <a:lnTo>
                    <a:pt x="147" y="9"/>
                  </a:lnTo>
                  <a:lnTo>
                    <a:pt x="147" y="12"/>
                  </a:lnTo>
                  <a:lnTo>
                    <a:pt x="150" y="12"/>
                  </a:lnTo>
                  <a:lnTo>
                    <a:pt x="150" y="15"/>
                  </a:lnTo>
                  <a:lnTo>
                    <a:pt x="150" y="18"/>
                  </a:lnTo>
                  <a:lnTo>
                    <a:pt x="153" y="18"/>
                  </a:lnTo>
                  <a:lnTo>
                    <a:pt x="156" y="18"/>
                  </a:lnTo>
                  <a:lnTo>
                    <a:pt x="159" y="18"/>
                  </a:lnTo>
                  <a:lnTo>
                    <a:pt x="162" y="21"/>
                  </a:lnTo>
                  <a:lnTo>
                    <a:pt x="159" y="21"/>
                  </a:lnTo>
                  <a:lnTo>
                    <a:pt x="159" y="24"/>
                  </a:lnTo>
                  <a:lnTo>
                    <a:pt x="162" y="24"/>
                  </a:lnTo>
                  <a:lnTo>
                    <a:pt x="162" y="27"/>
                  </a:lnTo>
                  <a:lnTo>
                    <a:pt x="162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30"/>
                  </a:lnTo>
                  <a:lnTo>
                    <a:pt x="171" y="33"/>
                  </a:lnTo>
                  <a:lnTo>
                    <a:pt x="174" y="33"/>
                  </a:lnTo>
                  <a:lnTo>
                    <a:pt x="174" y="36"/>
                  </a:lnTo>
                  <a:lnTo>
                    <a:pt x="177" y="36"/>
                  </a:lnTo>
                  <a:lnTo>
                    <a:pt x="177" y="39"/>
                  </a:lnTo>
                  <a:lnTo>
                    <a:pt x="180" y="39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6" y="42"/>
                  </a:lnTo>
                  <a:lnTo>
                    <a:pt x="183" y="45"/>
                  </a:lnTo>
                  <a:lnTo>
                    <a:pt x="186" y="45"/>
                  </a:lnTo>
                  <a:lnTo>
                    <a:pt x="186" y="48"/>
                  </a:lnTo>
                  <a:lnTo>
                    <a:pt x="189" y="48"/>
                  </a:lnTo>
                  <a:lnTo>
                    <a:pt x="192" y="48"/>
                  </a:lnTo>
                  <a:lnTo>
                    <a:pt x="195" y="51"/>
                  </a:lnTo>
                  <a:lnTo>
                    <a:pt x="195" y="54"/>
                  </a:lnTo>
                  <a:lnTo>
                    <a:pt x="195" y="57"/>
                  </a:lnTo>
                  <a:lnTo>
                    <a:pt x="195" y="60"/>
                  </a:lnTo>
                  <a:lnTo>
                    <a:pt x="198" y="60"/>
                  </a:lnTo>
                  <a:lnTo>
                    <a:pt x="201" y="60"/>
                  </a:lnTo>
                  <a:lnTo>
                    <a:pt x="201" y="63"/>
                  </a:lnTo>
                  <a:lnTo>
                    <a:pt x="201" y="66"/>
                  </a:lnTo>
                  <a:lnTo>
                    <a:pt x="204" y="66"/>
                  </a:lnTo>
                  <a:lnTo>
                    <a:pt x="204" y="69"/>
                  </a:lnTo>
                  <a:lnTo>
                    <a:pt x="204" y="72"/>
                  </a:lnTo>
                  <a:lnTo>
                    <a:pt x="204" y="75"/>
                  </a:lnTo>
                  <a:lnTo>
                    <a:pt x="204" y="78"/>
                  </a:lnTo>
                  <a:lnTo>
                    <a:pt x="201" y="78"/>
                  </a:lnTo>
                  <a:lnTo>
                    <a:pt x="201" y="81"/>
                  </a:lnTo>
                  <a:lnTo>
                    <a:pt x="201" y="84"/>
                  </a:lnTo>
                  <a:lnTo>
                    <a:pt x="198" y="84"/>
                  </a:lnTo>
                  <a:lnTo>
                    <a:pt x="195" y="84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2" y="90"/>
                  </a:lnTo>
                  <a:lnTo>
                    <a:pt x="192" y="93"/>
                  </a:lnTo>
                  <a:lnTo>
                    <a:pt x="195" y="96"/>
                  </a:lnTo>
                  <a:lnTo>
                    <a:pt x="192" y="96"/>
                  </a:lnTo>
                  <a:lnTo>
                    <a:pt x="189" y="96"/>
                  </a:lnTo>
                  <a:lnTo>
                    <a:pt x="192" y="99"/>
                  </a:lnTo>
                  <a:lnTo>
                    <a:pt x="189" y="99"/>
                  </a:lnTo>
                  <a:lnTo>
                    <a:pt x="192" y="102"/>
                  </a:lnTo>
                  <a:lnTo>
                    <a:pt x="189" y="102"/>
                  </a:lnTo>
                  <a:lnTo>
                    <a:pt x="186" y="102"/>
                  </a:lnTo>
                  <a:lnTo>
                    <a:pt x="183" y="105"/>
                  </a:lnTo>
                  <a:lnTo>
                    <a:pt x="180" y="105"/>
                  </a:lnTo>
                  <a:lnTo>
                    <a:pt x="180" y="108"/>
                  </a:lnTo>
                  <a:lnTo>
                    <a:pt x="180" y="111"/>
                  </a:lnTo>
                  <a:lnTo>
                    <a:pt x="177" y="111"/>
                  </a:lnTo>
                  <a:lnTo>
                    <a:pt x="177" y="114"/>
                  </a:lnTo>
                  <a:lnTo>
                    <a:pt x="177" y="117"/>
                  </a:lnTo>
                  <a:lnTo>
                    <a:pt x="177" y="120"/>
                  </a:lnTo>
                  <a:lnTo>
                    <a:pt x="174" y="123"/>
                  </a:lnTo>
                  <a:lnTo>
                    <a:pt x="180" y="123"/>
                  </a:lnTo>
                  <a:lnTo>
                    <a:pt x="177" y="126"/>
                  </a:lnTo>
                  <a:lnTo>
                    <a:pt x="180" y="126"/>
                  </a:lnTo>
                  <a:lnTo>
                    <a:pt x="180" y="129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4" y="132"/>
                  </a:lnTo>
                  <a:lnTo>
                    <a:pt x="171" y="132"/>
                  </a:lnTo>
                  <a:lnTo>
                    <a:pt x="171" y="135"/>
                  </a:lnTo>
                  <a:lnTo>
                    <a:pt x="168" y="135"/>
                  </a:lnTo>
                  <a:lnTo>
                    <a:pt x="168" y="138"/>
                  </a:lnTo>
                  <a:lnTo>
                    <a:pt x="168" y="135"/>
                  </a:lnTo>
                  <a:lnTo>
                    <a:pt x="165" y="138"/>
                  </a:lnTo>
                  <a:lnTo>
                    <a:pt x="165" y="141"/>
                  </a:lnTo>
                  <a:lnTo>
                    <a:pt x="162" y="141"/>
                  </a:lnTo>
                  <a:lnTo>
                    <a:pt x="159" y="144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53" y="147"/>
                  </a:lnTo>
                  <a:lnTo>
                    <a:pt x="150" y="147"/>
                  </a:lnTo>
                  <a:lnTo>
                    <a:pt x="147" y="147"/>
                  </a:lnTo>
                  <a:lnTo>
                    <a:pt x="144" y="147"/>
                  </a:lnTo>
                  <a:lnTo>
                    <a:pt x="141" y="150"/>
                  </a:lnTo>
                  <a:lnTo>
                    <a:pt x="138" y="150"/>
                  </a:lnTo>
                  <a:lnTo>
                    <a:pt x="135" y="150"/>
                  </a:lnTo>
                  <a:lnTo>
                    <a:pt x="129" y="150"/>
                  </a:lnTo>
                  <a:lnTo>
                    <a:pt x="126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6"/>
                  </a:lnTo>
                  <a:lnTo>
                    <a:pt x="111" y="156"/>
                  </a:lnTo>
                  <a:lnTo>
                    <a:pt x="111" y="159"/>
                  </a:lnTo>
                  <a:lnTo>
                    <a:pt x="108" y="162"/>
                  </a:lnTo>
                  <a:lnTo>
                    <a:pt x="105" y="162"/>
                  </a:lnTo>
                  <a:lnTo>
                    <a:pt x="102" y="162"/>
                  </a:lnTo>
                  <a:lnTo>
                    <a:pt x="99" y="165"/>
                  </a:lnTo>
                  <a:lnTo>
                    <a:pt x="102" y="168"/>
                  </a:lnTo>
                  <a:lnTo>
                    <a:pt x="105" y="168"/>
                  </a:lnTo>
                  <a:lnTo>
                    <a:pt x="105" y="171"/>
                  </a:lnTo>
                  <a:lnTo>
                    <a:pt x="105" y="174"/>
                  </a:lnTo>
                  <a:lnTo>
                    <a:pt x="105" y="177"/>
                  </a:lnTo>
                  <a:lnTo>
                    <a:pt x="102" y="177"/>
                  </a:lnTo>
                  <a:lnTo>
                    <a:pt x="99" y="180"/>
                  </a:lnTo>
                  <a:lnTo>
                    <a:pt x="96" y="180"/>
                  </a:lnTo>
                  <a:lnTo>
                    <a:pt x="96" y="183"/>
                  </a:lnTo>
                  <a:lnTo>
                    <a:pt x="99" y="183"/>
                  </a:lnTo>
                  <a:lnTo>
                    <a:pt x="99" y="186"/>
                  </a:lnTo>
                  <a:lnTo>
                    <a:pt x="96" y="186"/>
                  </a:lnTo>
                  <a:lnTo>
                    <a:pt x="99" y="189"/>
                  </a:lnTo>
                  <a:lnTo>
                    <a:pt x="96" y="189"/>
                  </a:lnTo>
                  <a:lnTo>
                    <a:pt x="96" y="192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201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87" y="195"/>
                  </a:lnTo>
                  <a:lnTo>
                    <a:pt x="84" y="195"/>
                  </a:lnTo>
                  <a:lnTo>
                    <a:pt x="81" y="195"/>
                  </a:lnTo>
                  <a:lnTo>
                    <a:pt x="81" y="198"/>
                  </a:lnTo>
                  <a:lnTo>
                    <a:pt x="78" y="195"/>
                  </a:lnTo>
                  <a:lnTo>
                    <a:pt x="78" y="192"/>
                  </a:lnTo>
                  <a:lnTo>
                    <a:pt x="75" y="192"/>
                  </a:lnTo>
                  <a:lnTo>
                    <a:pt x="75" y="189"/>
                  </a:lnTo>
                  <a:lnTo>
                    <a:pt x="72" y="189"/>
                  </a:lnTo>
                  <a:lnTo>
                    <a:pt x="69" y="189"/>
                  </a:lnTo>
                  <a:lnTo>
                    <a:pt x="69" y="186"/>
                  </a:lnTo>
                  <a:lnTo>
                    <a:pt x="66" y="186"/>
                  </a:lnTo>
                  <a:lnTo>
                    <a:pt x="66" y="183"/>
                  </a:lnTo>
                  <a:lnTo>
                    <a:pt x="66" y="180"/>
                  </a:lnTo>
                  <a:lnTo>
                    <a:pt x="63" y="180"/>
                  </a:lnTo>
                  <a:lnTo>
                    <a:pt x="63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57" y="174"/>
                  </a:lnTo>
                  <a:lnTo>
                    <a:pt x="57" y="177"/>
                  </a:lnTo>
                  <a:lnTo>
                    <a:pt x="57" y="174"/>
                  </a:lnTo>
                  <a:lnTo>
                    <a:pt x="57" y="171"/>
                  </a:lnTo>
                  <a:lnTo>
                    <a:pt x="57" y="168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51" y="165"/>
                  </a:lnTo>
                  <a:lnTo>
                    <a:pt x="51" y="162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8" y="162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2" y="153"/>
                  </a:lnTo>
                  <a:lnTo>
                    <a:pt x="39" y="153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50"/>
                  </a:lnTo>
                  <a:lnTo>
                    <a:pt x="30" y="150"/>
                  </a:lnTo>
                  <a:lnTo>
                    <a:pt x="27" y="150"/>
                  </a:lnTo>
                  <a:lnTo>
                    <a:pt x="24" y="150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1" y="141"/>
                  </a:lnTo>
                  <a:lnTo>
                    <a:pt x="21" y="138"/>
                  </a:lnTo>
                  <a:lnTo>
                    <a:pt x="18" y="138"/>
                  </a:lnTo>
                  <a:lnTo>
                    <a:pt x="18" y="135"/>
                  </a:lnTo>
                  <a:lnTo>
                    <a:pt x="15" y="132"/>
                  </a:lnTo>
                  <a:lnTo>
                    <a:pt x="15" y="129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12" y="123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9" y="114"/>
                  </a:lnTo>
                  <a:lnTo>
                    <a:pt x="6" y="111"/>
                  </a:lnTo>
                  <a:lnTo>
                    <a:pt x="6" y="108"/>
                  </a:lnTo>
                  <a:lnTo>
                    <a:pt x="3" y="108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2" y="96"/>
                  </a:lnTo>
                  <a:lnTo>
                    <a:pt x="12" y="93"/>
                  </a:lnTo>
                  <a:lnTo>
                    <a:pt x="12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8" y="93"/>
                  </a:lnTo>
                  <a:lnTo>
                    <a:pt x="21" y="93"/>
                  </a:lnTo>
                  <a:lnTo>
                    <a:pt x="21" y="90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7"/>
                  </a:lnTo>
                  <a:lnTo>
                    <a:pt x="27" y="87"/>
                  </a:lnTo>
                  <a:lnTo>
                    <a:pt x="30" y="87"/>
                  </a:lnTo>
                  <a:lnTo>
                    <a:pt x="30" y="84"/>
                  </a:lnTo>
                  <a:lnTo>
                    <a:pt x="30" y="81"/>
                  </a:lnTo>
                  <a:lnTo>
                    <a:pt x="33" y="81"/>
                  </a:lnTo>
                  <a:lnTo>
                    <a:pt x="33" y="78"/>
                  </a:lnTo>
                  <a:lnTo>
                    <a:pt x="33" y="75"/>
                  </a:lnTo>
                  <a:lnTo>
                    <a:pt x="36" y="75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9" y="69"/>
                  </a:lnTo>
                  <a:lnTo>
                    <a:pt x="36" y="69"/>
                  </a:lnTo>
                  <a:lnTo>
                    <a:pt x="39" y="69"/>
                  </a:lnTo>
                  <a:lnTo>
                    <a:pt x="42" y="69"/>
                  </a:lnTo>
                  <a:lnTo>
                    <a:pt x="42" y="66"/>
                  </a:lnTo>
                  <a:lnTo>
                    <a:pt x="45" y="66"/>
                  </a:lnTo>
                  <a:lnTo>
                    <a:pt x="45" y="63"/>
                  </a:lnTo>
                  <a:lnTo>
                    <a:pt x="42" y="63"/>
                  </a:lnTo>
                  <a:lnTo>
                    <a:pt x="42" y="60"/>
                  </a:lnTo>
                  <a:lnTo>
                    <a:pt x="45" y="60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54"/>
                  </a:lnTo>
                  <a:lnTo>
                    <a:pt x="48" y="54"/>
                  </a:lnTo>
                  <a:lnTo>
                    <a:pt x="51" y="54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54" y="48"/>
                  </a:lnTo>
                  <a:lnTo>
                    <a:pt x="57" y="48"/>
                  </a:lnTo>
                  <a:lnTo>
                    <a:pt x="54" y="48"/>
                  </a:lnTo>
                  <a:lnTo>
                    <a:pt x="54" y="45"/>
                  </a:lnTo>
                  <a:lnTo>
                    <a:pt x="54" y="42"/>
                  </a:lnTo>
                  <a:lnTo>
                    <a:pt x="57" y="42"/>
                  </a:lnTo>
                  <a:lnTo>
                    <a:pt x="60" y="42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3" y="33"/>
                  </a:lnTo>
                  <a:lnTo>
                    <a:pt x="63" y="36"/>
                  </a:lnTo>
                  <a:lnTo>
                    <a:pt x="63" y="33"/>
                  </a:lnTo>
                  <a:lnTo>
                    <a:pt x="63" y="30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78" y="27"/>
                  </a:lnTo>
                  <a:lnTo>
                    <a:pt x="81" y="27"/>
                  </a:lnTo>
                  <a:lnTo>
                    <a:pt x="81" y="30"/>
                  </a:lnTo>
                  <a:lnTo>
                    <a:pt x="81" y="27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7" y="27"/>
                  </a:lnTo>
                  <a:lnTo>
                    <a:pt x="87" y="24"/>
                  </a:lnTo>
                  <a:lnTo>
                    <a:pt x="90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3" y="18"/>
                  </a:lnTo>
                  <a:lnTo>
                    <a:pt x="93" y="15"/>
                  </a:lnTo>
                  <a:lnTo>
                    <a:pt x="96" y="15"/>
                  </a:lnTo>
                  <a:lnTo>
                    <a:pt x="96" y="12"/>
                  </a:lnTo>
                  <a:lnTo>
                    <a:pt x="99" y="12"/>
                  </a:lnTo>
                  <a:lnTo>
                    <a:pt x="102" y="12"/>
                  </a:lnTo>
                  <a:lnTo>
                    <a:pt x="105" y="12"/>
                  </a:lnTo>
                  <a:lnTo>
                    <a:pt x="108" y="12"/>
                  </a:lnTo>
                  <a:lnTo>
                    <a:pt x="111" y="12"/>
                  </a:lnTo>
                  <a:lnTo>
                    <a:pt x="114" y="9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3"/>
                  </a:lnTo>
                  <a:lnTo>
                    <a:pt x="117" y="6"/>
                  </a:lnTo>
                  <a:lnTo>
                    <a:pt x="123" y="3"/>
                  </a:lnTo>
                  <a:lnTo>
                    <a:pt x="126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80" name="Freeform 38">
              <a:extLst>
                <a:ext uri="{FF2B5EF4-FFF2-40B4-BE49-F238E27FC236}">
                  <a16:creationId xmlns:a16="http://schemas.microsoft.com/office/drawing/2014/main" id="{7F8F95E1-85A4-43E5-800E-9824A1277E2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9975" y="3640138"/>
              <a:ext cx="123825" cy="123825"/>
            </a:xfrm>
            <a:custGeom>
              <a:avLst/>
              <a:gdLst>
                <a:gd name="T0" fmla="*/ 11793 w 63"/>
                <a:gd name="T1" fmla="*/ 5896 h 63"/>
                <a:gd name="T2" fmla="*/ 17689 w 63"/>
                <a:gd name="T3" fmla="*/ 0 h 63"/>
                <a:gd name="T4" fmla="*/ 23586 w 63"/>
                <a:gd name="T5" fmla="*/ 5896 h 63"/>
                <a:gd name="T6" fmla="*/ 29482 w 63"/>
                <a:gd name="T7" fmla="*/ 11793 h 63"/>
                <a:gd name="T8" fmla="*/ 35379 w 63"/>
                <a:gd name="T9" fmla="*/ 17689 h 63"/>
                <a:gd name="T10" fmla="*/ 47171 w 63"/>
                <a:gd name="T11" fmla="*/ 17689 h 63"/>
                <a:gd name="T12" fmla="*/ 53068 w 63"/>
                <a:gd name="T13" fmla="*/ 23586 h 63"/>
                <a:gd name="T14" fmla="*/ 64861 w 63"/>
                <a:gd name="T15" fmla="*/ 23586 h 63"/>
                <a:gd name="T16" fmla="*/ 70757 w 63"/>
                <a:gd name="T17" fmla="*/ 17689 h 63"/>
                <a:gd name="T18" fmla="*/ 70757 w 63"/>
                <a:gd name="T19" fmla="*/ 17689 h 63"/>
                <a:gd name="T20" fmla="*/ 76654 w 63"/>
                <a:gd name="T21" fmla="*/ 23586 h 63"/>
                <a:gd name="T22" fmla="*/ 82550 w 63"/>
                <a:gd name="T23" fmla="*/ 35379 h 63"/>
                <a:gd name="T24" fmla="*/ 82550 w 63"/>
                <a:gd name="T25" fmla="*/ 41275 h 63"/>
                <a:gd name="T26" fmla="*/ 88446 w 63"/>
                <a:gd name="T27" fmla="*/ 47171 h 63"/>
                <a:gd name="T28" fmla="*/ 94343 w 63"/>
                <a:gd name="T29" fmla="*/ 53068 h 63"/>
                <a:gd name="T30" fmla="*/ 94343 w 63"/>
                <a:gd name="T31" fmla="*/ 58964 h 63"/>
                <a:gd name="T32" fmla="*/ 100239 w 63"/>
                <a:gd name="T33" fmla="*/ 64861 h 63"/>
                <a:gd name="T34" fmla="*/ 106136 w 63"/>
                <a:gd name="T35" fmla="*/ 70757 h 63"/>
                <a:gd name="T36" fmla="*/ 106136 w 63"/>
                <a:gd name="T37" fmla="*/ 70757 h 63"/>
                <a:gd name="T38" fmla="*/ 106136 w 63"/>
                <a:gd name="T39" fmla="*/ 70757 h 63"/>
                <a:gd name="T40" fmla="*/ 112032 w 63"/>
                <a:gd name="T41" fmla="*/ 76654 h 63"/>
                <a:gd name="T42" fmla="*/ 112032 w 63"/>
                <a:gd name="T43" fmla="*/ 76654 h 63"/>
                <a:gd name="T44" fmla="*/ 117929 w 63"/>
                <a:gd name="T45" fmla="*/ 82550 h 63"/>
                <a:gd name="T46" fmla="*/ 123825 w 63"/>
                <a:gd name="T47" fmla="*/ 88446 h 63"/>
                <a:gd name="T48" fmla="*/ 117929 w 63"/>
                <a:gd name="T49" fmla="*/ 94343 h 63"/>
                <a:gd name="T50" fmla="*/ 112032 w 63"/>
                <a:gd name="T51" fmla="*/ 88446 h 63"/>
                <a:gd name="T52" fmla="*/ 112032 w 63"/>
                <a:gd name="T53" fmla="*/ 100239 h 63"/>
                <a:gd name="T54" fmla="*/ 106136 w 63"/>
                <a:gd name="T55" fmla="*/ 106136 h 63"/>
                <a:gd name="T56" fmla="*/ 100239 w 63"/>
                <a:gd name="T57" fmla="*/ 112032 h 63"/>
                <a:gd name="T58" fmla="*/ 94343 w 63"/>
                <a:gd name="T59" fmla="*/ 117929 h 63"/>
                <a:gd name="T60" fmla="*/ 94343 w 63"/>
                <a:gd name="T61" fmla="*/ 117929 h 63"/>
                <a:gd name="T62" fmla="*/ 88446 w 63"/>
                <a:gd name="T63" fmla="*/ 117929 h 63"/>
                <a:gd name="T64" fmla="*/ 76654 w 63"/>
                <a:gd name="T65" fmla="*/ 117929 h 63"/>
                <a:gd name="T66" fmla="*/ 70757 w 63"/>
                <a:gd name="T67" fmla="*/ 112032 h 63"/>
                <a:gd name="T68" fmla="*/ 64861 w 63"/>
                <a:gd name="T69" fmla="*/ 106136 h 63"/>
                <a:gd name="T70" fmla="*/ 53068 w 63"/>
                <a:gd name="T71" fmla="*/ 106136 h 63"/>
                <a:gd name="T72" fmla="*/ 47171 w 63"/>
                <a:gd name="T73" fmla="*/ 112032 h 63"/>
                <a:gd name="T74" fmla="*/ 41275 w 63"/>
                <a:gd name="T75" fmla="*/ 112032 h 63"/>
                <a:gd name="T76" fmla="*/ 41275 w 63"/>
                <a:gd name="T77" fmla="*/ 112032 h 63"/>
                <a:gd name="T78" fmla="*/ 41275 w 63"/>
                <a:gd name="T79" fmla="*/ 106136 h 63"/>
                <a:gd name="T80" fmla="*/ 35379 w 63"/>
                <a:gd name="T81" fmla="*/ 100239 h 63"/>
                <a:gd name="T82" fmla="*/ 35379 w 63"/>
                <a:gd name="T83" fmla="*/ 88446 h 63"/>
                <a:gd name="T84" fmla="*/ 23586 w 63"/>
                <a:gd name="T85" fmla="*/ 76654 h 63"/>
                <a:gd name="T86" fmla="*/ 23586 w 63"/>
                <a:gd name="T87" fmla="*/ 70757 h 63"/>
                <a:gd name="T88" fmla="*/ 17689 w 63"/>
                <a:gd name="T89" fmla="*/ 58964 h 63"/>
                <a:gd name="T90" fmla="*/ 23586 w 63"/>
                <a:gd name="T91" fmla="*/ 53068 h 63"/>
                <a:gd name="T92" fmla="*/ 11793 w 63"/>
                <a:gd name="T93" fmla="*/ 47171 h 63"/>
                <a:gd name="T94" fmla="*/ 0 w 63"/>
                <a:gd name="T95" fmla="*/ 41275 h 63"/>
                <a:gd name="T96" fmla="*/ 5896 w 63"/>
                <a:gd name="T97" fmla="*/ 29482 h 63"/>
                <a:gd name="T98" fmla="*/ 11793 w 63"/>
                <a:gd name="T99" fmla="*/ 17689 h 63"/>
                <a:gd name="T100" fmla="*/ 17689 w 63"/>
                <a:gd name="T101" fmla="*/ 11793 h 63"/>
                <a:gd name="T102" fmla="*/ 5896 w 63"/>
                <a:gd name="T103" fmla="*/ 5896 h 6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3" h="63">
                  <a:moveTo>
                    <a:pt x="3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6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3" y="12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9" y="12"/>
                  </a:lnTo>
                  <a:lnTo>
                    <a:pt x="39" y="15"/>
                  </a:lnTo>
                  <a:lnTo>
                    <a:pt x="42" y="18"/>
                  </a:lnTo>
                  <a:lnTo>
                    <a:pt x="39" y="18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7"/>
                  </a:lnTo>
                  <a:lnTo>
                    <a:pt x="45" y="27"/>
                  </a:lnTo>
                  <a:lnTo>
                    <a:pt x="48" y="30"/>
                  </a:lnTo>
                  <a:lnTo>
                    <a:pt x="48" y="33"/>
                  </a:lnTo>
                  <a:lnTo>
                    <a:pt x="51" y="33"/>
                  </a:lnTo>
                  <a:lnTo>
                    <a:pt x="51" y="36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7" y="39"/>
                  </a:lnTo>
                  <a:lnTo>
                    <a:pt x="57" y="42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42"/>
                  </a:lnTo>
                  <a:lnTo>
                    <a:pt x="63" y="42"/>
                  </a:lnTo>
                  <a:lnTo>
                    <a:pt x="63" y="45"/>
                  </a:lnTo>
                  <a:lnTo>
                    <a:pt x="60" y="45"/>
                  </a:lnTo>
                  <a:lnTo>
                    <a:pt x="60" y="48"/>
                  </a:lnTo>
                  <a:lnTo>
                    <a:pt x="57" y="48"/>
                  </a:lnTo>
                  <a:lnTo>
                    <a:pt x="57" y="45"/>
                  </a:lnTo>
                  <a:lnTo>
                    <a:pt x="57" y="48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1" y="54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48" y="60"/>
                  </a:lnTo>
                  <a:lnTo>
                    <a:pt x="48" y="63"/>
                  </a:lnTo>
                  <a:lnTo>
                    <a:pt x="48" y="60"/>
                  </a:lnTo>
                  <a:lnTo>
                    <a:pt x="45" y="57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60"/>
                  </a:lnTo>
                  <a:lnTo>
                    <a:pt x="39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3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7"/>
                  </a:lnTo>
                  <a:lnTo>
                    <a:pt x="21" y="60"/>
                  </a:lnTo>
                  <a:lnTo>
                    <a:pt x="21" y="57"/>
                  </a:lnTo>
                  <a:lnTo>
                    <a:pt x="18" y="57"/>
                  </a:lnTo>
                  <a:lnTo>
                    <a:pt x="21" y="57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18" y="51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5" y="42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81" name="Freeform 39">
              <a:extLst>
                <a:ext uri="{FF2B5EF4-FFF2-40B4-BE49-F238E27FC236}">
                  <a16:creationId xmlns:a16="http://schemas.microsoft.com/office/drawing/2014/main" id="{57CA6DCF-CB59-46F9-BC1F-CBB16181A6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9838" y="3644900"/>
              <a:ext cx="1236662" cy="828675"/>
            </a:xfrm>
            <a:custGeom>
              <a:avLst/>
              <a:gdLst>
                <a:gd name="T0" fmla="*/ 1041711 w 628"/>
                <a:gd name="T1" fmla="*/ 41335 h 421"/>
                <a:gd name="T2" fmla="*/ 1000357 w 628"/>
                <a:gd name="T3" fmla="*/ 64956 h 421"/>
                <a:gd name="T4" fmla="*/ 1035803 w 628"/>
                <a:gd name="T5" fmla="*/ 106291 h 421"/>
                <a:gd name="T6" fmla="*/ 1077156 w 628"/>
                <a:gd name="T7" fmla="*/ 124006 h 421"/>
                <a:gd name="T8" fmla="*/ 1148048 w 628"/>
                <a:gd name="T9" fmla="*/ 135816 h 421"/>
                <a:gd name="T10" fmla="*/ 1171678 w 628"/>
                <a:gd name="T11" fmla="*/ 141721 h 421"/>
                <a:gd name="T12" fmla="*/ 1195309 w 628"/>
                <a:gd name="T13" fmla="*/ 153531 h 421"/>
                <a:gd name="T14" fmla="*/ 1224847 w 628"/>
                <a:gd name="T15" fmla="*/ 171246 h 421"/>
                <a:gd name="T16" fmla="*/ 1230754 w 628"/>
                <a:gd name="T17" fmla="*/ 200772 h 421"/>
                <a:gd name="T18" fmla="*/ 1207124 w 628"/>
                <a:gd name="T19" fmla="*/ 253917 h 421"/>
                <a:gd name="T20" fmla="*/ 1153955 w 628"/>
                <a:gd name="T21" fmla="*/ 295252 h 421"/>
                <a:gd name="T22" fmla="*/ 1106694 w 628"/>
                <a:gd name="T23" fmla="*/ 336588 h 421"/>
                <a:gd name="T24" fmla="*/ 1053526 w 628"/>
                <a:gd name="T25" fmla="*/ 395638 h 421"/>
                <a:gd name="T26" fmla="*/ 1012172 w 628"/>
                <a:gd name="T27" fmla="*/ 450752 h 421"/>
                <a:gd name="T28" fmla="*/ 959004 w 628"/>
                <a:gd name="T29" fmla="*/ 509802 h 421"/>
                <a:gd name="T30" fmla="*/ 899928 w 628"/>
                <a:gd name="T31" fmla="*/ 545233 h 421"/>
                <a:gd name="T32" fmla="*/ 852667 w 628"/>
                <a:gd name="T33" fmla="*/ 598378 h 421"/>
                <a:gd name="T34" fmla="*/ 799498 w 628"/>
                <a:gd name="T35" fmla="*/ 633808 h 421"/>
                <a:gd name="T36" fmla="*/ 734514 w 628"/>
                <a:gd name="T37" fmla="*/ 681049 h 421"/>
                <a:gd name="T38" fmla="*/ 675438 w 628"/>
                <a:gd name="T39" fmla="*/ 716479 h 421"/>
                <a:gd name="T40" fmla="*/ 610454 w 628"/>
                <a:gd name="T41" fmla="*/ 734194 h 421"/>
                <a:gd name="T42" fmla="*/ 545470 w 628"/>
                <a:gd name="T43" fmla="*/ 728289 h 421"/>
                <a:gd name="T44" fmla="*/ 486394 w 628"/>
                <a:gd name="T45" fmla="*/ 757814 h 421"/>
                <a:gd name="T46" fmla="*/ 462764 w 628"/>
                <a:gd name="T47" fmla="*/ 793245 h 421"/>
                <a:gd name="T48" fmla="*/ 397780 w 628"/>
                <a:gd name="T49" fmla="*/ 781435 h 421"/>
                <a:gd name="T50" fmla="*/ 356426 w 628"/>
                <a:gd name="T51" fmla="*/ 822770 h 421"/>
                <a:gd name="T52" fmla="*/ 291443 w 628"/>
                <a:gd name="T53" fmla="*/ 816865 h 421"/>
                <a:gd name="T54" fmla="*/ 224490 w 628"/>
                <a:gd name="T55" fmla="*/ 799150 h 421"/>
                <a:gd name="T56" fmla="*/ 153598 w 628"/>
                <a:gd name="T57" fmla="*/ 781435 h 421"/>
                <a:gd name="T58" fmla="*/ 129968 w 628"/>
                <a:gd name="T59" fmla="*/ 746004 h 421"/>
                <a:gd name="T60" fmla="*/ 147691 w 628"/>
                <a:gd name="T61" fmla="*/ 698764 h 421"/>
                <a:gd name="T62" fmla="*/ 70891 w 628"/>
                <a:gd name="T63" fmla="*/ 663334 h 421"/>
                <a:gd name="T64" fmla="*/ 17723 w 628"/>
                <a:gd name="T65" fmla="*/ 627903 h 421"/>
                <a:gd name="T66" fmla="*/ 64984 w 628"/>
                <a:gd name="T67" fmla="*/ 551138 h 421"/>
                <a:gd name="T68" fmla="*/ 94522 w 628"/>
                <a:gd name="T69" fmla="*/ 497992 h 421"/>
                <a:gd name="T70" fmla="*/ 153598 w 628"/>
                <a:gd name="T71" fmla="*/ 456657 h 421"/>
                <a:gd name="T72" fmla="*/ 206767 w 628"/>
                <a:gd name="T73" fmla="*/ 433037 h 421"/>
                <a:gd name="T74" fmla="*/ 238274 w 628"/>
                <a:gd name="T75" fmla="*/ 401543 h 421"/>
                <a:gd name="T76" fmla="*/ 232366 w 628"/>
                <a:gd name="T77" fmla="*/ 360208 h 421"/>
                <a:gd name="T78" fmla="*/ 285535 w 628"/>
                <a:gd name="T79" fmla="*/ 330683 h 421"/>
                <a:gd name="T80" fmla="*/ 320981 w 628"/>
                <a:gd name="T81" fmla="*/ 265727 h 421"/>
                <a:gd name="T82" fmla="*/ 391872 w 628"/>
                <a:gd name="T83" fmla="*/ 242107 h 421"/>
                <a:gd name="T84" fmla="*/ 445041 w 628"/>
                <a:gd name="T85" fmla="*/ 224392 h 421"/>
                <a:gd name="T86" fmla="*/ 462764 w 628"/>
                <a:gd name="T87" fmla="*/ 177151 h 421"/>
                <a:gd name="T88" fmla="*/ 468671 w 628"/>
                <a:gd name="T89" fmla="*/ 118101 h 421"/>
                <a:gd name="T90" fmla="*/ 510025 w 628"/>
                <a:gd name="T91" fmla="*/ 124006 h 421"/>
                <a:gd name="T92" fmla="*/ 551378 w 628"/>
                <a:gd name="T93" fmla="*/ 106291 h 421"/>
                <a:gd name="T94" fmla="*/ 586824 w 628"/>
                <a:gd name="T95" fmla="*/ 106291 h 421"/>
                <a:gd name="T96" fmla="*/ 622269 w 628"/>
                <a:gd name="T97" fmla="*/ 118101 h 421"/>
                <a:gd name="T98" fmla="*/ 675438 w 628"/>
                <a:gd name="T99" fmla="*/ 124006 h 421"/>
                <a:gd name="T100" fmla="*/ 710884 w 628"/>
                <a:gd name="T101" fmla="*/ 106291 h 421"/>
                <a:gd name="T102" fmla="*/ 746329 w 628"/>
                <a:gd name="T103" fmla="*/ 94481 h 421"/>
                <a:gd name="T104" fmla="*/ 764052 w 628"/>
                <a:gd name="T105" fmla="*/ 76766 h 421"/>
                <a:gd name="T106" fmla="*/ 775868 w 628"/>
                <a:gd name="T107" fmla="*/ 64956 h 421"/>
                <a:gd name="T108" fmla="*/ 781775 w 628"/>
                <a:gd name="T109" fmla="*/ 35430 h 421"/>
                <a:gd name="T110" fmla="*/ 823129 w 628"/>
                <a:gd name="T111" fmla="*/ 64956 h 421"/>
                <a:gd name="T112" fmla="*/ 852667 w 628"/>
                <a:gd name="T113" fmla="*/ 106291 h 421"/>
                <a:gd name="T114" fmla="*/ 899928 w 628"/>
                <a:gd name="T115" fmla="*/ 112196 h 421"/>
                <a:gd name="T116" fmla="*/ 911743 w 628"/>
                <a:gd name="T117" fmla="*/ 64956 h 421"/>
                <a:gd name="T118" fmla="*/ 959004 w 628"/>
                <a:gd name="T119" fmla="*/ 29525 h 421"/>
                <a:gd name="T120" fmla="*/ 1035803 w 628"/>
                <a:gd name="T121" fmla="*/ 5905 h 4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28" h="421">
                  <a:moveTo>
                    <a:pt x="529" y="0"/>
                  </a:moveTo>
                  <a:lnTo>
                    <a:pt x="529" y="3"/>
                  </a:lnTo>
                  <a:lnTo>
                    <a:pt x="532" y="3"/>
                  </a:lnTo>
                  <a:lnTo>
                    <a:pt x="532" y="6"/>
                  </a:lnTo>
                  <a:lnTo>
                    <a:pt x="535" y="6"/>
                  </a:lnTo>
                  <a:lnTo>
                    <a:pt x="535" y="9"/>
                  </a:lnTo>
                  <a:lnTo>
                    <a:pt x="538" y="12"/>
                  </a:lnTo>
                  <a:lnTo>
                    <a:pt x="538" y="15"/>
                  </a:lnTo>
                  <a:lnTo>
                    <a:pt x="538" y="18"/>
                  </a:lnTo>
                  <a:lnTo>
                    <a:pt x="535" y="15"/>
                  </a:lnTo>
                  <a:lnTo>
                    <a:pt x="535" y="18"/>
                  </a:lnTo>
                  <a:lnTo>
                    <a:pt x="532" y="18"/>
                  </a:lnTo>
                  <a:lnTo>
                    <a:pt x="532" y="21"/>
                  </a:lnTo>
                  <a:lnTo>
                    <a:pt x="529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29" y="24"/>
                  </a:lnTo>
                  <a:lnTo>
                    <a:pt x="526" y="24"/>
                  </a:lnTo>
                  <a:lnTo>
                    <a:pt x="526" y="27"/>
                  </a:lnTo>
                  <a:lnTo>
                    <a:pt x="526" y="30"/>
                  </a:lnTo>
                  <a:lnTo>
                    <a:pt x="523" y="27"/>
                  </a:lnTo>
                  <a:lnTo>
                    <a:pt x="520" y="27"/>
                  </a:lnTo>
                  <a:lnTo>
                    <a:pt x="520" y="30"/>
                  </a:lnTo>
                  <a:lnTo>
                    <a:pt x="517" y="33"/>
                  </a:lnTo>
                  <a:lnTo>
                    <a:pt x="514" y="33"/>
                  </a:lnTo>
                  <a:lnTo>
                    <a:pt x="511" y="30"/>
                  </a:lnTo>
                  <a:lnTo>
                    <a:pt x="508" y="30"/>
                  </a:lnTo>
                  <a:lnTo>
                    <a:pt x="508" y="33"/>
                  </a:lnTo>
                  <a:lnTo>
                    <a:pt x="508" y="36"/>
                  </a:lnTo>
                  <a:lnTo>
                    <a:pt x="508" y="39"/>
                  </a:lnTo>
                  <a:lnTo>
                    <a:pt x="511" y="42"/>
                  </a:lnTo>
                  <a:lnTo>
                    <a:pt x="508" y="42"/>
                  </a:lnTo>
                  <a:lnTo>
                    <a:pt x="508" y="48"/>
                  </a:lnTo>
                  <a:lnTo>
                    <a:pt x="511" y="51"/>
                  </a:lnTo>
                  <a:lnTo>
                    <a:pt x="514" y="51"/>
                  </a:lnTo>
                  <a:lnTo>
                    <a:pt x="514" y="54"/>
                  </a:lnTo>
                  <a:lnTo>
                    <a:pt x="517" y="54"/>
                  </a:lnTo>
                  <a:lnTo>
                    <a:pt x="517" y="57"/>
                  </a:lnTo>
                  <a:lnTo>
                    <a:pt x="520" y="57"/>
                  </a:lnTo>
                  <a:lnTo>
                    <a:pt x="523" y="57"/>
                  </a:lnTo>
                  <a:lnTo>
                    <a:pt x="526" y="57"/>
                  </a:lnTo>
                  <a:lnTo>
                    <a:pt x="526" y="54"/>
                  </a:lnTo>
                  <a:lnTo>
                    <a:pt x="529" y="51"/>
                  </a:lnTo>
                  <a:lnTo>
                    <a:pt x="532" y="51"/>
                  </a:lnTo>
                  <a:lnTo>
                    <a:pt x="535" y="54"/>
                  </a:lnTo>
                  <a:lnTo>
                    <a:pt x="538" y="54"/>
                  </a:lnTo>
                  <a:lnTo>
                    <a:pt x="538" y="57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7" y="63"/>
                  </a:lnTo>
                  <a:lnTo>
                    <a:pt x="550" y="63"/>
                  </a:lnTo>
                  <a:lnTo>
                    <a:pt x="553" y="63"/>
                  </a:lnTo>
                  <a:lnTo>
                    <a:pt x="556" y="63"/>
                  </a:lnTo>
                  <a:lnTo>
                    <a:pt x="556" y="66"/>
                  </a:lnTo>
                  <a:lnTo>
                    <a:pt x="559" y="66"/>
                  </a:lnTo>
                  <a:lnTo>
                    <a:pt x="562" y="63"/>
                  </a:lnTo>
                  <a:lnTo>
                    <a:pt x="565" y="63"/>
                  </a:lnTo>
                  <a:lnTo>
                    <a:pt x="568" y="63"/>
                  </a:lnTo>
                  <a:lnTo>
                    <a:pt x="571" y="63"/>
                  </a:lnTo>
                  <a:lnTo>
                    <a:pt x="574" y="66"/>
                  </a:lnTo>
                  <a:lnTo>
                    <a:pt x="577" y="66"/>
                  </a:lnTo>
                  <a:lnTo>
                    <a:pt x="577" y="69"/>
                  </a:lnTo>
                  <a:lnTo>
                    <a:pt x="580" y="69"/>
                  </a:lnTo>
                  <a:lnTo>
                    <a:pt x="583" y="69"/>
                  </a:lnTo>
                  <a:lnTo>
                    <a:pt x="583" y="66"/>
                  </a:lnTo>
                  <a:lnTo>
                    <a:pt x="586" y="66"/>
                  </a:lnTo>
                  <a:lnTo>
                    <a:pt x="586" y="69"/>
                  </a:lnTo>
                  <a:lnTo>
                    <a:pt x="589" y="69"/>
                  </a:lnTo>
                  <a:lnTo>
                    <a:pt x="589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601" y="75"/>
                  </a:lnTo>
                  <a:lnTo>
                    <a:pt x="604" y="75"/>
                  </a:lnTo>
                  <a:lnTo>
                    <a:pt x="601" y="75"/>
                  </a:lnTo>
                  <a:lnTo>
                    <a:pt x="601" y="78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7" y="75"/>
                  </a:lnTo>
                  <a:lnTo>
                    <a:pt x="607" y="78"/>
                  </a:lnTo>
                  <a:lnTo>
                    <a:pt x="607" y="81"/>
                  </a:lnTo>
                  <a:lnTo>
                    <a:pt x="610" y="81"/>
                  </a:lnTo>
                  <a:lnTo>
                    <a:pt x="607" y="81"/>
                  </a:lnTo>
                  <a:lnTo>
                    <a:pt x="607" y="84"/>
                  </a:lnTo>
                  <a:lnTo>
                    <a:pt x="610" y="84"/>
                  </a:lnTo>
                  <a:lnTo>
                    <a:pt x="610" y="81"/>
                  </a:lnTo>
                  <a:lnTo>
                    <a:pt x="613" y="81"/>
                  </a:lnTo>
                  <a:lnTo>
                    <a:pt x="613" y="84"/>
                  </a:lnTo>
                  <a:lnTo>
                    <a:pt x="616" y="84"/>
                  </a:lnTo>
                  <a:lnTo>
                    <a:pt x="619" y="84"/>
                  </a:lnTo>
                  <a:lnTo>
                    <a:pt x="619" y="87"/>
                  </a:lnTo>
                  <a:lnTo>
                    <a:pt x="616" y="87"/>
                  </a:lnTo>
                  <a:lnTo>
                    <a:pt x="619" y="87"/>
                  </a:lnTo>
                  <a:lnTo>
                    <a:pt x="622" y="87"/>
                  </a:lnTo>
                  <a:lnTo>
                    <a:pt x="622" y="90"/>
                  </a:lnTo>
                  <a:lnTo>
                    <a:pt x="625" y="90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2" y="96"/>
                  </a:lnTo>
                  <a:lnTo>
                    <a:pt x="625" y="96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2" y="102"/>
                  </a:lnTo>
                  <a:lnTo>
                    <a:pt x="625" y="102"/>
                  </a:lnTo>
                  <a:lnTo>
                    <a:pt x="625" y="105"/>
                  </a:lnTo>
                  <a:lnTo>
                    <a:pt x="628" y="105"/>
                  </a:lnTo>
                  <a:lnTo>
                    <a:pt x="628" y="108"/>
                  </a:lnTo>
                  <a:lnTo>
                    <a:pt x="625" y="111"/>
                  </a:lnTo>
                  <a:lnTo>
                    <a:pt x="625" y="114"/>
                  </a:lnTo>
                  <a:lnTo>
                    <a:pt x="622" y="114"/>
                  </a:lnTo>
                  <a:lnTo>
                    <a:pt x="622" y="117"/>
                  </a:lnTo>
                  <a:lnTo>
                    <a:pt x="619" y="117"/>
                  </a:lnTo>
                  <a:lnTo>
                    <a:pt x="619" y="120"/>
                  </a:lnTo>
                  <a:lnTo>
                    <a:pt x="616" y="120"/>
                  </a:lnTo>
                  <a:lnTo>
                    <a:pt x="616" y="123"/>
                  </a:lnTo>
                  <a:lnTo>
                    <a:pt x="616" y="126"/>
                  </a:lnTo>
                  <a:lnTo>
                    <a:pt x="613" y="126"/>
                  </a:lnTo>
                  <a:lnTo>
                    <a:pt x="613" y="129"/>
                  </a:lnTo>
                  <a:lnTo>
                    <a:pt x="610" y="129"/>
                  </a:lnTo>
                  <a:lnTo>
                    <a:pt x="607" y="132"/>
                  </a:lnTo>
                  <a:lnTo>
                    <a:pt x="607" y="135"/>
                  </a:lnTo>
                  <a:lnTo>
                    <a:pt x="604" y="135"/>
                  </a:lnTo>
                  <a:lnTo>
                    <a:pt x="604" y="138"/>
                  </a:lnTo>
                  <a:lnTo>
                    <a:pt x="601" y="138"/>
                  </a:lnTo>
                  <a:lnTo>
                    <a:pt x="601" y="141"/>
                  </a:lnTo>
                  <a:lnTo>
                    <a:pt x="598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89" y="144"/>
                  </a:lnTo>
                  <a:lnTo>
                    <a:pt x="589" y="147"/>
                  </a:lnTo>
                  <a:lnTo>
                    <a:pt x="586" y="150"/>
                  </a:lnTo>
                  <a:lnTo>
                    <a:pt x="583" y="153"/>
                  </a:lnTo>
                  <a:lnTo>
                    <a:pt x="580" y="153"/>
                  </a:lnTo>
                  <a:lnTo>
                    <a:pt x="580" y="156"/>
                  </a:lnTo>
                  <a:lnTo>
                    <a:pt x="577" y="156"/>
                  </a:lnTo>
                  <a:lnTo>
                    <a:pt x="577" y="159"/>
                  </a:lnTo>
                  <a:lnTo>
                    <a:pt x="574" y="159"/>
                  </a:lnTo>
                  <a:lnTo>
                    <a:pt x="574" y="162"/>
                  </a:lnTo>
                  <a:lnTo>
                    <a:pt x="571" y="162"/>
                  </a:lnTo>
                  <a:lnTo>
                    <a:pt x="571" y="165"/>
                  </a:lnTo>
                  <a:lnTo>
                    <a:pt x="568" y="165"/>
                  </a:lnTo>
                  <a:lnTo>
                    <a:pt x="565" y="165"/>
                  </a:lnTo>
                  <a:lnTo>
                    <a:pt x="565" y="168"/>
                  </a:lnTo>
                  <a:lnTo>
                    <a:pt x="562" y="168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4"/>
                  </a:lnTo>
                  <a:lnTo>
                    <a:pt x="556" y="174"/>
                  </a:lnTo>
                  <a:lnTo>
                    <a:pt x="556" y="177"/>
                  </a:lnTo>
                  <a:lnTo>
                    <a:pt x="553" y="180"/>
                  </a:lnTo>
                  <a:lnTo>
                    <a:pt x="550" y="183"/>
                  </a:lnTo>
                  <a:lnTo>
                    <a:pt x="550" y="186"/>
                  </a:lnTo>
                  <a:lnTo>
                    <a:pt x="547" y="189"/>
                  </a:lnTo>
                  <a:lnTo>
                    <a:pt x="547" y="192"/>
                  </a:lnTo>
                  <a:lnTo>
                    <a:pt x="544" y="192"/>
                  </a:lnTo>
                  <a:lnTo>
                    <a:pt x="541" y="195"/>
                  </a:lnTo>
                  <a:lnTo>
                    <a:pt x="538" y="198"/>
                  </a:lnTo>
                  <a:lnTo>
                    <a:pt x="538" y="201"/>
                  </a:lnTo>
                  <a:lnTo>
                    <a:pt x="535" y="201"/>
                  </a:lnTo>
                  <a:lnTo>
                    <a:pt x="535" y="204"/>
                  </a:lnTo>
                  <a:lnTo>
                    <a:pt x="535" y="207"/>
                  </a:lnTo>
                  <a:lnTo>
                    <a:pt x="532" y="207"/>
                  </a:lnTo>
                  <a:lnTo>
                    <a:pt x="532" y="210"/>
                  </a:lnTo>
                  <a:lnTo>
                    <a:pt x="529" y="210"/>
                  </a:lnTo>
                  <a:lnTo>
                    <a:pt x="529" y="213"/>
                  </a:lnTo>
                  <a:lnTo>
                    <a:pt x="526" y="213"/>
                  </a:lnTo>
                  <a:lnTo>
                    <a:pt x="526" y="217"/>
                  </a:lnTo>
                  <a:lnTo>
                    <a:pt x="523" y="217"/>
                  </a:lnTo>
                  <a:lnTo>
                    <a:pt x="523" y="220"/>
                  </a:lnTo>
                  <a:lnTo>
                    <a:pt x="520" y="223"/>
                  </a:lnTo>
                  <a:lnTo>
                    <a:pt x="517" y="226"/>
                  </a:lnTo>
                  <a:lnTo>
                    <a:pt x="517" y="229"/>
                  </a:lnTo>
                  <a:lnTo>
                    <a:pt x="514" y="229"/>
                  </a:lnTo>
                  <a:lnTo>
                    <a:pt x="511" y="232"/>
                  </a:lnTo>
                  <a:lnTo>
                    <a:pt x="508" y="232"/>
                  </a:lnTo>
                  <a:lnTo>
                    <a:pt x="508" y="235"/>
                  </a:lnTo>
                  <a:lnTo>
                    <a:pt x="505" y="238"/>
                  </a:lnTo>
                  <a:lnTo>
                    <a:pt x="502" y="241"/>
                  </a:lnTo>
                  <a:lnTo>
                    <a:pt x="499" y="244"/>
                  </a:lnTo>
                  <a:lnTo>
                    <a:pt x="499" y="247"/>
                  </a:lnTo>
                  <a:lnTo>
                    <a:pt x="496" y="247"/>
                  </a:lnTo>
                  <a:lnTo>
                    <a:pt x="493" y="250"/>
                  </a:lnTo>
                  <a:lnTo>
                    <a:pt x="493" y="253"/>
                  </a:lnTo>
                  <a:lnTo>
                    <a:pt x="490" y="253"/>
                  </a:lnTo>
                  <a:lnTo>
                    <a:pt x="490" y="256"/>
                  </a:lnTo>
                  <a:lnTo>
                    <a:pt x="487" y="256"/>
                  </a:lnTo>
                  <a:lnTo>
                    <a:pt x="487" y="259"/>
                  </a:lnTo>
                  <a:lnTo>
                    <a:pt x="484" y="259"/>
                  </a:lnTo>
                  <a:lnTo>
                    <a:pt x="481" y="259"/>
                  </a:lnTo>
                  <a:lnTo>
                    <a:pt x="481" y="262"/>
                  </a:lnTo>
                  <a:lnTo>
                    <a:pt x="478" y="262"/>
                  </a:lnTo>
                  <a:lnTo>
                    <a:pt x="478" y="265"/>
                  </a:lnTo>
                  <a:lnTo>
                    <a:pt x="475" y="265"/>
                  </a:lnTo>
                  <a:lnTo>
                    <a:pt x="475" y="268"/>
                  </a:lnTo>
                  <a:lnTo>
                    <a:pt x="472" y="268"/>
                  </a:lnTo>
                  <a:lnTo>
                    <a:pt x="472" y="271"/>
                  </a:lnTo>
                  <a:lnTo>
                    <a:pt x="469" y="271"/>
                  </a:lnTo>
                  <a:lnTo>
                    <a:pt x="466" y="274"/>
                  </a:lnTo>
                  <a:lnTo>
                    <a:pt x="463" y="274"/>
                  </a:lnTo>
                  <a:lnTo>
                    <a:pt x="460" y="277"/>
                  </a:lnTo>
                  <a:lnTo>
                    <a:pt x="457" y="277"/>
                  </a:lnTo>
                  <a:lnTo>
                    <a:pt x="457" y="280"/>
                  </a:lnTo>
                  <a:lnTo>
                    <a:pt x="454" y="280"/>
                  </a:lnTo>
                  <a:lnTo>
                    <a:pt x="454" y="283"/>
                  </a:lnTo>
                  <a:lnTo>
                    <a:pt x="454" y="286"/>
                  </a:lnTo>
                  <a:lnTo>
                    <a:pt x="451" y="286"/>
                  </a:lnTo>
                  <a:lnTo>
                    <a:pt x="451" y="289"/>
                  </a:lnTo>
                  <a:lnTo>
                    <a:pt x="448" y="289"/>
                  </a:lnTo>
                  <a:lnTo>
                    <a:pt x="448" y="292"/>
                  </a:lnTo>
                  <a:lnTo>
                    <a:pt x="445" y="292"/>
                  </a:lnTo>
                  <a:lnTo>
                    <a:pt x="442" y="295"/>
                  </a:lnTo>
                  <a:lnTo>
                    <a:pt x="439" y="298"/>
                  </a:lnTo>
                  <a:lnTo>
                    <a:pt x="436" y="301"/>
                  </a:lnTo>
                  <a:lnTo>
                    <a:pt x="436" y="304"/>
                  </a:lnTo>
                  <a:lnTo>
                    <a:pt x="433" y="304"/>
                  </a:lnTo>
                  <a:lnTo>
                    <a:pt x="430" y="304"/>
                  </a:lnTo>
                  <a:lnTo>
                    <a:pt x="430" y="307"/>
                  </a:lnTo>
                  <a:lnTo>
                    <a:pt x="427" y="307"/>
                  </a:lnTo>
                  <a:lnTo>
                    <a:pt x="424" y="307"/>
                  </a:lnTo>
                  <a:lnTo>
                    <a:pt x="424" y="310"/>
                  </a:lnTo>
                  <a:lnTo>
                    <a:pt x="421" y="310"/>
                  </a:lnTo>
                  <a:lnTo>
                    <a:pt x="418" y="313"/>
                  </a:lnTo>
                  <a:lnTo>
                    <a:pt x="418" y="316"/>
                  </a:lnTo>
                  <a:lnTo>
                    <a:pt x="415" y="316"/>
                  </a:lnTo>
                  <a:lnTo>
                    <a:pt x="415" y="319"/>
                  </a:lnTo>
                  <a:lnTo>
                    <a:pt x="412" y="319"/>
                  </a:lnTo>
                  <a:lnTo>
                    <a:pt x="409" y="319"/>
                  </a:lnTo>
                  <a:lnTo>
                    <a:pt x="409" y="322"/>
                  </a:lnTo>
                  <a:lnTo>
                    <a:pt x="406" y="322"/>
                  </a:lnTo>
                  <a:lnTo>
                    <a:pt x="403" y="325"/>
                  </a:lnTo>
                  <a:lnTo>
                    <a:pt x="400" y="325"/>
                  </a:lnTo>
                  <a:lnTo>
                    <a:pt x="400" y="328"/>
                  </a:lnTo>
                  <a:lnTo>
                    <a:pt x="397" y="328"/>
                  </a:lnTo>
                  <a:lnTo>
                    <a:pt x="397" y="331"/>
                  </a:lnTo>
                  <a:lnTo>
                    <a:pt x="394" y="331"/>
                  </a:lnTo>
                  <a:lnTo>
                    <a:pt x="391" y="334"/>
                  </a:lnTo>
                  <a:lnTo>
                    <a:pt x="388" y="334"/>
                  </a:lnTo>
                  <a:lnTo>
                    <a:pt x="388" y="337"/>
                  </a:lnTo>
                  <a:lnTo>
                    <a:pt x="385" y="337"/>
                  </a:lnTo>
                  <a:lnTo>
                    <a:pt x="382" y="340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3" y="346"/>
                  </a:lnTo>
                  <a:lnTo>
                    <a:pt x="370" y="349"/>
                  </a:lnTo>
                  <a:lnTo>
                    <a:pt x="370" y="352"/>
                  </a:lnTo>
                  <a:lnTo>
                    <a:pt x="367" y="352"/>
                  </a:lnTo>
                  <a:lnTo>
                    <a:pt x="364" y="352"/>
                  </a:lnTo>
                  <a:lnTo>
                    <a:pt x="364" y="355"/>
                  </a:lnTo>
                  <a:lnTo>
                    <a:pt x="361" y="355"/>
                  </a:lnTo>
                  <a:lnTo>
                    <a:pt x="358" y="355"/>
                  </a:lnTo>
                  <a:lnTo>
                    <a:pt x="355" y="355"/>
                  </a:lnTo>
                  <a:lnTo>
                    <a:pt x="355" y="358"/>
                  </a:lnTo>
                  <a:lnTo>
                    <a:pt x="352" y="358"/>
                  </a:lnTo>
                  <a:lnTo>
                    <a:pt x="349" y="361"/>
                  </a:lnTo>
                  <a:lnTo>
                    <a:pt x="346" y="361"/>
                  </a:lnTo>
                  <a:lnTo>
                    <a:pt x="343" y="361"/>
                  </a:lnTo>
                  <a:lnTo>
                    <a:pt x="343" y="364"/>
                  </a:lnTo>
                  <a:lnTo>
                    <a:pt x="340" y="364"/>
                  </a:lnTo>
                  <a:lnTo>
                    <a:pt x="337" y="364"/>
                  </a:lnTo>
                  <a:lnTo>
                    <a:pt x="334" y="367"/>
                  </a:lnTo>
                  <a:lnTo>
                    <a:pt x="331" y="367"/>
                  </a:lnTo>
                  <a:lnTo>
                    <a:pt x="331" y="370"/>
                  </a:lnTo>
                  <a:lnTo>
                    <a:pt x="328" y="370"/>
                  </a:lnTo>
                  <a:lnTo>
                    <a:pt x="325" y="370"/>
                  </a:lnTo>
                  <a:lnTo>
                    <a:pt x="325" y="373"/>
                  </a:lnTo>
                  <a:lnTo>
                    <a:pt x="322" y="373"/>
                  </a:lnTo>
                  <a:lnTo>
                    <a:pt x="319" y="373"/>
                  </a:lnTo>
                  <a:lnTo>
                    <a:pt x="319" y="376"/>
                  </a:lnTo>
                  <a:lnTo>
                    <a:pt x="316" y="376"/>
                  </a:lnTo>
                  <a:lnTo>
                    <a:pt x="313" y="376"/>
                  </a:lnTo>
                  <a:lnTo>
                    <a:pt x="310" y="373"/>
                  </a:lnTo>
                  <a:lnTo>
                    <a:pt x="307" y="373"/>
                  </a:lnTo>
                  <a:lnTo>
                    <a:pt x="304" y="373"/>
                  </a:lnTo>
                  <a:lnTo>
                    <a:pt x="304" y="376"/>
                  </a:lnTo>
                  <a:lnTo>
                    <a:pt x="301" y="376"/>
                  </a:lnTo>
                  <a:lnTo>
                    <a:pt x="301" y="373"/>
                  </a:lnTo>
                  <a:lnTo>
                    <a:pt x="298" y="373"/>
                  </a:lnTo>
                  <a:lnTo>
                    <a:pt x="295" y="373"/>
                  </a:lnTo>
                  <a:lnTo>
                    <a:pt x="292" y="370"/>
                  </a:lnTo>
                  <a:lnTo>
                    <a:pt x="289" y="370"/>
                  </a:lnTo>
                  <a:lnTo>
                    <a:pt x="286" y="370"/>
                  </a:lnTo>
                  <a:lnTo>
                    <a:pt x="283" y="370"/>
                  </a:lnTo>
                  <a:lnTo>
                    <a:pt x="280" y="367"/>
                  </a:lnTo>
                  <a:lnTo>
                    <a:pt x="277" y="367"/>
                  </a:lnTo>
                  <a:lnTo>
                    <a:pt x="277" y="370"/>
                  </a:lnTo>
                  <a:lnTo>
                    <a:pt x="274" y="370"/>
                  </a:lnTo>
                  <a:lnTo>
                    <a:pt x="271" y="370"/>
                  </a:lnTo>
                  <a:lnTo>
                    <a:pt x="268" y="370"/>
                  </a:lnTo>
                  <a:lnTo>
                    <a:pt x="265" y="370"/>
                  </a:lnTo>
                  <a:lnTo>
                    <a:pt x="262" y="370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6" y="376"/>
                  </a:lnTo>
                  <a:lnTo>
                    <a:pt x="253" y="376"/>
                  </a:lnTo>
                  <a:lnTo>
                    <a:pt x="253" y="379"/>
                  </a:lnTo>
                  <a:lnTo>
                    <a:pt x="250" y="379"/>
                  </a:lnTo>
                  <a:lnTo>
                    <a:pt x="247" y="379"/>
                  </a:lnTo>
                  <a:lnTo>
                    <a:pt x="247" y="382"/>
                  </a:lnTo>
                  <a:lnTo>
                    <a:pt x="247" y="385"/>
                  </a:lnTo>
                  <a:lnTo>
                    <a:pt x="244" y="385"/>
                  </a:lnTo>
                  <a:lnTo>
                    <a:pt x="244" y="388"/>
                  </a:lnTo>
                  <a:lnTo>
                    <a:pt x="244" y="391"/>
                  </a:lnTo>
                  <a:lnTo>
                    <a:pt x="244" y="394"/>
                  </a:lnTo>
                  <a:lnTo>
                    <a:pt x="247" y="394"/>
                  </a:lnTo>
                  <a:lnTo>
                    <a:pt x="247" y="397"/>
                  </a:lnTo>
                  <a:lnTo>
                    <a:pt x="250" y="397"/>
                  </a:lnTo>
                  <a:lnTo>
                    <a:pt x="250" y="400"/>
                  </a:lnTo>
                  <a:lnTo>
                    <a:pt x="250" y="403"/>
                  </a:lnTo>
                  <a:lnTo>
                    <a:pt x="247" y="403"/>
                  </a:lnTo>
                  <a:lnTo>
                    <a:pt x="244" y="403"/>
                  </a:lnTo>
                  <a:lnTo>
                    <a:pt x="241" y="403"/>
                  </a:lnTo>
                  <a:lnTo>
                    <a:pt x="238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6" y="403"/>
                  </a:lnTo>
                  <a:lnTo>
                    <a:pt x="223" y="403"/>
                  </a:lnTo>
                  <a:lnTo>
                    <a:pt x="223" y="400"/>
                  </a:lnTo>
                  <a:lnTo>
                    <a:pt x="220" y="400"/>
                  </a:lnTo>
                  <a:lnTo>
                    <a:pt x="217" y="400"/>
                  </a:lnTo>
                  <a:lnTo>
                    <a:pt x="217" y="397"/>
                  </a:lnTo>
                  <a:lnTo>
                    <a:pt x="214" y="397"/>
                  </a:lnTo>
                  <a:lnTo>
                    <a:pt x="211" y="397"/>
                  </a:lnTo>
                  <a:lnTo>
                    <a:pt x="208" y="397"/>
                  </a:lnTo>
                  <a:lnTo>
                    <a:pt x="205" y="397"/>
                  </a:lnTo>
                  <a:lnTo>
                    <a:pt x="202" y="394"/>
                  </a:lnTo>
                  <a:lnTo>
                    <a:pt x="202" y="397"/>
                  </a:lnTo>
                  <a:lnTo>
                    <a:pt x="199" y="397"/>
                  </a:lnTo>
                  <a:lnTo>
                    <a:pt x="196" y="397"/>
                  </a:lnTo>
                  <a:lnTo>
                    <a:pt x="193" y="397"/>
                  </a:lnTo>
                  <a:lnTo>
                    <a:pt x="190" y="397"/>
                  </a:lnTo>
                  <a:lnTo>
                    <a:pt x="187" y="400"/>
                  </a:lnTo>
                  <a:lnTo>
                    <a:pt x="187" y="403"/>
                  </a:lnTo>
                  <a:lnTo>
                    <a:pt x="187" y="406"/>
                  </a:lnTo>
                  <a:lnTo>
                    <a:pt x="184" y="406"/>
                  </a:lnTo>
                  <a:lnTo>
                    <a:pt x="184" y="409"/>
                  </a:lnTo>
                  <a:lnTo>
                    <a:pt x="181" y="412"/>
                  </a:lnTo>
                  <a:lnTo>
                    <a:pt x="178" y="412"/>
                  </a:lnTo>
                  <a:lnTo>
                    <a:pt x="178" y="415"/>
                  </a:lnTo>
                  <a:lnTo>
                    <a:pt x="178" y="418"/>
                  </a:lnTo>
                  <a:lnTo>
                    <a:pt x="181" y="418"/>
                  </a:lnTo>
                  <a:lnTo>
                    <a:pt x="178" y="418"/>
                  </a:lnTo>
                  <a:lnTo>
                    <a:pt x="178" y="421"/>
                  </a:lnTo>
                  <a:lnTo>
                    <a:pt x="175" y="418"/>
                  </a:lnTo>
                  <a:lnTo>
                    <a:pt x="172" y="418"/>
                  </a:lnTo>
                  <a:lnTo>
                    <a:pt x="169" y="418"/>
                  </a:lnTo>
                  <a:lnTo>
                    <a:pt x="166" y="418"/>
                  </a:lnTo>
                  <a:lnTo>
                    <a:pt x="163" y="418"/>
                  </a:lnTo>
                  <a:lnTo>
                    <a:pt x="163" y="415"/>
                  </a:lnTo>
                  <a:lnTo>
                    <a:pt x="160" y="418"/>
                  </a:lnTo>
                  <a:lnTo>
                    <a:pt x="157" y="418"/>
                  </a:lnTo>
                  <a:lnTo>
                    <a:pt x="154" y="418"/>
                  </a:lnTo>
                  <a:lnTo>
                    <a:pt x="154" y="415"/>
                  </a:lnTo>
                  <a:lnTo>
                    <a:pt x="151" y="415"/>
                  </a:lnTo>
                  <a:lnTo>
                    <a:pt x="148" y="415"/>
                  </a:lnTo>
                  <a:lnTo>
                    <a:pt x="145" y="415"/>
                  </a:lnTo>
                  <a:lnTo>
                    <a:pt x="145" y="412"/>
                  </a:lnTo>
                  <a:lnTo>
                    <a:pt x="142" y="412"/>
                  </a:lnTo>
                  <a:lnTo>
                    <a:pt x="142" y="409"/>
                  </a:lnTo>
                  <a:lnTo>
                    <a:pt x="139" y="409"/>
                  </a:lnTo>
                  <a:lnTo>
                    <a:pt x="136" y="409"/>
                  </a:lnTo>
                  <a:lnTo>
                    <a:pt x="133" y="409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7" y="406"/>
                  </a:lnTo>
                  <a:lnTo>
                    <a:pt x="124" y="406"/>
                  </a:lnTo>
                  <a:lnTo>
                    <a:pt x="121" y="406"/>
                  </a:lnTo>
                  <a:lnTo>
                    <a:pt x="118" y="406"/>
                  </a:lnTo>
                  <a:lnTo>
                    <a:pt x="114" y="406"/>
                  </a:lnTo>
                  <a:lnTo>
                    <a:pt x="111" y="403"/>
                  </a:lnTo>
                  <a:lnTo>
                    <a:pt x="108" y="403"/>
                  </a:lnTo>
                  <a:lnTo>
                    <a:pt x="105" y="403"/>
                  </a:lnTo>
                  <a:lnTo>
                    <a:pt x="102" y="403"/>
                  </a:lnTo>
                  <a:lnTo>
                    <a:pt x="102" y="400"/>
                  </a:lnTo>
                  <a:lnTo>
                    <a:pt x="99" y="400"/>
                  </a:lnTo>
                  <a:lnTo>
                    <a:pt x="96" y="400"/>
                  </a:lnTo>
                  <a:lnTo>
                    <a:pt x="93" y="400"/>
                  </a:lnTo>
                  <a:lnTo>
                    <a:pt x="90" y="400"/>
                  </a:lnTo>
                  <a:lnTo>
                    <a:pt x="87" y="400"/>
                  </a:lnTo>
                  <a:lnTo>
                    <a:pt x="87" y="397"/>
                  </a:lnTo>
                  <a:lnTo>
                    <a:pt x="84" y="397"/>
                  </a:lnTo>
                  <a:lnTo>
                    <a:pt x="81" y="397"/>
                  </a:lnTo>
                  <a:lnTo>
                    <a:pt x="78" y="397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8" y="388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4" y="385"/>
                  </a:lnTo>
                  <a:lnTo>
                    <a:pt x="75" y="382"/>
                  </a:lnTo>
                  <a:lnTo>
                    <a:pt x="72" y="382"/>
                  </a:lnTo>
                  <a:lnTo>
                    <a:pt x="69" y="379"/>
                  </a:lnTo>
                  <a:lnTo>
                    <a:pt x="69" y="376"/>
                  </a:lnTo>
                  <a:lnTo>
                    <a:pt x="66" y="376"/>
                  </a:lnTo>
                  <a:lnTo>
                    <a:pt x="66" y="379"/>
                  </a:lnTo>
                  <a:lnTo>
                    <a:pt x="63" y="379"/>
                  </a:lnTo>
                  <a:lnTo>
                    <a:pt x="60" y="379"/>
                  </a:lnTo>
                  <a:lnTo>
                    <a:pt x="57" y="376"/>
                  </a:lnTo>
                  <a:lnTo>
                    <a:pt x="60" y="373"/>
                  </a:lnTo>
                  <a:lnTo>
                    <a:pt x="60" y="370"/>
                  </a:lnTo>
                  <a:lnTo>
                    <a:pt x="63" y="370"/>
                  </a:lnTo>
                  <a:lnTo>
                    <a:pt x="69" y="367"/>
                  </a:lnTo>
                  <a:lnTo>
                    <a:pt x="69" y="364"/>
                  </a:lnTo>
                  <a:lnTo>
                    <a:pt x="72" y="364"/>
                  </a:lnTo>
                  <a:lnTo>
                    <a:pt x="75" y="364"/>
                  </a:lnTo>
                  <a:lnTo>
                    <a:pt x="81" y="364"/>
                  </a:lnTo>
                  <a:lnTo>
                    <a:pt x="81" y="361"/>
                  </a:lnTo>
                  <a:lnTo>
                    <a:pt x="75" y="358"/>
                  </a:lnTo>
                  <a:lnTo>
                    <a:pt x="75" y="355"/>
                  </a:lnTo>
                  <a:lnTo>
                    <a:pt x="75" y="352"/>
                  </a:lnTo>
                  <a:lnTo>
                    <a:pt x="75" y="349"/>
                  </a:lnTo>
                  <a:lnTo>
                    <a:pt x="75" y="346"/>
                  </a:lnTo>
                  <a:lnTo>
                    <a:pt x="72" y="346"/>
                  </a:lnTo>
                  <a:lnTo>
                    <a:pt x="66" y="343"/>
                  </a:lnTo>
                  <a:lnTo>
                    <a:pt x="63" y="343"/>
                  </a:lnTo>
                  <a:lnTo>
                    <a:pt x="60" y="343"/>
                  </a:lnTo>
                  <a:lnTo>
                    <a:pt x="57" y="343"/>
                  </a:lnTo>
                  <a:lnTo>
                    <a:pt x="54" y="343"/>
                  </a:lnTo>
                  <a:lnTo>
                    <a:pt x="51" y="340"/>
                  </a:lnTo>
                  <a:lnTo>
                    <a:pt x="51" y="337"/>
                  </a:lnTo>
                  <a:lnTo>
                    <a:pt x="48" y="337"/>
                  </a:lnTo>
                  <a:lnTo>
                    <a:pt x="39" y="337"/>
                  </a:lnTo>
                  <a:lnTo>
                    <a:pt x="36" y="337"/>
                  </a:lnTo>
                  <a:lnTo>
                    <a:pt x="33" y="337"/>
                  </a:lnTo>
                  <a:lnTo>
                    <a:pt x="30" y="337"/>
                  </a:lnTo>
                  <a:lnTo>
                    <a:pt x="24" y="340"/>
                  </a:lnTo>
                  <a:lnTo>
                    <a:pt x="21" y="340"/>
                  </a:lnTo>
                  <a:lnTo>
                    <a:pt x="18" y="340"/>
                  </a:lnTo>
                  <a:lnTo>
                    <a:pt x="12" y="340"/>
                  </a:lnTo>
                  <a:lnTo>
                    <a:pt x="9" y="340"/>
                  </a:lnTo>
                  <a:lnTo>
                    <a:pt x="6" y="340"/>
                  </a:lnTo>
                  <a:lnTo>
                    <a:pt x="0" y="337"/>
                  </a:lnTo>
                  <a:lnTo>
                    <a:pt x="3" y="334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9" y="325"/>
                  </a:lnTo>
                  <a:lnTo>
                    <a:pt x="9" y="319"/>
                  </a:lnTo>
                  <a:lnTo>
                    <a:pt x="12" y="316"/>
                  </a:lnTo>
                  <a:lnTo>
                    <a:pt x="15" y="313"/>
                  </a:lnTo>
                  <a:lnTo>
                    <a:pt x="21" y="304"/>
                  </a:lnTo>
                  <a:lnTo>
                    <a:pt x="21" y="301"/>
                  </a:lnTo>
                  <a:lnTo>
                    <a:pt x="18" y="301"/>
                  </a:lnTo>
                  <a:lnTo>
                    <a:pt x="18" y="298"/>
                  </a:lnTo>
                  <a:lnTo>
                    <a:pt x="21" y="298"/>
                  </a:lnTo>
                  <a:lnTo>
                    <a:pt x="18" y="292"/>
                  </a:lnTo>
                  <a:lnTo>
                    <a:pt x="24" y="286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77"/>
                  </a:lnTo>
                  <a:lnTo>
                    <a:pt x="33" y="280"/>
                  </a:lnTo>
                  <a:lnTo>
                    <a:pt x="36" y="280"/>
                  </a:lnTo>
                  <a:lnTo>
                    <a:pt x="39" y="277"/>
                  </a:lnTo>
                  <a:lnTo>
                    <a:pt x="45" y="277"/>
                  </a:lnTo>
                  <a:lnTo>
                    <a:pt x="48" y="280"/>
                  </a:lnTo>
                  <a:lnTo>
                    <a:pt x="54" y="280"/>
                  </a:lnTo>
                  <a:lnTo>
                    <a:pt x="57" y="274"/>
                  </a:lnTo>
                  <a:lnTo>
                    <a:pt x="54" y="274"/>
                  </a:lnTo>
                  <a:lnTo>
                    <a:pt x="54" y="271"/>
                  </a:lnTo>
                  <a:lnTo>
                    <a:pt x="51" y="268"/>
                  </a:lnTo>
                  <a:lnTo>
                    <a:pt x="45" y="265"/>
                  </a:lnTo>
                  <a:lnTo>
                    <a:pt x="48" y="265"/>
                  </a:lnTo>
                  <a:lnTo>
                    <a:pt x="48" y="262"/>
                  </a:lnTo>
                  <a:lnTo>
                    <a:pt x="48" y="259"/>
                  </a:lnTo>
                  <a:lnTo>
                    <a:pt x="48" y="253"/>
                  </a:lnTo>
                  <a:lnTo>
                    <a:pt x="45" y="250"/>
                  </a:lnTo>
                  <a:lnTo>
                    <a:pt x="45" y="244"/>
                  </a:lnTo>
                  <a:lnTo>
                    <a:pt x="42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51" y="232"/>
                  </a:lnTo>
                  <a:lnTo>
                    <a:pt x="54" y="235"/>
                  </a:lnTo>
                  <a:lnTo>
                    <a:pt x="57" y="238"/>
                  </a:lnTo>
                  <a:lnTo>
                    <a:pt x="60" y="235"/>
                  </a:lnTo>
                  <a:lnTo>
                    <a:pt x="60" y="229"/>
                  </a:lnTo>
                  <a:lnTo>
                    <a:pt x="66" y="232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78" y="232"/>
                  </a:lnTo>
                  <a:lnTo>
                    <a:pt x="81" y="232"/>
                  </a:lnTo>
                  <a:lnTo>
                    <a:pt x="78" y="229"/>
                  </a:lnTo>
                  <a:lnTo>
                    <a:pt x="81" y="223"/>
                  </a:lnTo>
                  <a:lnTo>
                    <a:pt x="81" y="220"/>
                  </a:lnTo>
                  <a:lnTo>
                    <a:pt x="84" y="220"/>
                  </a:lnTo>
                  <a:lnTo>
                    <a:pt x="87" y="217"/>
                  </a:lnTo>
                  <a:lnTo>
                    <a:pt x="90" y="217"/>
                  </a:lnTo>
                  <a:lnTo>
                    <a:pt x="93" y="220"/>
                  </a:lnTo>
                  <a:lnTo>
                    <a:pt x="93" y="223"/>
                  </a:lnTo>
                  <a:lnTo>
                    <a:pt x="96" y="223"/>
                  </a:lnTo>
                  <a:lnTo>
                    <a:pt x="99" y="223"/>
                  </a:lnTo>
                  <a:lnTo>
                    <a:pt x="102" y="223"/>
                  </a:lnTo>
                  <a:lnTo>
                    <a:pt x="102" y="220"/>
                  </a:lnTo>
                  <a:lnTo>
                    <a:pt x="105" y="220"/>
                  </a:lnTo>
                  <a:lnTo>
                    <a:pt x="105" y="217"/>
                  </a:lnTo>
                  <a:lnTo>
                    <a:pt x="108" y="217"/>
                  </a:lnTo>
                  <a:lnTo>
                    <a:pt x="111" y="217"/>
                  </a:lnTo>
                  <a:lnTo>
                    <a:pt x="111" y="213"/>
                  </a:lnTo>
                  <a:lnTo>
                    <a:pt x="114" y="213"/>
                  </a:lnTo>
                  <a:lnTo>
                    <a:pt x="118" y="213"/>
                  </a:lnTo>
                  <a:lnTo>
                    <a:pt x="118" y="210"/>
                  </a:lnTo>
                  <a:lnTo>
                    <a:pt x="121" y="210"/>
                  </a:lnTo>
                  <a:lnTo>
                    <a:pt x="121" y="207"/>
                  </a:lnTo>
                  <a:lnTo>
                    <a:pt x="118" y="207"/>
                  </a:lnTo>
                  <a:lnTo>
                    <a:pt x="118" y="204"/>
                  </a:lnTo>
                  <a:lnTo>
                    <a:pt x="118" y="201"/>
                  </a:lnTo>
                  <a:lnTo>
                    <a:pt x="118" y="204"/>
                  </a:lnTo>
                  <a:lnTo>
                    <a:pt x="121" y="204"/>
                  </a:lnTo>
                  <a:lnTo>
                    <a:pt x="118" y="201"/>
                  </a:lnTo>
                  <a:lnTo>
                    <a:pt x="121" y="201"/>
                  </a:lnTo>
                  <a:lnTo>
                    <a:pt x="121" y="198"/>
                  </a:lnTo>
                  <a:lnTo>
                    <a:pt x="124" y="198"/>
                  </a:lnTo>
                  <a:lnTo>
                    <a:pt x="124" y="195"/>
                  </a:lnTo>
                  <a:lnTo>
                    <a:pt x="127" y="192"/>
                  </a:lnTo>
                  <a:lnTo>
                    <a:pt x="124" y="192"/>
                  </a:lnTo>
                  <a:lnTo>
                    <a:pt x="124" y="189"/>
                  </a:lnTo>
                  <a:lnTo>
                    <a:pt x="121" y="189"/>
                  </a:lnTo>
                  <a:lnTo>
                    <a:pt x="121" y="186"/>
                  </a:lnTo>
                  <a:lnTo>
                    <a:pt x="121" y="189"/>
                  </a:lnTo>
                  <a:lnTo>
                    <a:pt x="118" y="189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21" y="183"/>
                  </a:lnTo>
                  <a:lnTo>
                    <a:pt x="121" y="180"/>
                  </a:lnTo>
                  <a:lnTo>
                    <a:pt x="124" y="180"/>
                  </a:lnTo>
                  <a:lnTo>
                    <a:pt x="121" y="177"/>
                  </a:lnTo>
                  <a:lnTo>
                    <a:pt x="121" y="174"/>
                  </a:lnTo>
                  <a:lnTo>
                    <a:pt x="121" y="171"/>
                  </a:lnTo>
                  <a:lnTo>
                    <a:pt x="127" y="171"/>
                  </a:lnTo>
                  <a:lnTo>
                    <a:pt x="127" y="174"/>
                  </a:lnTo>
                  <a:lnTo>
                    <a:pt x="130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6" y="168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5" y="168"/>
                  </a:lnTo>
                  <a:lnTo>
                    <a:pt x="148" y="168"/>
                  </a:lnTo>
                  <a:lnTo>
                    <a:pt x="151" y="168"/>
                  </a:lnTo>
                  <a:lnTo>
                    <a:pt x="151" y="165"/>
                  </a:lnTo>
                  <a:lnTo>
                    <a:pt x="151" y="159"/>
                  </a:lnTo>
                  <a:lnTo>
                    <a:pt x="151" y="156"/>
                  </a:lnTo>
                  <a:lnTo>
                    <a:pt x="151" y="153"/>
                  </a:lnTo>
                  <a:lnTo>
                    <a:pt x="154" y="150"/>
                  </a:lnTo>
                  <a:lnTo>
                    <a:pt x="151" y="147"/>
                  </a:lnTo>
                  <a:lnTo>
                    <a:pt x="154" y="147"/>
                  </a:lnTo>
                  <a:lnTo>
                    <a:pt x="157" y="141"/>
                  </a:lnTo>
                  <a:lnTo>
                    <a:pt x="157" y="138"/>
                  </a:lnTo>
                  <a:lnTo>
                    <a:pt x="163" y="135"/>
                  </a:lnTo>
                  <a:lnTo>
                    <a:pt x="166" y="138"/>
                  </a:lnTo>
                  <a:lnTo>
                    <a:pt x="169" y="138"/>
                  </a:lnTo>
                  <a:lnTo>
                    <a:pt x="175" y="138"/>
                  </a:lnTo>
                  <a:lnTo>
                    <a:pt x="178" y="135"/>
                  </a:lnTo>
                  <a:lnTo>
                    <a:pt x="181" y="135"/>
                  </a:lnTo>
                  <a:lnTo>
                    <a:pt x="181" y="132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0" y="126"/>
                  </a:lnTo>
                  <a:lnTo>
                    <a:pt x="193" y="126"/>
                  </a:lnTo>
                  <a:lnTo>
                    <a:pt x="196" y="126"/>
                  </a:lnTo>
                  <a:lnTo>
                    <a:pt x="199" y="123"/>
                  </a:lnTo>
                  <a:lnTo>
                    <a:pt x="199" y="126"/>
                  </a:lnTo>
                  <a:lnTo>
                    <a:pt x="199" y="123"/>
                  </a:lnTo>
                  <a:lnTo>
                    <a:pt x="202" y="123"/>
                  </a:lnTo>
                  <a:lnTo>
                    <a:pt x="205" y="123"/>
                  </a:lnTo>
                  <a:lnTo>
                    <a:pt x="208" y="123"/>
                  </a:lnTo>
                  <a:lnTo>
                    <a:pt x="208" y="120"/>
                  </a:lnTo>
                  <a:lnTo>
                    <a:pt x="211" y="120"/>
                  </a:lnTo>
                  <a:lnTo>
                    <a:pt x="208" y="120"/>
                  </a:lnTo>
                  <a:lnTo>
                    <a:pt x="211" y="117"/>
                  </a:lnTo>
                  <a:lnTo>
                    <a:pt x="214" y="120"/>
                  </a:lnTo>
                  <a:lnTo>
                    <a:pt x="217" y="120"/>
                  </a:lnTo>
                  <a:lnTo>
                    <a:pt x="223" y="123"/>
                  </a:lnTo>
                  <a:lnTo>
                    <a:pt x="223" y="120"/>
                  </a:lnTo>
                  <a:lnTo>
                    <a:pt x="223" y="117"/>
                  </a:lnTo>
                  <a:lnTo>
                    <a:pt x="223" y="114"/>
                  </a:lnTo>
                  <a:lnTo>
                    <a:pt x="226" y="114"/>
                  </a:lnTo>
                  <a:lnTo>
                    <a:pt x="226" y="111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99"/>
                  </a:lnTo>
                  <a:lnTo>
                    <a:pt x="232" y="99"/>
                  </a:lnTo>
                  <a:lnTo>
                    <a:pt x="232" y="96"/>
                  </a:lnTo>
                  <a:lnTo>
                    <a:pt x="235" y="96"/>
                  </a:lnTo>
                  <a:lnTo>
                    <a:pt x="235" y="93"/>
                  </a:lnTo>
                  <a:lnTo>
                    <a:pt x="235" y="90"/>
                  </a:lnTo>
                  <a:lnTo>
                    <a:pt x="238" y="90"/>
                  </a:lnTo>
                  <a:lnTo>
                    <a:pt x="235" y="90"/>
                  </a:lnTo>
                  <a:lnTo>
                    <a:pt x="235" y="87"/>
                  </a:lnTo>
                  <a:lnTo>
                    <a:pt x="232" y="87"/>
                  </a:lnTo>
                  <a:lnTo>
                    <a:pt x="232" y="84"/>
                  </a:lnTo>
                  <a:lnTo>
                    <a:pt x="235" y="84"/>
                  </a:lnTo>
                  <a:lnTo>
                    <a:pt x="238" y="78"/>
                  </a:lnTo>
                  <a:lnTo>
                    <a:pt x="235" y="78"/>
                  </a:lnTo>
                  <a:lnTo>
                    <a:pt x="232" y="78"/>
                  </a:lnTo>
                  <a:lnTo>
                    <a:pt x="232" y="75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6"/>
                  </a:lnTo>
                  <a:lnTo>
                    <a:pt x="232" y="63"/>
                  </a:lnTo>
                  <a:lnTo>
                    <a:pt x="235" y="63"/>
                  </a:lnTo>
                  <a:lnTo>
                    <a:pt x="238" y="60"/>
                  </a:lnTo>
                  <a:lnTo>
                    <a:pt x="241" y="60"/>
                  </a:lnTo>
                  <a:lnTo>
                    <a:pt x="244" y="60"/>
                  </a:lnTo>
                  <a:lnTo>
                    <a:pt x="244" y="63"/>
                  </a:lnTo>
                  <a:lnTo>
                    <a:pt x="244" y="66"/>
                  </a:lnTo>
                  <a:lnTo>
                    <a:pt x="247" y="66"/>
                  </a:lnTo>
                  <a:lnTo>
                    <a:pt x="247" y="63"/>
                  </a:lnTo>
                  <a:lnTo>
                    <a:pt x="250" y="63"/>
                  </a:lnTo>
                  <a:lnTo>
                    <a:pt x="250" y="66"/>
                  </a:lnTo>
                  <a:lnTo>
                    <a:pt x="250" y="69"/>
                  </a:lnTo>
                  <a:lnTo>
                    <a:pt x="253" y="69"/>
                  </a:lnTo>
                  <a:lnTo>
                    <a:pt x="256" y="69"/>
                  </a:lnTo>
                  <a:lnTo>
                    <a:pt x="256" y="66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62" y="63"/>
                  </a:lnTo>
                  <a:lnTo>
                    <a:pt x="265" y="63"/>
                  </a:lnTo>
                  <a:lnTo>
                    <a:pt x="265" y="60"/>
                  </a:lnTo>
                  <a:lnTo>
                    <a:pt x="268" y="60"/>
                  </a:lnTo>
                  <a:lnTo>
                    <a:pt x="265" y="60"/>
                  </a:lnTo>
                  <a:lnTo>
                    <a:pt x="265" y="57"/>
                  </a:lnTo>
                  <a:lnTo>
                    <a:pt x="265" y="54"/>
                  </a:lnTo>
                  <a:lnTo>
                    <a:pt x="268" y="54"/>
                  </a:lnTo>
                  <a:lnTo>
                    <a:pt x="268" y="57"/>
                  </a:lnTo>
                  <a:lnTo>
                    <a:pt x="271" y="57"/>
                  </a:lnTo>
                  <a:lnTo>
                    <a:pt x="271" y="54"/>
                  </a:lnTo>
                  <a:lnTo>
                    <a:pt x="274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1"/>
                  </a:lnTo>
                  <a:lnTo>
                    <a:pt x="283" y="51"/>
                  </a:lnTo>
                  <a:lnTo>
                    <a:pt x="286" y="51"/>
                  </a:lnTo>
                  <a:lnTo>
                    <a:pt x="286" y="54"/>
                  </a:lnTo>
                  <a:lnTo>
                    <a:pt x="289" y="54"/>
                  </a:lnTo>
                  <a:lnTo>
                    <a:pt x="289" y="51"/>
                  </a:lnTo>
                  <a:lnTo>
                    <a:pt x="286" y="51"/>
                  </a:lnTo>
                  <a:lnTo>
                    <a:pt x="286" y="48"/>
                  </a:lnTo>
                  <a:lnTo>
                    <a:pt x="289" y="48"/>
                  </a:lnTo>
                  <a:lnTo>
                    <a:pt x="292" y="48"/>
                  </a:lnTo>
                  <a:lnTo>
                    <a:pt x="292" y="51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298" y="54"/>
                  </a:lnTo>
                  <a:lnTo>
                    <a:pt x="298" y="57"/>
                  </a:lnTo>
                  <a:lnTo>
                    <a:pt x="301" y="57"/>
                  </a:lnTo>
                  <a:lnTo>
                    <a:pt x="298" y="57"/>
                  </a:lnTo>
                  <a:lnTo>
                    <a:pt x="298" y="60"/>
                  </a:lnTo>
                  <a:lnTo>
                    <a:pt x="301" y="60"/>
                  </a:lnTo>
                  <a:lnTo>
                    <a:pt x="301" y="57"/>
                  </a:lnTo>
                  <a:lnTo>
                    <a:pt x="304" y="57"/>
                  </a:lnTo>
                  <a:lnTo>
                    <a:pt x="304" y="60"/>
                  </a:lnTo>
                  <a:lnTo>
                    <a:pt x="307" y="60"/>
                  </a:lnTo>
                  <a:lnTo>
                    <a:pt x="307" y="57"/>
                  </a:lnTo>
                  <a:lnTo>
                    <a:pt x="310" y="57"/>
                  </a:lnTo>
                  <a:lnTo>
                    <a:pt x="313" y="57"/>
                  </a:lnTo>
                  <a:lnTo>
                    <a:pt x="316" y="57"/>
                  </a:lnTo>
                  <a:lnTo>
                    <a:pt x="316" y="60"/>
                  </a:lnTo>
                  <a:lnTo>
                    <a:pt x="316" y="63"/>
                  </a:lnTo>
                  <a:lnTo>
                    <a:pt x="319" y="63"/>
                  </a:lnTo>
                  <a:lnTo>
                    <a:pt x="322" y="66"/>
                  </a:lnTo>
                  <a:lnTo>
                    <a:pt x="325" y="66"/>
                  </a:lnTo>
                  <a:lnTo>
                    <a:pt x="328" y="66"/>
                  </a:lnTo>
                  <a:lnTo>
                    <a:pt x="328" y="69"/>
                  </a:lnTo>
                  <a:lnTo>
                    <a:pt x="331" y="69"/>
                  </a:lnTo>
                  <a:lnTo>
                    <a:pt x="331" y="66"/>
                  </a:lnTo>
                  <a:lnTo>
                    <a:pt x="334" y="66"/>
                  </a:lnTo>
                  <a:lnTo>
                    <a:pt x="334" y="69"/>
                  </a:lnTo>
                  <a:lnTo>
                    <a:pt x="337" y="69"/>
                  </a:lnTo>
                  <a:lnTo>
                    <a:pt x="337" y="66"/>
                  </a:lnTo>
                  <a:lnTo>
                    <a:pt x="340" y="66"/>
                  </a:lnTo>
                  <a:lnTo>
                    <a:pt x="343" y="63"/>
                  </a:lnTo>
                  <a:lnTo>
                    <a:pt x="346" y="66"/>
                  </a:lnTo>
                  <a:lnTo>
                    <a:pt x="346" y="69"/>
                  </a:lnTo>
                  <a:lnTo>
                    <a:pt x="349" y="69"/>
                  </a:lnTo>
                  <a:lnTo>
                    <a:pt x="349" y="66"/>
                  </a:lnTo>
                  <a:lnTo>
                    <a:pt x="352" y="66"/>
                  </a:lnTo>
                  <a:lnTo>
                    <a:pt x="355" y="66"/>
                  </a:lnTo>
                  <a:lnTo>
                    <a:pt x="355" y="63"/>
                  </a:lnTo>
                  <a:lnTo>
                    <a:pt x="355" y="60"/>
                  </a:lnTo>
                  <a:lnTo>
                    <a:pt x="358" y="60"/>
                  </a:lnTo>
                  <a:lnTo>
                    <a:pt x="361" y="60"/>
                  </a:lnTo>
                  <a:lnTo>
                    <a:pt x="364" y="60"/>
                  </a:lnTo>
                  <a:lnTo>
                    <a:pt x="364" y="57"/>
                  </a:lnTo>
                  <a:lnTo>
                    <a:pt x="361" y="57"/>
                  </a:lnTo>
                  <a:lnTo>
                    <a:pt x="361" y="54"/>
                  </a:lnTo>
                  <a:lnTo>
                    <a:pt x="364" y="54"/>
                  </a:lnTo>
                  <a:lnTo>
                    <a:pt x="367" y="54"/>
                  </a:lnTo>
                  <a:lnTo>
                    <a:pt x="367" y="57"/>
                  </a:lnTo>
                  <a:lnTo>
                    <a:pt x="370" y="57"/>
                  </a:lnTo>
                  <a:lnTo>
                    <a:pt x="370" y="54"/>
                  </a:lnTo>
                  <a:lnTo>
                    <a:pt x="370" y="51"/>
                  </a:lnTo>
                  <a:lnTo>
                    <a:pt x="373" y="51"/>
                  </a:lnTo>
                  <a:lnTo>
                    <a:pt x="376" y="51"/>
                  </a:lnTo>
                  <a:lnTo>
                    <a:pt x="376" y="54"/>
                  </a:lnTo>
                  <a:lnTo>
                    <a:pt x="376" y="51"/>
                  </a:lnTo>
                  <a:lnTo>
                    <a:pt x="376" y="48"/>
                  </a:lnTo>
                  <a:lnTo>
                    <a:pt x="379" y="48"/>
                  </a:lnTo>
                  <a:lnTo>
                    <a:pt x="379" y="51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51"/>
                  </a:lnTo>
                  <a:lnTo>
                    <a:pt x="385" y="51"/>
                  </a:lnTo>
                  <a:lnTo>
                    <a:pt x="385" y="48"/>
                  </a:lnTo>
                  <a:lnTo>
                    <a:pt x="388" y="48"/>
                  </a:lnTo>
                  <a:lnTo>
                    <a:pt x="385" y="48"/>
                  </a:lnTo>
                  <a:lnTo>
                    <a:pt x="385" y="45"/>
                  </a:lnTo>
                  <a:lnTo>
                    <a:pt x="388" y="45"/>
                  </a:lnTo>
                  <a:lnTo>
                    <a:pt x="391" y="45"/>
                  </a:lnTo>
                  <a:lnTo>
                    <a:pt x="391" y="42"/>
                  </a:lnTo>
                  <a:lnTo>
                    <a:pt x="388" y="42"/>
                  </a:lnTo>
                  <a:lnTo>
                    <a:pt x="388" y="45"/>
                  </a:lnTo>
                  <a:lnTo>
                    <a:pt x="388" y="42"/>
                  </a:lnTo>
                  <a:lnTo>
                    <a:pt x="388" y="39"/>
                  </a:lnTo>
                  <a:lnTo>
                    <a:pt x="388" y="42"/>
                  </a:lnTo>
                  <a:lnTo>
                    <a:pt x="391" y="42"/>
                  </a:lnTo>
                  <a:lnTo>
                    <a:pt x="391" y="39"/>
                  </a:lnTo>
                  <a:lnTo>
                    <a:pt x="394" y="39"/>
                  </a:lnTo>
                  <a:lnTo>
                    <a:pt x="394" y="36"/>
                  </a:lnTo>
                  <a:lnTo>
                    <a:pt x="391" y="36"/>
                  </a:lnTo>
                  <a:lnTo>
                    <a:pt x="391" y="39"/>
                  </a:lnTo>
                  <a:lnTo>
                    <a:pt x="391" y="36"/>
                  </a:lnTo>
                  <a:lnTo>
                    <a:pt x="391" y="33"/>
                  </a:lnTo>
                  <a:lnTo>
                    <a:pt x="388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24"/>
                  </a:lnTo>
                  <a:lnTo>
                    <a:pt x="391" y="21"/>
                  </a:lnTo>
                  <a:lnTo>
                    <a:pt x="391" y="18"/>
                  </a:lnTo>
                  <a:lnTo>
                    <a:pt x="394" y="18"/>
                  </a:lnTo>
                  <a:lnTo>
                    <a:pt x="397" y="18"/>
                  </a:lnTo>
                  <a:lnTo>
                    <a:pt x="400" y="18"/>
                  </a:lnTo>
                  <a:lnTo>
                    <a:pt x="403" y="18"/>
                  </a:lnTo>
                  <a:lnTo>
                    <a:pt x="406" y="18"/>
                  </a:lnTo>
                  <a:lnTo>
                    <a:pt x="406" y="21"/>
                  </a:lnTo>
                  <a:lnTo>
                    <a:pt x="406" y="24"/>
                  </a:lnTo>
                  <a:lnTo>
                    <a:pt x="406" y="27"/>
                  </a:lnTo>
                  <a:lnTo>
                    <a:pt x="409" y="27"/>
                  </a:lnTo>
                  <a:lnTo>
                    <a:pt x="409" y="24"/>
                  </a:lnTo>
                  <a:lnTo>
                    <a:pt x="409" y="27"/>
                  </a:lnTo>
                  <a:lnTo>
                    <a:pt x="412" y="27"/>
                  </a:lnTo>
                  <a:lnTo>
                    <a:pt x="412" y="30"/>
                  </a:lnTo>
                  <a:lnTo>
                    <a:pt x="412" y="33"/>
                  </a:lnTo>
                  <a:lnTo>
                    <a:pt x="415" y="33"/>
                  </a:lnTo>
                  <a:lnTo>
                    <a:pt x="418" y="33"/>
                  </a:lnTo>
                  <a:lnTo>
                    <a:pt x="418" y="36"/>
                  </a:lnTo>
                  <a:lnTo>
                    <a:pt x="418" y="39"/>
                  </a:lnTo>
                  <a:lnTo>
                    <a:pt x="418" y="42"/>
                  </a:lnTo>
                  <a:lnTo>
                    <a:pt x="418" y="39"/>
                  </a:lnTo>
                  <a:lnTo>
                    <a:pt x="421" y="39"/>
                  </a:lnTo>
                  <a:lnTo>
                    <a:pt x="421" y="42"/>
                  </a:lnTo>
                  <a:lnTo>
                    <a:pt x="424" y="42"/>
                  </a:lnTo>
                  <a:lnTo>
                    <a:pt x="424" y="45"/>
                  </a:lnTo>
                  <a:lnTo>
                    <a:pt x="427" y="45"/>
                  </a:lnTo>
                  <a:lnTo>
                    <a:pt x="427" y="48"/>
                  </a:lnTo>
                  <a:lnTo>
                    <a:pt x="427" y="51"/>
                  </a:lnTo>
                  <a:lnTo>
                    <a:pt x="430" y="51"/>
                  </a:lnTo>
                  <a:lnTo>
                    <a:pt x="430" y="54"/>
                  </a:lnTo>
                  <a:lnTo>
                    <a:pt x="433" y="54"/>
                  </a:lnTo>
                  <a:lnTo>
                    <a:pt x="436" y="54"/>
                  </a:lnTo>
                  <a:lnTo>
                    <a:pt x="436" y="57"/>
                  </a:lnTo>
                  <a:lnTo>
                    <a:pt x="439" y="57"/>
                  </a:lnTo>
                  <a:lnTo>
                    <a:pt x="439" y="60"/>
                  </a:lnTo>
                  <a:lnTo>
                    <a:pt x="442" y="63"/>
                  </a:lnTo>
                  <a:lnTo>
                    <a:pt x="442" y="60"/>
                  </a:lnTo>
                  <a:lnTo>
                    <a:pt x="445" y="60"/>
                  </a:lnTo>
                  <a:lnTo>
                    <a:pt x="448" y="60"/>
                  </a:lnTo>
                  <a:lnTo>
                    <a:pt x="451" y="60"/>
                  </a:lnTo>
                  <a:lnTo>
                    <a:pt x="451" y="63"/>
                  </a:lnTo>
                  <a:lnTo>
                    <a:pt x="454" y="66"/>
                  </a:lnTo>
                  <a:lnTo>
                    <a:pt x="454" y="63"/>
                  </a:lnTo>
                  <a:lnTo>
                    <a:pt x="454" y="60"/>
                  </a:lnTo>
                  <a:lnTo>
                    <a:pt x="457" y="57"/>
                  </a:lnTo>
                  <a:lnTo>
                    <a:pt x="457" y="54"/>
                  </a:lnTo>
                  <a:lnTo>
                    <a:pt x="460" y="54"/>
                  </a:lnTo>
                  <a:lnTo>
                    <a:pt x="457" y="51"/>
                  </a:lnTo>
                  <a:lnTo>
                    <a:pt x="460" y="51"/>
                  </a:lnTo>
                  <a:lnTo>
                    <a:pt x="460" y="48"/>
                  </a:lnTo>
                  <a:lnTo>
                    <a:pt x="457" y="48"/>
                  </a:lnTo>
                  <a:lnTo>
                    <a:pt x="457" y="45"/>
                  </a:lnTo>
                  <a:lnTo>
                    <a:pt x="460" y="45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6" y="39"/>
                  </a:lnTo>
                  <a:lnTo>
                    <a:pt x="466" y="36"/>
                  </a:lnTo>
                  <a:lnTo>
                    <a:pt x="466" y="33"/>
                  </a:lnTo>
                  <a:lnTo>
                    <a:pt x="463" y="33"/>
                  </a:lnTo>
                  <a:lnTo>
                    <a:pt x="460" y="30"/>
                  </a:lnTo>
                  <a:lnTo>
                    <a:pt x="463" y="27"/>
                  </a:lnTo>
                  <a:lnTo>
                    <a:pt x="466" y="27"/>
                  </a:lnTo>
                  <a:lnTo>
                    <a:pt x="469" y="27"/>
                  </a:lnTo>
                  <a:lnTo>
                    <a:pt x="472" y="24"/>
                  </a:lnTo>
                  <a:lnTo>
                    <a:pt x="472" y="21"/>
                  </a:lnTo>
                  <a:lnTo>
                    <a:pt x="475" y="21"/>
                  </a:lnTo>
                  <a:lnTo>
                    <a:pt x="475" y="18"/>
                  </a:lnTo>
                  <a:lnTo>
                    <a:pt x="478" y="18"/>
                  </a:lnTo>
                  <a:lnTo>
                    <a:pt x="478" y="15"/>
                  </a:lnTo>
                  <a:lnTo>
                    <a:pt x="481" y="18"/>
                  </a:lnTo>
                  <a:lnTo>
                    <a:pt x="484" y="18"/>
                  </a:lnTo>
                  <a:lnTo>
                    <a:pt x="484" y="15"/>
                  </a:lnTo>
                  <a:lnTo>
                    <a:pt x="487" y="15"/>
                  </a:lnTo>
                  <a:lnTo>
                    <a:pt x="490" y="15"/>
                  </a:lnTo>
                  <a:lnTo>
                    <a:pt x="496" y="15"/>
                  </a:lnTo>
                  <a:lnTo>
                    <a:pt x="499" y="15"/>
                  </a:lnTo>
                  <a:lnTo>
                    <a:pt x="502" y="15"/>
                  </a:lnTo>
                  <a:lnTo>
                    <a:pt x="505" y="12"/>
                  </a:lnTo>
                  <a:lnTo>
                    <a:pt x="508" y="12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7" y="12"/>
                  </a:lnTo>
                  <a:lnTo>
                    <a:pt x="517" y="9"/>
                  </a:lnTo>
                  <a:lnTo>
                    <a:pt x="520" y="9"/>
                  </a:lnTo>
                  <a:lnTo>
                    <a:pt x="523" y="6"/>
                  </a:lnTo>
                  <a:lnTo>
                    <a:pt x="526" y="6"/>
                  </a:lnTo>
                  <a:lnTo>
                    <a:pt x="526" y="3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>
                <a:solidFill>
                  <a:schemeClr val="bg1"/>
                </a:solidFill>
              </a:endParaRPr>
            </a:p>
          </p:txBody>
        </p:sp>
        <p:sp>
          <p:nvSpPr>
            <p:cNvPr id="182" name="Freeform 40">
              <a:extLst>
                <a:ext uri="{FF2B5EF4-FFF2-40B4-BE49-F238E27FC236}">
                  <a16:creationId xmlns:a16="http://schemas.microsoft.com/office/drawing/2014/main" id="{82F1A0A7-050B-40A2-9FCE-0015A981B03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60688" y="3727450"/>
              <a:ext cx="1069975" cy="869950"/>
            </a:xfrm>
            <a:custGeom>
              <a:avLst/>
              <a:gdLst>
                <a:gd name="T0" fmla="*/ 70807 w 544"/>
                <a:gd name="T1" fmla="*/ 82665 h 442"/>
                <a:gd name="T2" fmla="*/ 147515 w 544"/>
                <a:gd name="T3" fmla="*/ 17714 h 442"/>
                <a:gd name="T4" fmla="*/ 188819 w 544"/>
                <a:gd name="T5" fmla="*/ 112188 h 442"/>
                <a:gd name="T6" fmla="*/ 212422 w 544"/>
                <a:gd name="T7" fmla="*/ 200758 h 442"/>
                <a:gd name="T8" fmla="*/ 218322 w 544"/>
                <a:gd name="T9" fmla="*/ 259804 h 442"/>
                <a:gd name="T10" fmla="*/ 253726 w 544"/>
                <a:gd name="T11" fmla="*/ 277518 h 442"/>
                <a:gd name="T12" fmla="*/ 289129 w 544"/>
                <a:gd name="T13" fmla="*/ 330660 h 442"/>
                <a:gd name="T14" fmla="*/ 289129 w 544"/>
                <a:gd name="T15" fmla="*/ 403484 h 442"/>
                <a:gd name="T16" fmla="*/ 336334 w 544"/>
                <a:gd name="T17" fmla="*/ 385770 h 442"/>
                <a:gd name="T18" fmla="*/ 413042 w 544"/>
                <a:gd name="T19" fmla="*/ 368056 h 442"/>
                <a:gd name="T20" fmla="*/ 418942 w 544"/>
                <a:gd name="T21" fmla="*/ 462530 h 442"/>
                <a:gd name="T22" fmla="*/ 501551 w 544"/>
                <a:gd name="T23" fmla="*/ 480244 h 442"/>
                <a:gd name="T24" fmla="*/ 560557 w 544"/>
                <a:gd name="T25" fmla="*/ 433007 h 442"/>
                <a:gd name="T26" fmla="*/ 625463 w 544"/>
                <a:gd name="T27" fmla="*/ 373960 h 442"/>
                <a:gd name="T28" fmla="*/ 684469 w 544"/>
                <a:gd name="T29" fmla="*/ 356246 h 442"/>
                <a:gd name="T30" fmla="*/ 713972 w 544"/>
                <a:gd name="T31" fmla="*/ 307041 h 442"/>
                <a:gd name="T32" fmla="*/ 737575 w 544"/>
                <a:gd name="T33" fmla="*/ 259804 h 442"/>
                <a:gd name="T34" fmla="*/ 820183 w 544"/>
                <a:gd name="T35" fmla="*/ 265709 h 442"/>
                <a:gd name="T36" fmla="*/ 885090 w 544"/>
                <a:gd name="T37" fmla="*/ 301137 h 442"/>
                <a:gd name="T38" fmla="*/ 955897 w 544"/>
                <a:gd name="T39" fmla="*/ 247995 h 442"/>
                <a:gd name="T40" fmla="*/ 1014903 w 544"/>
                <a:gd name="T41" fmla="*/ 271613 h 442"/>
                <a:gd name="T42" fmla="*/ 1052273 w 544"/>
                <a:gd name="T43" fmla="*/ 283423 h 442"/>
                <a:gd name="T44" fmla="*/ 1052273 w 544"/>
                <a:gd name="T45" fmla="*/ 312946 h 442"/>
                <a:gd name="T46" fmla="*/ 1014903 w 544"/>
                <a:gd name="T47" fmla="*/ 356246 h 442"/>
                <a:gd name="T48" fmla="*/ 938195 w 544"/>
                <a:gd name="T49" fmla="*/ 368056 h 442"/>
                <a:gd name="T50" fmla="*/ 920493 w 544"/>
                <a:gd name="T51" fmla="*/ 444816 h 442"/>
                <a:gd name="T52" fmla="*/ 855587 w 544"/>
                <a:gd name="T53" fmla="*/ 492053 h 442"/>
                <a:gd name="T54" fmla="*/ 837885 w 544"/>
                <a:gd name="T55" fmla="*/ 586527 h 442"/>
                <a:gd name="T56" fmla="*/ 944096 w 544"/>
                <a:gd name="T57" fmla="*/ 592432 h 442"/>
                <a:gd name="T58" fmla="*/ 938195 w 544"/>
                <a:gd name="T59" fmla="*/ 645574 h 442"/>
                <a:gd name="T60" fmla="*/ 979499 w 544"/>
                <a:gd name="T61" fmla="*/ 681002 h 442"/>
                <a:gd name="T62" fmla="*/ 926394 w 544"/>
                <a:gd name="T63" fmla="*/ 716429 h 442"/>
                <a:gd name="T64" fmla="*/ 879189 w 544"/>
                <a:gd name="T65" fmla="*/ 710525 h 442"/>
                <a:gd name="T66" fmla="*/ 843785 w 544"/>
                <a:gd name="T67" fmla="*/ 710525 h 442"/>
                <a:gd name="T68" fmla="*/ 784779 w 544"/>
                <a:gd name="T69" fmla="*/ 710525 h 442"/>
                <a:gd name="T70" fmla="*/ 719873 w 544"/>
                <a:gd name="T71" fmla="*/ 728239 h 442"/>
                <a:gd name="T72" fmla="*/ 690370 w 544"/>
                <a:gd name="T73" fmla="*/ 763667 h 442"/>
                <a:gd name="T74" fmla="*/ 613662 w 544"/>
                <a:gd name="T75" fmla="*/ 775476 h 442"/>
                <a:gd name="T76" fmla="*/ 542855 w 544"/>
                <a:gd name="T77" fmla="*/ 775476 h 442"/>
                <a:gd name="T78" fmla="*/ 477948 w 544"/>
                <a:gd name="T79" fmla="*/ 793190 h 442"/>
                <a:gd name="T80" fmla="*/ 407141 w 544"/>
                <a:gd name="T81" fmla="*/ 834522 h 442"/>
                <a:gd name="T82" fmla="*/ 359936 w 544"/>
                <a:gd name="T83" fmla="*/ 864045 h 442"/>
                <a:gd name="T84" fmla="*/ 300930 w 544"/>
                <a:gd name="T85" fmla="*/ 840427 h 442"/>
                <a:gd name="T86" fmla="*/ 259626 w 544"/>
                <a:gd name="T87" fmla="*/ 822713 h 442"/>
                <a:gd name="T88" fmla="*/ 236024 w 544"/>
                <a:gd name="T89" fmla="*/ 787285 h 442"/>
                <a:gd name="T90" fmla="*/ 177018 w 544"/>
                <a:gd name="T91" fmla="*/ 781380 h 442"/>
                <a:gd name="T92" fmla="*/ 165217 w 544"/>
                <a:gd name="T93" fmla="*/ 716429 h 442"/>
                <a:gd name="T94" fmla="*/ 118012 w 544"/>
                <a:gd name="T95" fmla="*/ 745953 h 442"/>
                <a:gd name="T96" fmla="*/ 106211 w 544"/>
                <a:gd name="T97" fmla="*/ 745953 h 442"/>
                <a:gd name="T98" fmla="*/ 94410 w 544"/>
                <a:gd name="T99" fmla="*/ 704620 h 442"/>
                <a:gd name="T100" fmla="*/ 118012 w 544"/>
                <a:gd name="T101" fmla="*/ 663288 h 442"/>
                <a:gd name="T102" fmla="*/ 94410 w 544"/>
                <a:gd name="T103" fmla="*/ 610146 h 442"/>
                <a:gd name="T104" fmla="*/ 59006 w 544"/>
                <a:gd name="T105" fmla="*/ 551100 h 442"/>
                <a:gd name="T106" fmla="*/ 47205 w 544"/>
                <a:gd name="T107" fmla="*/ 521576 h 442"/>
                <a:gd name="T108" fmla="*/ 47205 w 544"/>
                <a:gd name="T109" fmla="*/ 521576 h 442"/>
                <a:gd name="T110" fmla="*/ 29503 w 544"/>
                <a:gd name="T111" fmla="*/ 503862 h 442"/>
                <a:gd name="T112" fmla="*/ 23602 w 544"/>
                <a:gd name="T113" fmla="*/ 456625 h 442"/>
                <a:gd name="T114" fmla="*/ 64907 w 544"/>
                <a:gd name="T115" fmla="*/ 456625 h 442"/>
                <a:gd name="T116" fmla="*/ 94410 w 544"/>
                <a:gd name="T117" fmla="*/ 373960 h 442"/>
                <a:gd name="T118" fmla="*/ 88509 w 544"/>
                <a:gd name="T119" fmla="*/ 307041 h 442"/>
                <a:gd name="T120" fmla="*/ 70807 w 544"/>
                <a:gd name="T121" fmla="*/ 242090 h 442"/>
                <a:gd name="T122" fmla="*/ 29503 w 544"/>
                <a:gd name="T123" fmla="*/ 188948 h 4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44" h="442">
                  <a:moveTo>
                    <a:pt x="6" y="75"/>
                  </a:moveTo>
                  <a:lnTo>
                    <a:pt x="6" y="66"/>
                  </a:lnTo>
                  <a:lnTo>
                    <a:pt x="12" y="60"/>
                  </a:lnTo>
                  <a:lnTo>
                    <a:pt x="15" y="57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7" y="36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9" y="39"/>
                  </a:lnTo>
                  <a:lnTo>
                    <a:pt x="42" y="39"/>
                  </a:lnTo>
                  <a:lnTo>
                    <a:pt x="45" y="36"/>
                  </a:lnTo>
                  <a:lnTo>
                    <a:pt x="48" y="33"/>
                  </a:lnTo>
                  <a:lnTo>
                    <a:pt x="51" y="24"/>
                  </a:lnTo>
                  <a:lnTo>
                    <a:pt x="51" y="18"/>
                  </a:lnTo>
                  <a:lnTo>
                    <a:pt x="57" y="12"/>
                  </a:lnTo>
                  <a:lnTo>
                    <a:pt x="57" y="9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6"/>
                  </a:lnTo>
                  <a:lnTo>
                    <a:pt x="63" y="3"/>
                  </a:lnTo>
                  <a:lnTo>
                    <a:pt x="69" y="0"/>
                  </a:lnTo>
                  <a:lnTo>
                    <a:pt x="72" y="6"/>
                  </a:lnTo>
                  <a:lnTo>
                    <a:pt x="75" y="9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81" y="15"/>
                  </a:lnTo>
                  <a:lnTo>
                    <a:pt x="84" y="15"/>
                  </a:lnTo>
                  <a:lnTo>
                    <a:pt x="87" y="21"/>
                  </a:lnTo>
                  <a:lnTo>
                    <a:pt x="87" y="24"/>
                  </a:lnTo>
                  <a:lnTo>
                    <a:pt x="93" y="30"/>
                  </a:lnTo>
                  <a:lnTo>
                    <a:pt x="102" y="33"/>
                  </a:lnTo>
                  <a:lnTo>
                    <a:pt x="102" y="39"/>
                  </a:lnTo>
                  <a:lnTo>
                    <a:pt x="102" y="45"/>
                  </a:lnTo>
                  <a:lnTo>
                    <a:pt x="96" y="45"/>
                  </a:lnTo>
                  <a:lnTo>
                    <a:pt x="99" y="48"/>
                  </a:lnTo>
                  <a:lnTo>
                    <a:pt x="105" y="51"/>
                  </a:lnTo>
                  <a:lnTo>
                    <a:pt x="99" y="54"/>
                  </a:lnTo>
                  <a:lnTo>
                    <a:pt x="96" y="57"/>
                  </a:lnTo>
                  <a:lnTo>
                    <a:pt x="96" y="60"/>
                  </a:lnTo>
                  <a:lnTo>
                    <a:pt x="96" y="63"/>
                  </a:lnTo>
                  <a:lnTo>
                    <a:pt x="99" y="63"/>
                  </a:lnTo>
                  <a:lnTo>
                    <a:pt x="99" y="66"/>
                  </a:lnTo>
                  <a:lnTo>
                    <a:pt x="102" y="69"/>
                  </a:lnTo>
                  <a:lnTo>
                    <a:pt x="102" y="75"/>
                  </a:lnTo>
                  <a:lnTo>
                    <a:pt x="99" y="81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2" y="93"/>
                  </a:lnTo>
                  <a:lnTo>
                    <a:pt x="105" y="93"/>
                  </a:lnTo>
                  <a:lnTo>
                    <a:pt x="108" y="96"/>
                  </a:lnTo>
                  <a:lnTo>
                    <a:pt x="108" y="99"/>
                  </a:lnTo>
                  <a:lnTo>
                    <a:pt x="108" y="102"/>
                  </a:lnTo>
                  <a:lnTo>
                    <a:pt x="108" y="105"/>
                  </a:lnTo>
                  <a:lnTo>
                    <a:pt x="105" y="108"/>
                  </a:lnTo>
                  <a:lnTo>
                    <a:pt x="108" y="108"/>
                  </a:lnTo>
                  <a:lnTo>
                    <a:pt x="111" y="108"/>
                  </a:lnTo>
                  <a:lnTo>
                    <a:pt x="111" y="111"/>
                  </a:lnTo>
                  <a:lnTo>
                    <a:pt x="108" y="114"/>
                  </a:lnTo>
                  <a:lnTo>
                    <a:pt x="111" y="114"/>
                  </a:lnTo>
                  <a:lnTo>
                    <a:pt x="114" y="117"/>
                  </a:lnTo>
                  <a:lnTo>
                    <a:pt x="111" y="117"/>
                  </a:lnTo>
                  <a:lnTo>
                    <a:pt x="111" y="120"/>
                  </a:lnTo>
                  <a:lnTo>
                    <a:pt x="111" y="123"/>
                  </a:lnTo>
                  <a:lnTo>
                    <a:pt x="111" y="126"/>
                  </a:lnTo>
                  <a:lnTo>
                    <a:pt x="111" y="129"/>
                  </a:lnTo>
                  <a:lnTo>
                    <a:pt x="114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08" y="138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11" y="144"/>
                  </a:lnTo>
                  <a:lnTo>
                    <a:pt x="114" y="144"/>
                  </a:lnTo>
                  <a:lnTo>
                    <a:pt x="114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20" y="147"/>
                  </a:lnTo>
                  <a:lnTo>
                    <a:pt x="123" y="147"/>
                  </a:lnTo>
                  <a:lnTo>
                    <a:pt x="123" y="150"/>
                  </a:lnTo>
                  <a:lnTo>
                    <a:pt x="129" y="144"/>
                  </a:lnTo>
                  <a:lnTo>
                    <a:pt x="129" y="141"/>
                  </a:lnTo>
                  <a:lnTo>
                    <a:pt x="129" y="147"/>
                  </a:lnTo>
                  <a:lnTo>
                    <a:pt x="126" y="153"/>
                  </a:lnTo>
                  <a:lnTo>
                    <a:pt x="129" y="153"/>
                  </a:lnTo>
                  <a:lnTo>
                    <a:pt x="132" y="153"/>
                  </a:lnTo>
                  <a:lnTo>
                    <a:pt x="132" y="156"/>
                  </a:lnTo>
                  <a:lnTo>
                    <a:pt x="135" y="159"/>
                  </a:lnTo>
                  <a:lnTo>
                    <a:pt x="138" y="159"/>
                  </a:lnTo>
                  <a:lnTo>
                    <a:pt x="138" y="156"/>
                  </a:lnTo>
                  <a:lnTo>
                    <a:pt x="141" y="159"/>
                  </a:lnTo>
                  <a:lnTo>
                    <a:pt x="144" y="162"/>
                  </a:lnTo>
                  <a:lnTo>
                    <a:pt x="147" y="162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5"/>
                  </a:lnTo>
                  <a:lnTo>
                    <a:pt x="147" y="178"/>
                  </a:lnTo>
                  <a:lnTo>
                    <a:pt x="147" y="181"/>
                  </a:lnTo>
                  <a:lnTo>
                    <a:pt x="138" y="184"/>
                  </a:lnTo>
                  <a:lnTo>
                    <a:pt x="141" y="190"/>
                  </a:lnTo>
                  <a:lnTo>
                    <a:pt x="141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9"/>
                  </a:lnTo>
                  <a:lnTo>
                    <a:pt x="147" y="202"/>
                  </a:lnTo>
                  <a:lnTo>
                    <a:pt x="147" y="205"/>
                  </a:lnTo>
                  <a:lnTo>
                    <a:pt x="147" y="211"/>
                  </a:lnTo>
                  <a:lnTo>
                    <a:pt x="147" y="217"/>
                  </a:lnTo>
                  <a:lnTo>
                    <a:pt x="150" y="223"/>
                  </a:lnTo>
                  <a:lnTo>
                    <a:pt x="153" y="220"/>
                  </a:lnTo>
                  <a:lnTo>
                    <a:pt x="156" y="220"/>
                  </a:lnTo>
                  <a:lnTo>
                    <a:pt x="156" y="211"/>
                  </a:lnTo>
                  <a:lnTo>
                    <a:pt x="159" y="205"/>
                  </a:lnTo>
                  <a:lnTo>
                    <a:pt x="156" y="202"/>
                  </a:lnTo>
                  <a:lnTo>
                    <a:pt x="159" y="199"/>
                  </a:lnTo>
                  <a:lnTo>
                    <a:pt x="162" y="202"/>
                  </a:lnTo>
                  <a:lnTo>
                    <a:pt x="165" y="199"/>
                  </a:lnTo>
                  <a:lnTo>
                    <a:pt x="165" y="196"/>
                  </a:lnTo>
                  <a:lnTo>
                    <a:pt x="168" y="193"/>
                  </a:lnTo>
                  <a:lnTo>
                    <a:pt x="168" y="196"/>
                  </a:lnTo>
                  <a:lnTo>
                    <a:pt x="171" y="196"/>
                  </a:lnTo>
                  <a:lnTo>
                    <a:pt x="174" y="193"/>
                  </a:lnTo>
                  <a:lnTo>
                    <a:pt x="177" y="193"/>
                  </a:lnTo>
                  <a:lnTo>
                    <a:pt x="183" y="193"/>
                  </a:lnTo>
                  <a:lnTo>
                    <a:pt x="186" y="190"/>
                  </a:lnTo>
                  <a:lnTo>
                    <a:pt x="189" y="190"/>
                  </a:lnTo>
                  <a:lnTo>
                    <a:pt x="192" y="187"/>
                  </a:lnTo>
                  <a:lnTo>
                    <a:pt x="192" y="184"/>
                  </a:lnTo>
                  <a:lnTo>
                    <a:pt x="195" y="181"/>
                  </a:lnTo>
                  <a:lnTo>
                    <a:pt x="198" y="181"/>
                  </a:lnTo>
                  <a:lnTo>
                    <a:pt x="198" y="178"/>
                  </a:lnTo>
                  <a:lnTo>
                    <a:pt x="201" y="175"/>
                  </a:lnTo>
                  <a:lnTo>
                    <a:pt x="204" y="175"/>
                  </a:lnTo>
                  <a:lnTo>
                    <a:pt x="207" y="178"/>
                  </a:lnTo>
                  <a:lnTo>
                    <a:pt x="210" y="178"/>
                  </a:lnTo>
                  <a:lnTo>
                    <a:pt x="210" y="187"/>
                  </a:lnTo>
                  <a:lnTo>
                    <a:pt x="207" y="187"/>
                  </a:lnTo>
                  <a:lnTo>
                    <a:pt x="204" y="190"/>
                  </a:lnTo>
                  <a:lnTo>
                    <a:pt x="204" y="193"/>
                  </a:lnTo>
                  <a:lnTo>
                    <a:pt x="201" y="199"/>
                  </a:lnTo>
                  <a:lnTo>
                    <a:pt x="195" y="196"/>
                  </a:lnTo>
                  <a:lnTo>
                    <a:pt x="198" y="205"/>
                  </a:lnTo>
                  <a:lnTo>
                    <a:pt x="198" y="211"/>
                  </a:lnTo>
                  <a:lnTo>
                    <a:pt x="198" y="214"/>
                  </a:lnTo>
                  <a:lnTo>
                    <a:pt x="201" y="217"/>
                  </a:lnTo>
                  <a:lnTo>
                    <a:pt x="201" y="220"/>
                  </a:lnTo>
                  <a:lnTo>
                    <a:pt x="204" y="223"/>
                  </a:lnTo>
                  <a:lnTo>
                    <a:pt x="204" y="232"/>
                  </a:lnTo>
                  <a:lnTo>
                    <a:pt x="207" y="235"/>
                  </a:lnTo>
                  <a:lnTo>
                    <a:pt x="210" y="235"/>
                  </a:lnTo>
                  <a:lnTo>
                    <a:pt x="213" y="235"/>
                  </a:lnTo>
                  <a:lnTo>
                    <a:pt x="219" y="241"/>
                  </a:lnTo>
                  <a:lnTo>
                    <a:pt x="219" y="244"/>
                  </a:lnTo>
                  <a:lnTo>
                    <a:pt x="219" y="247"/>
                  </a:lnTo>
                  <a:lnTo>
                    <a:pt x="222" y="247"/>
                  </a:lnTo>
                  <a:lnTo>
                    <a:pt x="225" y="250"/>
                  </a:lnTo>
                  <a:lnTo>
                    <a:pt x="231" y="250"/>
                  </a:lnTo>
                  <a:lnTo>
                    <a:pt x="231" y="247"/>
                  </a:lnTo>
                  <a:lnTo>
                    <a:pt x="237" y="244"/>
                  </a:lnTo>
                  <a:lnTo>
                    <a:pt x="237" y="247"/>
                  </a:lnTo>
                  <a:lnTo>
                    <a:pt x="237" y="250"/>
                  </a:lnTo>
                  <a:lnTo>
                    <a:pt x="240" y="250"/>
                  </a:lnTo>
                  <a:lnTo>
                    <a:pt x="243" y="250"/>
                  </a:lnTo>
                  <a:lnTo>
                    <a:pt x="249" y="250"/>
                  </a:lnTo>
                  <a:lnTo>
                    <a:pt x="252" y="247"/>
                  </a:lnTo>
                  <a:lnTo>
                    <a:pt x="255" y="244"/>
                  </a:lnTo>
                  <a:lnTo>
                    <a:pt x="258" y="244"/>
                  </a:lnTo>
                  <a:lnTo>
                    <a:pt x="258" y="241"/>
                  </a:lnTo>
                  <a:lnTo>
                    <a:pt x="258" y="238"/>
                  </a:lnTo>
                  <a:lnTo>
                    <a:pt x="258" y="235"/>
                  </a:lnTo>
                  <a:lnTo>
                    <a:pt x="258" y="232"/>
                  </a:lnTo>
                  <a:lnTo>
                    <a:pt x="255" y="229"/>
                  </a:lnTo>
                  <a:lnTo>
                    <a:pt x="255" y="226"/>
                  </a:lnTo>
                  <a:lnTo>
                    <a:pt x="258" y="226"/>
                  </a:lnTo>
                  <a:lnTo>
                    <a:pt x="261" y="223"/>
                  </a:lnTo>
                  <a:lnTo>
                    <a:pt x="264" y="220"/>
                  </a:lnTo>
                  <a:lnTo>
                    <a:pt x="270" y="220"/>
                  </a:lnTo>
                  <a:lnTo>
                    <a:pt x="276" y="220"/>
                  </a:lnTo>
                  <a:lnTo>
                    <a:pt x="279" y="220"/>
                  </a:lnTo>
                  <a:lnTo>
                    <a:pt x="282" y="220"/>
                  </a:lnTo>
                  <a:lnTo>
                    <a:pt x="285" y="220"/>
                  </a:lnTo>
                  <a:lnTo>
                    <a:pt x="285" y="214"/>
                  </a:lnTo>
                  <a:lnTo>
                    <a:pt x="288" y="208"/>
                  </a:lnTo>
                  <a:lnTo>
                    <a:pt x="288" y="205"/>
                  </a:lnTo>
                  <a:lnTo>
                    <a:pt x="291" y="202"/>
                  </a:lnTo>
                  <a:lnTo>
                    <a:pt x="294" y="202"/>
                  </a:lnTo>
                  <a:lnTo>
                    <a:pt x="297" y="199"/>
                  </a:lnTo>
                  <a:lnTo>
                    <a:pt x="297" y="196"/>
                  </a:lnTo>
                  <a:lnTo>
                    <a:pt x="297" y="193"/>
                  </a:lnTo>
                  <a:lnTo>
                    <a:pt x="303" y="196"/>
                  </a:lnTo>
                  <a:lnTo>
                    <a:pt x="306" y="193"/>
                  </a:lnTo>
                  <a:lnTo>
                    <a:pt x="309" y="193"/>
                  </a:lnTo>
                  <a:lnTo>
                    <a:pt x="309" y="190"/>
                  </a:lnTo>
                  <a:lnTo>
                    <a:pt x="312" y="190"/>
                  </a:lnTo>
                  <a:lnTo>
                    <a:pt x="315" y="190"/>
                  </a:lnTo>
                  <a:lnTo>
                    <a:pt x="318" y="190"/>
                  </a:lnTo>
                  <a:lnTo>
                    <a:pt x="321" y="187"/>
                  </a:lnTo>
                  <a:lnTo>
                    <a:pt x="318" y="184"/>
                  </a:lnTo>
                  <a:lnTo>
                    <a:pt x="318" y="181"/>
                  </a:lnTo>
                  <a:lnTo>
                    <a:pt x="318" y="178"/>
                  </a:lnTo>
                  <a:lnTo>
                    <a:pt x="321" y="178"/>
                  </a:lnTo>
                  <a:lnTo>
                    <a:pt x="324" y="178"/>
                  </a:lnTo>
                  <a:lnTo>
                    <a:pt x="327" y="178"/>
                  </a:lnTo>
                  <a:lnTo>
                    <a:pt x="330" y="181"/>
                  </a:lnTo>
                  <a:lnTo>
                    <a:pt x="333" y="178"/>
                  </a:lnTo>
                  <a:lnTo>
                    <a:pt x="336" y="178"/>
                  </a:lnTo>
                  <a:lnTo>
                    <a:pt x="336" y="181"/>
                  </a:lnTo>
                  <a:lnTo>
                    <a:pt x="339" y="181"/>
                  </a:lnTo>
                  <a:lnTo>
                    <a:pt x="345" y="184"/>
                  </a:lnTo>
                  <a:lnTo>
                    <a:pt x="348" y="184"/>
                  </a:lnTo>
                  <a:lnTo>
                    <a:pt x="348" y="181"/>
                  </a:lnTo>
                  <a:lnTo>
                    <a:pt x="348" y="178"/>
                  </a:lnTo>
                  <a:lnTo>
                    <a:pt x="348" y="175"/>
                  </a:lnTo>
                  <a:lnTo>
                    <a:pt x="345" y="175"/>
                  </a:lnTo>
                  <a:lnTo>
                    <a:pt x="345" y="171"/>
                  </a:lnTo>
                  <a:lnTo>
                    <a:pt x="351" y="175"/>
                  </a:lnTo>
                  <a:lnTo>
                    <a:pt x="354" y="178"/>
                  </a:lnTo>
                  <a:lnTo>
                    <a:pt x="357" y="175"/>
                  </a:lnTo>
                  <a:lnTo>
                    <a:pt x="357" y="171"/>
                  </a:lnTo>
                  <a:lnTo>
                    <a:pt x="357" y="168"/>
                  </a:lnTo>
                  <a:lnTo>
                    <a:pt x="363" y="165"/>
                  </a:lnTo>
                  <a:lnTo>
                    <a:pt x="363" y="171"/>
                  </a:lnTo>
                  <a:lnTo>
                    <a:pt x="366" y="162"/>
                  </a:lnTo>
                  <a:lnTo>
                    <a:pt x="369" y="162"/>
                  </a:lnTo>
                  <a:lnTo>
                    <a:pt x="366" y="159"/>
                  </a:lnTo>
                  <a:lnTo>
                    <a:pt x="363" y="156"/>
                  </a:lnTo>
                  <a:lnTo>
                    <a:pt x="366" y="156"/>
                  </a:lnTo>
                  <a:lnTo>
                    <a:pt x="363" y="153"/>
                  </a:lnTo>
                  <a:lnTo>
                    <a:pt x="363" y="150"/>
                  </a:lnTo>
                  <a:lnTo>
                    <a:pt x="366" y="147"/>
                  </a:lnTo>
                  <a:lnTo>
                    <a:pt x="366" y="144"/>
                  </a:lnTo>
                  <a:lnTo>
                    <a:pt x="363" y="144"/>
                  </a:lnTo>
                  <a:lnTo>
                    <a:pt x="363" y="141"/>
                  </a:lnTo>
                  <a:lnTo>
                    <a:pt x="366" y="141"/>
                  </a:lnTo>
                  <a:lnTo>
                    <a:pt x="369" y="144"/>
                  </a:lnTo>
                  <a:lnTo>
                    <a:pt x="372" y="144"/>
                  </a:lnTo>
                  <a:lnTo>
                    <a:pt x="372" y="141"/>
                  </a:lnTo>
                  <a:lnTo>
                    <a:pt x="372" y="138"/>
                  </a:lnTo>
                  <a:lnTo>
                    <a:pt x="369" y="135"/>
                  </a:lnTo>
                  <a:lnTo>
                    <a:pt x="375" y="135"/>
                  </a:lnTo>
                  <a:lnTo>
                    <a:pt x="375" y="132"/>
                  </a:lnTo>
                  <a:lnTo>
                    <a:pt x="378" y="126"/>
                  </a:lnTo>
                  <a:lnTo>
                    <a:pt x="378" y="123"/>
                  </a:lnTo>
                  <a:lnTo>
                    <a:pt x="378" y="120"/>
                  </a:lnTo>
                  <a:lnTo>
                    <a:pt x="381" y="114"/>
                  </a:lnTo>
                  <a:lnTo>
                    <a:pt x="384" y="114"/>
                  </a:lnTo>
                  <a:lnTo>
                    <a:pt x="393" y="120"/>
                  </a:lnTo>
                  <a:lnTo>
                    <a:pt x="399" y="123"/>
                  </a:lnTo>
                  <a:lnTo>
                    <a:pt x="405" y="123"/>
                  </a:lnTo>
                  <a:lnTo>
                    <a:pt x="405" y="126"/>
                  </a:lnTo>
                  <a:lnTo>
                    <a:pt x="408" y="129"/>
                  </a:lnTo>
                  <a:lnTo>
                    <a:pt x="405" y="135"/>
                  </a:lnTo>
                  <a:lnTo>
                    <a:pt x="408" y="138"/>
                  </a:lnTo>
                  <a:lnTo>
                    <a:pt x="411" y="138"/>
                  </a:lnTo>
                  <a:lnTo>
                    <a:pt x="414" y="138"/>
                  </a:lnTo>
                  <a:lnTo>
                    <a:pt x="417" y="135"/>
                  </a:lnTo>
                  <a:lnTo>
                    <a:pt x="420" y="138"/>
                  </a:lnTo>
                  <a:lnTo>
                    <a:pt x="423" y="141"/>
                  </a:lnTo>
                  <a:lnTo>
                    <a:pt x="426" y="138"/>
                  </a:lnTo>
                  <a:lnTo>
                    <a:pt x="429" y="138"/>
                  </a:lnTo>
                  <a:lnTo>
                    <a:pt x="429" y="141"/>
                  </a:lnTo>
                  <a:lnTo>
                    <a:pt x="432" y="144"/>
                  </a:lnTo>
                  <a:lnTo>
                    <a:pt x="435" y="141"/>
                  </a:lnTo>
                  <a:lnTo>
                    <a:pt x="438" y="141"/>
                  </a:lnTo>
                  <a:lnTo>
                    <a:pt x="444" y="144"/>
                  </a:lnTo>
                  <a:lnTo>
                    <a:pt x="447" y="144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0"/>
                  </a:lnTo>
                  <a:lnTo>
                    <a:pt x="447" y="153"/>
                  </a:lnTo>
                  <a:lnTo>
                    <a:pt x="450" y="153"/>
                  </a:lnTo>
                  <a:lnTo>
                    <a:pt x="450" y="150"/>
                  </a:lnTo>
                  <a:lnTo>
                    <a:pt x="453" y="150"/>
                  </a:lnTo>
                  <a:lnTo>
                    <a:pt x="456" y="147"/>
                  </a:lnTo>
                  <a:lnTo>
                    <a:pt x="459" y="144"/>
                  </a:lnTo>
                  <a:lnTo>
                    <a:pt x="459" y="141"/>
                  </a:lnTo>
                  <a:lnTo>
                    <a:pt x="462" y="138"/>
                  </a:lnTo>
                  <a:lnTo>
                    <a:pt x="462" y="135"/>
                  </a:lnTo>
                  <a:lnTo>
                    <a:pt x="462" y="132"/>
                  </a:lnTo>
                  <a:lnTo>
                    <a:pt x="465" y="129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74" y="123"/>
                  </a:lnTo>
                  <a:lnTo>
                    <a:pt x="477" y="123"/>
                  </a:lnTo>
                  <a:lnTo>
                    <a:pt x="483" y="126"/>
                  </a:lnTo>
                  <a:lnTo>
                    <a:pt x="486" y="126"/>
                  </a:lnTo>
                  <a:lnTo>
                    <a:pt x="489" y="126"/>
                  </a:lnTo>
                  <a:lnTo>
                    <a:pt x="489" y="123"/>
                  </a:lnTo>
                  <a:lnTo>
                    <a:pt x="492" y="120"/>
                  </a:lnTo>
                  <a:lnTo>
                    <a:pt x="495" y="123"/>
                  </a:lnTo>
                  <a:lnTo>
                    <a:pt x="498" y="120"/>
                  </a:lnTo>
                  <a:lnTo>
                    <a:pt x="501" y="120"/>
                  </a:lnTo>
                  <a:lnTo>
                    <a:pt x="504" y="126"/>
                  </a:lnTo>
                  <a:lnTo>
                    <a:pt x="507" y="126"/>
                  </a:lnTo>
                  <a:lnTo>
                    <a:pt x="510" y="126"/>
                  </a:lnTo>
                  <a:lnTo>
                    <a:pt x="513" y="129"/>
                  </a:lnTo>
                  <a:lnTo>
                    <a:pt x="507" y="132"/>
                  </a:lnTo>
                  <a:lnTo>
                    <a:pt x="510" y="132"/>
                  </a:lnTo>
                  <a:lnTo>
                    <a:pt x="510" y="135"/>
                  </a:lnTo>
                  <a:lnTo>
                    <a:pt x="513" y="138"/>
                  </a:lnTo>
                  <a:lnTo>
                    <a:pt x="516" y="138"/>
                  </a:lnTo>
                  <a:lnTo>
                    <a:pt x="516" y="135"/>
                  </a:lnTo>
                  <a:lnTo>
                    <a:pt x="519" y="132"/>
                  </a:lnTo>
                  <a:lnTo>
                    <a:pt x="522" y="126"/>
                  </a:lnTo>
                  <a:lnTo>
                    <a:pt x="525" y="126"/>
                  </a:lnTo>
                  <a:lnTo>
                    <a:pt x="528" y="126"/>
                  </a:lnTo>
                  <a:lnTo>
                    <a:pt x="528" y="129"/>
                  </a:lnTo>
                  <a:lnTo>
                    <a:pt x="528" y="132"/>
                  </a:lnTo>
                  <a:lnTo>
                    <a:pt x="531" y="135"/>
                  </a:lnTo>
                  <a:lnTo>
                    <a:pt x="535" y="135"/>
                  </a:lnTo>
                  <a:lnTo>
                    <a:pt x="538" y="135"/>
                  </a:lnTo>
                  <a:lnTo>
                    <a:pt x="541" y="138"/>
                  </a:lnTo>
                  <a:lnTo>
                    <a:pt x="538" y="138"/>
                  </a:lnTo>
                  <a:lnTo>
                    <a:pt x="538" y="141"/>
                  </a:lnTo>
                  <a:lnTo>
                    <a:pt x="535" y="141"/>
                  </a:lnTo>
                  <a:lnTo>
                    <a:pt x="535" y="144"/>
                  </a:lnTo>
                  <a:lnTo>
                    <a:pt x="535" y="147"/>
                  </a:lnTo>
                  <a:lnTo>
                    <a:pt x="538" y="147"/>
                  </a:lnTo>
                  <a:lnTo>
                    <a:pt x="538" y="144"/>
                  </a:lnTo>
                  <a:lnTo>
                    <a:pt x="538" y="147"/>
                  </a:lnTo>
                  <a:lnTo>
                    <a:pt x="541" y="147"/>
                  </a:lnTo>
                  <a:lnTo>
                    <a:pt x="541" y="150"/>
                  </a:lnTo>
                  <a:lnTo>
                    <a:pt x="544" y="150"/>
                  </a:lnTo>
                  <a:lnTo>
                    <a:pt x="541" y="153"/>
                  </a:lnTo>
                  <a:lnTo>
                    <a:pt x="541" y="156"/>
                  </a:lnTo>
                  <a:lnTo>
                    <a:pt x="538" y="156"/>
                  </a:lnTo>
                  <a:lnTo>
                    <a:pt x="538" y="159"/>
                  </a:lnTo>
                  <a:lnTo>
                    <a:pt x="535" y="159"/>
                  </a:lnTo>
                  <a:lnTo>
                    <a:pt x="538" y="162"/>
                  </a:lnTo>
                  <a:lnTo>
                    <a:pt x="535" y="162"/>
                  </a:lnTo>
                  <a:lnTo>
                    <a:pt x="535" y="159"/>
                  </a:lnTo>
                  <a:lnTo>
                    <a:pt x="535" y="162"/>
                  </a:lnTo>
                  <a:lnTo>
                    <a:pt x="535" y="165"/>
                  </a:lnTo>
                  <a:lnTo>
                    <a:pt x="538" y="165"/>
                  </a:lnTo>
                  <a:lnTo>
                    <a:pt x="538" y="168"/>
                  </a:lnTo>
                  <a:lnTo>
                    <a:pt x="535" y="168"/>
                  </a:lnTo>
                  <a:lnTo>
                    <a:pt x="535" y="171"/>
                  </a:lnTo>
                  <a:lnTo>
                    <a:pt x="531" y="171"/>
                  </a:lnTo>
                  <a:lnTo>
                    <a:pt x="528" y="171"/>
                  </a:lnTo>
                  <a:lnTo>
                    <a:pt x="528" y="175"/>
                  </a:lnTo>
                  <a:lnTo>
                    <a:pt x="525" y="175"/>
                  </a:lnTo>
                  <a:lnTo>
                    <a:pt x="522" y="175"/>
                  </a:lnTo>
                  <a:lnTo>
                    <a:pt x="522" y="178"/>
                  </a:lnTo>
                  <a:lnTo>
                    <a:pt x="519" y="178"/>
                  </a:lnTo>
                  <a:lnTo>
                    <a:pt x="519" y="181"/>
                  </a:lnTo>
                  <a:lnTo>
                    <a:pt x="516" y="181"/>
                  </a:lnTo>
                  <a:lnTo>
                    <a:pt x="513" y="181"/>
                  </a:lnTo>
                  <a:lnTo>
                    <a:pt x="510" y="181"/>
                  </a:lnTo>
                  <a:lnTo>
                    <a:pt x="510" y="178"/>
                  </a:lnTo>
                  <a:lnTo>
                    <a:pt x="507" y="175"/>
                  </a:lnTo>
                  <a:lnTo>
                    <a:pt x="504" y="175"/>
                  </a:lnTo>
                  <a:lnTo>
                    <a:pt x="501" y="178"/>
                  </a:lnTo>
                  <a:lnTo>
                    <a:pt x="498" y="178"/>
                  </a:lnTo>
                  <a:lnTo>
                    <a:pt x="498" y="181"/>
                  </a:lnTo>
                  <a:lnTo>
                    <a:pt x="495" y="187"/>
                  </a:lnTo>
                  <a:lnTo>
                    <a:pt x="498" y="190"/>
                  </a:lnTo>
                  <a:lnTo>
                    <a:pt x="495" y="190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3" y="190"/>
                  </a:lnTo>
                  <a:lnTo>
                    <a:pt x="477" y="187"/>
                  </a:lnTo>
                  <a:lnTo>
                    <a:pt x="477" y="193"/>
                  </a:lnTo>
                  <a:lnTo>
                    <a:pt x="474" y="196"/>
                  </a:lnTo>
                  <a:lnTo>
                    <a:pt x="471" y="193"/>
                  </a:lnTo>
                  <a:lnTo>
                    <a:pt x="468" y="190"/>
                  </a:lnTo>
                  <a:lnTo>
                    <a:pt x="465" y="196"/>
                  </a:lnTo>
                  <a:lnTo>
                    <a:pt x="462" y="196"/>
                  </a:lnTo>
                  <a:lnTo>
                    <a:pt x="459" y="199"/>
                  </a:lnTo>
                  <a:lnTo>
                    <a:pt x="462" y="202"/>
                  </a:lnTo>
                  <a:lnTo>
                    <a:pt x="462" y="208"/>
                  </a:lnTo>
                  <a:lnTo>
                    <a:pt x="465" y="211"/>
                  </a:lnTo>
                  <a:lnTo>
                    <a:pt x="465" y="217"/>
                  </a:lnTo>
                  <a:lnTo>
                    <a:pt x="465" y="220"/>
                  </a:lnTo>
                  <a:lnTo>
                    <a:pt x="465" y="223"/>
                  </a:lnTo>
                  <a:lnTo>
                    <a:pt x="462" y="223"/>
                  </a:lnTo>
                  <a:lnTo>
                    <a:pt x="468" y="226"/>
                  </a:lnTo>
                  <a:lnTo>
                    <a:pt x="471" y="229"/>
                  </a:lnTo>
                  <a:lnTo>
                    <a:pt x="471" y="232"/>
                  </a:lnTo>
                  <a:lnTo>
                    <a:pt x="474" y="232"/>
                  </a:lnTo>
                  <a:lnTo>
                    <a:pt x="471" y="238"/>
                  </a:lnTo>
                  <a:lnTo>
                    <a:pt x="465" y="238"/>
                  </a:lnTo>
                  <a:lnTo>
                    <a:pt x="462" y="235"/>
                  </a:lnTo>
                  <a:lnTo>
                    <a:pt x="456" y="235"/>
                  </a:lnTo>
                  <a:lnTo>
                    <a:pt x="453" y="238"/>
                  </a:lnTo>
                  <a:lnTo>
                    <a:pt x="450" y="238"/>
                  </a:lnTo>
                  <a:lnTo>
                    <a:pt x="447" y="235"/>
                  </a:lnTo>
                  <a:lnTo>
                    <a:pt x="450" y="238"/>
                  </a:lnTo>
                  <a:lnTo>
                    <a:pt x="450" y="241"/>
                  </a:lnTo>
                  <a:lnTo>
                    <a:pt x="450" y="244"/>
                  </a:lnTo>
                  <a:lnTo>
                    <a:pt x="441" y="244"/>
                  </a:lnTo>
                  <a:lnTo>
                    <a:pt x="435" y="250"/>
                  </a:lnTo>
                  <a:lnTo>
                    <a:pt x="438" y="256"/>
                  </a:lnTo>
                  <a:lnTo>
                    <a:pt x="435" y="256"/>
                  </a:lnTo>
                  <a:lnTo>
                    <a:pt x="435" y="259"/>
                  </a:lnTo>
                  <a:lnTo>
                    <a:pt x="438" y="259"/>
                  </a:lnTo>
                  <a:lnTo>
                    <a:pt x="438" y="262"/>
                  </a:lnTo>
                  <a:lnTo>
                    <a:pt x="432" y="271"/>
                  </a:lnTo>
                  <a:lnTo>
                    <a:pt x="429" y="274"/>
                  </a:lnTo>
                  <a:lnTo>
                    <a:pt x="426" y="277"/>
                  </a:lnTo>
                  <a:lnTo>
                    <a:pt x="426" y="283"/>
                  </a:lnTo>
                  <a:lnTo>
                    <a:pt x="423" y="286"/>
                  </a:lnTo>
                  <a:lnTo>
                    <a:pt x="420" y="289"/>
                  </a:lnTo>
                  <a:lnTo>
                    <a:pt x="420" y="292"/>
                  </a:lnTo>
                  <a:lnTo>
                    <a:pt x="417" y="295"/>
                  </a:lnTo>
                  <a:lnTo>
                    <a:pt x="423" y="298"/>
                  </a:lnTo>
                  <a:lnTo>
                    <a:pt x="426" y="298"/>
                  </a:lnTo>
                  <a:lnTo>
                    <a:pt x="429" y="298"/>
                  </a:lnTo>
                  <a:lnTo>
                    <a:pt x="435" y="298"/>
                  </a:lnTo>
                  <a:lnTo>
                    <a:pt x="438" y="298"/>
                  </a:lnTo>
                  <a:lnTo>
                    <a:pt x="441" y="298"/>
                  </a:lnTo>
                  <a:lnTo>
                    <a:pt x="447" y="295"/>
                  </a:lnTo>
                  <a:lnTo>
                    <a:pt x="450" y="295"/>
                  </a:lnTo>
                  <a:lnTo>
                    <a:pt x="453" y="295"/>
                  </a:lnTo>
                  <a:lnTo>
                    <a:pt x="456" y="295"/>
                  </a:lnTo>
                  <a:lnTo>
                    <a:pt x="465" y="295"/>
                  </a:lnTo>
                  <a:lnTo>
                    <a:pt x="468" y="295"/>
                  </a:lnTo>
                  <a:lnTo>
                    <a:pt x="468" y="298"/>
                  </a:lnTo>
                  <a:lnTo>
                    <a:pt x="471" y="301"/>
                  </a:lnTo>
                  <a:lnTo>
                    <a:pt x="474" y="301"/>
                  </a:lnTo>
                  <a:lnTo>
                    <a:pt x="477" y="301"/>
                  </a:lnTo>
                  <a:lnTo>
                    <a:pt x="480" y="301"/>
                  </a:lnTo>
                  <a:lnTo>
                    <a:pt x="483" y="301"/>
                  </a:lnTo>
                  <a:lnTo>
                    <a:pt x="489" y="304"/>
                  </a:lnTo>
                  <a:lnTo>
                    <a:pt x="492" y="304"/>
                  </a:lnTo>
                  <a:lnTo>
                    <a:pt x="492" y="307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2" y="316"/>
                  </a:lnTo>
                  <a:lnTo>
                    <a:pt x="498" y="319"/>
                  </a:lnTo>
                  <a:lnTo>
                    <a:pt x="498" y="322"/>
                  </a:lnTo>
                  <a:lnTo>
                    <a:pt x="492" y="322"/>
                  </a:lnTo>
                  <a:lnTo>
                    <a:pt x="489" y="322"/>
                  </a:lnTo>
                  <a:lnTo>
                    <a:pt x="486" y="322"/>
                  </a:lnTo>
                  <a:lnTo>
                    <a:pt x="486" y="325"/>
                  </a:lnTo>
                  <a:lnTo>
                    <a:pt x="480" y="328"/>
                  </a:lnTo>
                  <a:lnTo>
                    <a:pt x="477" y="328"/>
                  </a:lnTo>
                  <a:lnTo>
                    <a:pt x="477" y="331"/>
                  </a:lnTo>
                  <a:lnTo>
                    <a:pt x="474" y="334"/>
                  </a:lnTo>
                  <a:lnTo>
                    <a:pt x="477" y="337"/>
                  </a:lnTo>
                  <a:lnTo>
                    <a:pt x="480" y="337"/>
                  </a:lnTo>
                  <a:lnTo>
                    <a:pt x="483" y="337"/>
                  </a:lnTo>
                  <a:lnTo>
                    <a:pt x="483" y="334"/>
                  </a:lnTo>
                  <a:lnTo>
                    <a:pt x="486" y="334"/>
                  </a:lnTo>
                  <a:lnTo>
                    <a:pt x="486" y="337"/>
                  </a:lnTo>
                  <a:lnTo>
                    <a:pt x="489" y="340"/>
                  </a:lnTo>
                  <a:lnTo>
                    <a:pt x="492" y="340"/>
                  </a:lnTo>
                  <a:lnTo>
                    <a:pt x="501" y="343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5" y="346"/>
                  </a:lnTo>
                  <a:lnTo>
                    <a:pt x="495" y="349"/>
                  </a:lnTo>
                  <a:lnTo>
                    <a:pt x="495" y="352"/>
                  </a:lnTo>
                  <a:lnTo>
                    <a:pt x="495" y="355"/>
                  </a:lnTo>
                  <a:lnTo>
                    <a:pt x="492" y="355"/>
                  </a:lnTo>
                  <a:lnTo>
                    <a:pt x="489" y="355"/>
                  </a:lnTo>
                  <a:lnTo>
                    <a:pt x="486" y="355"/>
                  </a:lnTo>
                  <a:lnTo>
                    <a:pt x="483" y="355"/>
                  </a:lnTo>
                  <a:lnTo>
                    <a:pt x="483" y="358"/>
                  </a:lnTo>
                  <a:lnTo>
                    <a:pt x="480" y="358"/>
                  </a:lnTo>
                  <a:lnTo>
                    <a:pt x="477" y="358"/>
                  </a:lnTo>
                  <a:lnTo>
                    <a:pt x="474" y="358"/>
                  </a:lnTo>
                  <a:lnTo>
                    <a:pt x="474" y="361"/>
                  </a:lnTo>
                  <a:lnTo>
                    <a:pt x="471" y="361"/>
                  </a:lnTo>
                  <a:lnTo>
                    <a:pt x="471" y="364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1" y="367"/>
                  </a:lnTo>
                  <a:lnTo>
                    <a:pt x="468" y="367"/>
                  </a:lnTo>
                  <a:lnTo>
                    <a:pt x="465" y="367"/>
                  </a:lnTo>
                  <a:lnTo>
                    <a:pt x="462" y="367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6" y="364"/>
                  </a:lnTo>
                  <a:lnTo>
                    <a:pt x="453" y="364"/>
                  </a:lnTo>
                  <a:lnTo>
                    <a:pt x="450" y="364"/>
                  </a:lnTo>
                  <a:lnTo>
                    <a:pt x="447" y="364"/>
                  </a:lnTo>
                  <a:lnTo>
                    <a:pt x="447" y="361"/>
                  </a:lnTo>
                  <a:lnTo>
                    <a:pt x="444" y="361"/>
                  </a:lnTo>
                  <a:lnTo>
                    <a:pt x="441" y="361"/>
                  </a:lnTo>
                  <a:lnTo>
                    <a:pt x="441" y="358"/>
                  </a:lnTo>
                  <a:lnTo>
                    <a:pt x="438" y="361"/>
                  </a:lnTo>
                  <a:lnTo>
                    <a:pt x="441" y="361"/>
                  </a:lnTo>
                  <a:lnTo>
                    <a:pt x="444" y="361"/>
                  </a:lnTo>
                  <a:lnTo>
                    <a:pt x="444" y="364"/>
                  </a:lnTo>
                  <a:lnTo>
                    <a:pt x="441" y="364"/>
                  </a:lnTo>
                  <a:lnTo>
                    <a:pt x="438" y="364"/>
                  </a:lnTo>
                  <a:lnTo>
                    <a:pt x="438" y="367"/>
                  </a:lnTo>
                  <a:lnTo>
                    <a:pt x="438" y="364"/>
                  </a:lnTo>
                  <a:lnTo>
                    <a:pt x="435" y="364"/>
                  </a:lnTo>
                  <a:lnTo>
                    <a:pt x="432" y="364"/>
                  </a:lnTo>
                  <a:lnTo>
                    <a:pt x="432" y="361"/>
                  </a:lnTo>
                  <a:lnTo>
                    <a:pt x="429" y="361"/>
                  </a:lnTo>
                  <a:lnTo>
                    <a:pt x="426" y="361"/>
                  </a:lnTo>
                  <a:lnTo>
                    <a:pt x="423" y="361"/>
                  </a:lnTo>
                  <a:lnTo>
                    <a:pt x="420" y="358"/>
                  </a:lnTo>
                  <a:lnTo>
                    <a:pt x="420" y="361"/>
                  </a:lnTo>
                  <a:lnTo>
                    <a:pt x="420" y="358"/>
                  </a:lnTo>
                  <a:lnTo>
                    <a:pt x="417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8" y="358"/>
                  </a:lnTo>
                  <a:lnTo>
                    <a:pt x="408" y="355"/>
                  </a:lnTo>
                  <a:lnTo>
                    <a:pt x="405" y="355"/>
                  </a:lnTo>
                  <a:lnTo>
                    <a:pt x="402" y="355"/>
                  </a:lnTo>
                  <a:lnTo>
                    <a:pt x="402" y="358"/>
                  </a:lnTo>
                  <a:lnTo>
                    <a:pt x="399" y="358"/>
                  </a:lnTo>
                  <a:lnTo>
                    <a:pt x="399" y="361"/>
                  </a:lnTo>
                  <a:lnTo>
                    <a:pt x="396" y="361"/>
                  </a:lnTo>
                  <a:lnTo>
                    <a:pt x="393" y="361"/>
                  </a:lnTo>
                  <a:lnTo>
                    <a:pt x="390" y="361"/>
                  </a:lnTo>
                  <a:lnTo>
                    <a:pt x="390" y="364"/>
                  </a:lnTo>
                  <a:lnTo>
                    <a:pt x="387" y="361"/>
                  </a:lnTo>
                  <a:lnTo>
                    <a:pt x="384" y="361"/>
                  </a:lnTo>
                  <a:lnTo>
                    <a:pt x="381" y="361"/>
                  </a:lnTo>
                  <a:lnTo>
                    <a:pt x="378" y="361"/>
                  </a:lnTo>
                  <a:lnTo>
                    <a:pt x="375" y="361"/>
                  </a:lnTo>
                  <a:lnTo>
                    <a:pt x="375" y="364"/>
                  </a:lnTo>
                  <a:lnTo>
                    <a:pt x="372" y="364"/>
                  </a:lnTo>
                  <a:lnTo>
                    <a:pt x="369" y="364"/>
                  </a:lnTo>
                  <a:lnTo>
                    <a:pt x="369" y="367"/>
                  </a:lnTo>
                  <a:lnTo>
                    <a:pt x="366" y="367"/>
                  </a:lnTo>
                  <a:lnTo>
                    <a:pt x="366" y="370"/>
                  </a:lnTo>
                  <a:lnTo>
                    <a:pt x="366" y="373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3" y="376"/>
                  </a:lnTo>
                  <a:lnTo>
                    <a:pt x="360" y="376"/>
                  </a:lnTo>
                  <a:lnTo>
                    <a:pt x="357" y="376"/>
                  </a:lnTo>
                  <a:lnTo>
                    <a:pt x="357" y="379"/>
                  </a:lnTo>
                  <a:lnTo>
                    <a:pt x="354" y="379"/>
                  </a:lnTo>
                  <a:lnTo>
                    <a:pt x="351" y="382"/>
                  </a:lnTo>
                  <a:lnTo>
                    <a:pt x="348" y="385"/>
                  </a:lnTo>
                  <a:lnTo>
                    <a:pt x="351" y="385"/>
                  </a:lnTo>
                  <a:lnTo>
                    <a:pt x="351" y="388"/>
                  </a:lnTo>
                  <a:lnTo>
                    <a:pt x="348" y="388"/>
                  </a:lnTo>
                  <a:lnTo>
                    <a:pt x="348" y="391"/>
                  </a:lnTo>
                  <a:lnTo>
                    <a:pt x="345" y="394"/>
                  </a:lnTo>
                  <a:lnTo>
                    <a:pt x="342" y="394"/>
                  </a:lnTo>
                  <a:lnTo>
                    <a:pt x="339" y="394"/>
                  </a:lnTo>
                  <a:lnTo>
                    <a:pt x="336" y="397"/>
                  </a:lnTo>
                  <a:lnTo>
                    <a:pt x="333" y="397"/>
                  </a:lnTo>
                  <a:lnTo>
                    <a:pt x="330" y="397"/>
                  </a:lnTo>
                  <a:lnTo>
                    <a:pt x="327" y="397"/>
                  </a:lnTo>
                  <a:lnTo>
                    <a:pt x="327" y="394"/>
                  </a:lnTo>
                  <a:lnTo>
                    <a:pt x="324" y="394"/>
                  </a:lnTo>
                  <a:lnTo>
                    <a:pt x="321" y="394"/>
                  </a:lnTo>
                  <a:lnTo>
                    <a:pt x="318" y="394"/>
                  </a:lnTo>
                  <a:lnTo>
                    <a:pt x="315" y="394"/>
                  </a:lnTo>
                  <a:lnTo>
                    <a:pt x="312" y="394"/>
                  </a:lnTo>
                  <a:lnTo>
                    <a:pt x="309" y="394"/>
                  </a:lnTo>
                  <a:lnTo>
                    <a:pt x="309" y="397"/>
                  </a:lnTo>
                  <a:lnTo>
                    <a:pt x="306" y="397"/>
                  </a:lnTo>
                  <a:lnTo>
                    <a:pt x="303" y="397"/>
                  </a:lnTo>
                  <a:lnTo>
                    <a:pt x="303" y="400"/>
                  </a:lnTo>
                  <a:lnTo>
                    <a:pt x="300" y="400"/>
                  </a:lnTo>
                  <a:lnTo>
                    <a:pt x="297" y="400"/>
                  </a:lnTo>
                  <a:lnTo>
                    <a:pt x="294" y="400"/>
                  </a:lnTo>
                  <a:lnTo>
                    <a:pt x="291" y="400"/>
                  </a:lnTo>
                  <a:lnTo>
                    <a:pt x="291" y="397"/>
                  </a:lnTo>
                  <a:lnTo>
                    <a:pt x="288" y="397"/>
                  </a:lnTo>
                  <a:lnTo>
                    <a:pt x="285" y="397"/>
                  </a:lnTo>
                  <a:lnTo>
                    <a:pt x="282" y="394"/>
                  </a:lnTo>
                  <a:lnTo>
                    <a:pt x="279" y="394"/>
                  </a:lnTo>
                  <a:lnTo>
                    <a:pt x="276" y="394"/>
                  </a:lnTo>
                  <a:lnTo>
                    <a:pt x="273" y="394"/>
                  </a:lnTo>
                  <a:lnTo>
                    <a:pt x="270" y="394"/>
                  </a:lnTo>
                  <a:lnTo>
                    <a:pt x="267" y="394"/>
                  </a:lnTo>
                  <a:lnTo>
                    <a:pt x="264" y="394"/>
                  </a:lnTo>
                  <a:lnTo>
                    <a:pt x="261" y="397"/>
                  </a:lnTo>
                  <a:lnTo>
                    <a:pt x="261" y="400"/>
                  </a:lnTo>
                  <a:lnTo>
                    <a:pt x="261" y="403"/>
                  </a:lnTo>
                  <a:lnTo>
                    <a:pt x="261" y="406"/>
                  </a:lnTo>
                  <a:lnTo>
                    <a:pt x="261" y="403"/>
                  </a:lnTo>
                  <a:lnTo>
                    <a:pt x="258" y="403"/>
                  </a:lnTo>
                  <a:lnTo>
                    <a:pt x="255" y="403"/>
                  </a:lnTo>
                  <a:lnTo>
                    <a:pt x="252" y="403"/>
                  </a:lnTo>
                  <a:lnTo>
                    <a:pt x="249" y="403"/>
                  </a:lnTo>
                  <a:lnTo>
                    <a:pt x="246" y="403"/>
                  </a:lnTo>
                  <a:lnTo>
                    <a:pt x="243" y="403"/>
                  </a:lnTo>
                  <a:lnTo>
                    <a:pt x="240" y="403"/>
                  </a:lnTo>
                  <a:lnTo>
                    <a:pt x="237" y="403"/>
                  </a:lnTo>
                  <a:lnTo>
                    <a:pt x="234" y="403"/>
                  </a:lnTo>
                  <a:lnTo>
                    <a:pt x="231" y="406"/>
                  </a:lnTo>
                  <a:lnTo>
                    <a:pt x="228" y="406"/>
                  </a:lnTo>
                  <a:lnTo>
                    <a:pt x="225" y="409"/>
                  </a:lnTo>
                  <a:lnTo>
                    <a:pt x="225" y="412"/>
                  </a:lnTo>
                  <a:lnTo>
                    <a:pt x="222" y="412"/>
                  </a:lnTo>
                  <a:lnTo>
                    <a:pt x="222" y="415"/>
                  </a:lnTo>
                  <a:lnTo>
                    <a:pt x="219" y="415"/>
                  </a:lnTo>
                  <a:lnTo>
                    <a:pt x="216" y="418"/>
                  </a:lnTo>
                  <a:lnTo>
                    <a:pt x="213" y="421"/>
                  </a:lnTo>
                  <a:lnTo>
                    <a:pt x="210" y="421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7"/>
                  </a:lnTo>
                  <a:lnTo>
                    <a:pt x="207" y="427"/>
                  </a:lnTo>
                  <a:lnTo>
                    <a:pt x="204" y="427"/>
                  </a:lnTo>
                  <a:lnTo>
                    <a:pt x="201" y="427"/>
                  </a:lnTo>
                  <a:lnTo>
                    <a:pt x="198" y="430"/>
                  </a:lnTo>
                  <a:lnTo>
                    <a:pt x="195" y="433"/>
                  </a:lnTo>
                  <a:lnTo>
                    <a:pt x="192" y="436"/>
                  </a:lnTo>
                  <a:lnTo>
                    <a:pt x="195" y="439"/>
                  </a:lnTo>
                  <a:lnTo>
                    <a:pt x="192" y="439"/>
                  </a:lnTo>
                  <a:lnTo>
                    <a:pt x="189" y="439"/>
                  </a:lnTo>
                  <a:lnTo>
                    <a:pt x="189" y="442"/>
                  </a:lnTo>
                  <a:lnTo>
                    <a:pt x="186" y="439"/>
                  </a:lnTo>
                  <a:lnTo>
                    <a:pt x="183" y="439"/>
                  </a:lnTo>
                  <a:lnTo>
                    <a:pt x="183" y="436"/>
                  </a:lnTo>
                  <a:lnTo>
                    <a:pt x="180" y="436"/>
                  </a:lnTo>
                  <a:lnTo>
                    <a:pt x="177" y="433"/>
                  </a:lnTo>
                  <a:lnTo>
                    <a:pt x="174" y="433"/>
                  </a:lnTo>
                  <a:lnTo>
                    <a:pt x="171" y="433"/>
                  </a:lnTo>
                  <a:lnTo>
                    <a:pt x="168" y="433"/>
                  </a:lnTo>
                  <a:lnTo>
                    <a:pt x="165" y="433"/>
                  </a:lnTo>
                  <a:lnTo>
                    <a:pt x="162" y="433"/>
                  </a:lnTo>
                  <a:lnTo>
                    <a:pt x="162" y="436"/>
                  </a:lnTo>
                  <a:lnTo>
                    <a:pt x="159" y="436"/>
                  </a:lnTo>
                  <a:lnTo>
                    <a:pt x="159" y="433"/>
                  </a:lnTo>
                  <a:lnTo>
                    <a:pt x="156" y="433"/>
                  </a:lnTo>
                  <a:lnTo>
                    <a:pt x="156" y="430"/>
                  </a:lnTo>
                  <a:lnTo>
                    <a:pt x="153" y="430"/>
                  </a:lnTo>
                  <a:lnTo>
                    <a:pt x="153" y="427"/>
                  </a:lnTo>
                  <a:lnTo>
                    <a:pt x="150" y="427"/>
                  </a:lnTo>
                  <a:lnTo>
                    <a:pt x="150" y="424"/>
                  </a:lnTo>
                  <a:lnTo>
                    <a:pt x="147" y="424"/>
                  </a:lnTo>
                  <a:lnTo>
                    <a:pt x="144" y="424"/>
                  </a:lnTo>
                  <a:lnTo>
                    <a:pt x="144" y="421"/>
                  </a:lnTo>
                  <a:lnTo>
                    <a:pt x="141" y="421"/>
                  </a:lnTo>
                  <a:lnTo>
                    <a:pt x="141" y="418"/>
                  </a:lnTo>
                  <a:lnTo>
                    <a:pt x="138" y="418"/>
                  </a:lnTo>
                  <a:lnTo>
                    <a:pt x="135" y="418"/>
                  </a:lnTo>
                  <a:lnTo>
                    <a:pt x="135" y="421"/>
                  </a:lnTo>
                  <a:lnTo>
                    <a:pt x="132" y="421"/>
                  </a:lnTo>
                  <a:lnTo>
                    <a:pt x="132" y="418"/>
                  </a:lnTo>
                  <a:lnTo>
                    <a:pt x="132" y="421"/>
                  </a:lnTo>
                  <a:lnTo>
                    <a:pt x="129" y="421"/>
                  </a:lnTo>
                  <a:lnTo>
                    <a:pt x="132" y="418"/>
                  </a:lnTo>
                  <a:lnTo>
                    <a:pt x="132" y="415"/>
                  </a:lnTo>
                  <a:lnTo>
                    <a:pt x="135" y="415"/>
                  </a:lnTo>
                  <a:lnTo>
                    <a:pt x="135" y="412"/>
                  </a:lnTo>
                  <a:lnTo>
                    <a:pt x="138" y="412"/>
                  </a:lnTo>
                  <a:lnTo>
                    <a:pt x="138" y="409"/>
                  </a:lnTo>
                  <a:lnTo>
                    <a:pt x="135" y="409"/>
                  </a:lnTo>
                  <a:lnTo>
                    <a:pt x="135" y="406"/>
                  </a:lnTo>
                  <a:lnTo>
                    <a:pt x="135" y="403"/>
                  </a:lnTo>
                  <a:lnTo>
                    <a:pt x="132" y="403"/>
                  </a:lnTo>
                  <a:lnTo>
                    <a:pt x="132" y="400"/>
                  </a:lnTo>
                  <a:lnTo>
                    <a:pt x="129" y="397"/>
                  </a:lnTo>
                  <a:lnTo>
                    <a:pt x="126" y="397"/>
                  </a:lnTo>
                  <a:lnTo>
                    <a:pt x="126" y="400"/>
                  </a:lnTo>
                  <a:lnTo>
                    <a:pt x="123" y="400"/>
                  </a:lnTo>
                  <a:lnTo>
                    <a:pt x="120" y="400"/>
                  </a:lnTo>
                  <a:lnTo>
                    <a:pt x="117" y="400"/>
                  </a:lnTo>
                  <a:lnTo>
                    <a:pt x="114" y="397"/>
                  </a:lnTo>
                  <a:lnTo>
                    <a:pt x="117" y="397"/>
                  </a:lnTo>
                  <a:lnTo>
                    <a:pt x="114" y="394"/>
                  </a:lnTo>
                  <a:lnTo>
                    <a:pt x="111" y="391"/>
                  </a:lnTo>
                  <a:lnTo>
                    <a:pt x="108" y="391"/>
                  </a:lnTo>
                  <a:lnTo>
                    <a:pt x="105" y="391"/>
                  </a:lnTo>
                  <a:lnTo>
                    <a:pt x="102" y="394"/>
                  </a:lnTo>
                  <a:lnTo>
                    <a:pt x="99" y="394"/>
                  </a:lnTo>
                  <a:lnTo>
                    <a:pt x="96" y="394"/>
                  </a:lnTo>
                  <a:lnTo>
                    <a:pt x="93" y="394"/>
                  </a:lnTo>
                  <a:lnTo>
                    <a:pt x="93" y="397"/>
                  </a:lnTo>
                  <a:lnTo>
                    <a:pt x="93" y="394"/>
                  </a:lnTo>
                  <a:lnTo>
                    <a:pt x="90" y="394"/>
                  </a:lnTo>
                  <a:lnTo>
                    <a:pt x="90" y="397"/>
                  </a:lnTo>
                  <a:lnTo>
                    <a:pt x="90" y="394"/>
                  </a:lnTo>
                  <a:lnTo>
                    <a:pt x="90" y="391"/>
                  </a:lnTo>
                  <a:lnTo>
                    <a:pt x="90" y="388"/>
                  </a:lnTo>
                  <a:lnTo>
                    <a:pt x="90" y="385"/>
                  </a:lnTo>
                  <a:lnTo>
                    <a:pt x="93" y="385"/>
                  </a:lnTo>
                  <a:lnTo>
                    <a:pt x="93" y="382"/>
                  </a:lnTo>
                  <a:lnTo>
                    <a:pt x="93" y="379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3" y="373"/>
                  </a:lnTo>
                  <a:lnTo>
                    <a:pt x="93" y="370"/>
                  </a:lnTo>
                  <a:lnTo>
                    <a:pt x="90" y="370"/>
                  </a:lnTo>
                  <a:lnTo>
                    <a:pt x="90" y="367"/>
                  </a:lnTo>
                  <a:lnTo>
                    <a:pt x="87" y="364"/>
                  </a:lnTo>
                  <a:lnTo>
                    <a:pt x="84" y="364"/>
                  </a:lnTo>
                  <a:lnTo>
                    <a:pt x="81" y="364"/>
                  </a:lnTo>
                  <a:lnTo>
                    <a:pt x="78" y="364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69" y="364"/>
                  </a:lnTo>
                  <a:lnTo>
                    <a:pt x="69" y="367"/>
                  </a:lnTo>
                  <a:lnTo>
                    <a:pt x="66" y="367"/>
                  </a:lnTo>
                  <a:lnTo>
                    <a:pt x="63" y="367"/>
                  </a:lnTo>
                  <a:lnTo>
                    <a:pt x="60" y="367"/>
                  </a:lnTo>
                  <a:lnTo>
                    <a:pt x="60" y="370"/>
                  </a:lnTo>
                  <a:lnTo>
                    <a:pt x="57" y="370"/>
                  </a:lnTo>
                  <a:lnTo>
                    <a:pt x="57" y="373"/>
                  </a:lnTo>
                  <a:lnTo>
                    <a:pt x="57" y="376"/>
                  </a:lnTo>
                  <a:lnTo>
                    <a:pt x="60" y="376"/>
                  </a:lnTo>
                  <a:lnTo>
                    <a:pt x="60" y="379"/>
                  </a:lnTo>
                  <a:lnTo>
                    <a:pt x="63" y="379"/>
                  </a:lnTo>
                  <a:lnTo>
                    <a:pt x="63" y="382"/>
                  </a:lnTo>
                  <a:lnTo>
                    <a:pt x="60" y="382"/>
                  </a:lnTo>
                  <a:lnTo>
                    <a:pt x="63" y="385"/>
                  </a:lnTo>
                  <a:lnTo>
                    <a:pt x="60" y="385"/>
                  </a:lnTo>
                  <a:lnTo>
                    <a:pt x="60" y="388"/>
                  </a:lnTo>
                  <a:lnTo>
                    <a:pt x="60" y="391"/>
                  </a:lnTo>
                  <a:lnTo>
                    <a:pt x="63" y="391"/>
                  </a:lnTo>
                  <a:lnTo>
                    <a:pt x="60" y="391"/>
                  </a:lnTo>
                  <a:lnTo>
                    <a:pt x="57" y="391"/>
                  </a:lnTo>
                  <a:lnTo>
                    <a:pt x="57" y="388"/>
                  </a:lnTo>
                  <a:lnTo>
                    <a:pt x="54" y="388"/>
                  </a:lnTo>
                  <a:lnTo>
                    <a:pt x="54" y="385"/>
                  </a:lnTo>
                  <a:lnTo>
                    <a:pt x="54" y="382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48" y="373"/>
                  </a:lnTo>
                  <a:lnTo>
                    <a:pt x="48" y="370"/>
                  </a:lnTo>
                  <a:lnTo>
                    <a:pt x="51" y="370"/>
                  </a:lnTo>
                  <a:lnTo>
                    <a:pt x="51" y="367"/>
                  </a:lnTo>
                  <a:lnTo>
                    <a:pt x="51" y="364"/>
                  </a:lnTo>
                  <a:lnTo>
                    <a:pt x="54" y="364"/>
                  </a:lnTo>
                  <a:lnTo>
                    <a:pt x="51" y="361"/>
                  </a:lnTo>
                  <a:lnTo>
                    <a:pt x="51" y="364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51" y="355"/>
                  </a:lnTo>
                  <a:lnTo>
                    <a:pt x="54" y="352"/>
                  </a:lnTo>
                  <a:lnTo>
                    <a:pt x="54" y="349"/>
                  </a:lnTo>
                  <a:lnTo>
                    <a:pt x="54" y="346"/>
                  </a:lnTo>
                  <a:lnTo>
                    <a:pt x="57" y="346"/>
                  </a:lnTo>
                  <a:lnTo>
                    <a:pt x="57" y="349"/>
                  </a:lnTo>
                  <a:lnTo>
                    <a:pt x="60" y="349"/>
                  </a:lnTo>
                  <a:lnTo>
                    <a:pt x="60" y="346"/>
                  </a:lnTo>
                  <a:lnTo>
                    <a:pt x="63" y="346"/>
                  </a:lnTo>
                  <a:lnTo>
                    <a:pt x="63" y="343"/>
                  </a:lnTo>
                  <a:lnTo>
                    <a:pt x="63" y="340"/>
                  </a:lnTo>
                  <a:lnTo>
                    <a:pt x="60" y="337"/>
                  </a:lnTo>
                  <a:lnTo>
                    <a:pt x="60" y="334"/>
                  </a:lnTo>
                  <a:lnTo>
                    <a:pt x="60" y="331"/>
                  </a:lnTo>
                  <a:lnTo>
                    <a:pt x="57" y="331"/>
                  </a:lnTo>
                  <a:lnTo>
                    <a:pt x="57" y="328"/>
                  </a:lnTo>
                  <a:lnTo>
                    <a:pt x="60" y="328"/>
                  </a:lnTo>
                  <a:lnTo>
                    <a:pt x="60" y="325"/>
                  </a:lnTo>
                  <a:lnTo>
                    <a:pt x="57" y="325"/>
                  </a:lnTo>
                  <a:lnTo>
                    <a:pt x="57" y="322"/>
                  </a:lnTo>
                  <a:lnTo>
                    <a:pt x="57" y="319"/>
                  </a:lnTo>
                  <a:lnTo>
                    <a:pt x="54" y="319"/>
                  </a:lnTo>
                  <a:lnTo>
                    <a:pt x="54" y="316"/>
                  </a:lnTo>
                  <a:lnTo>
                    <a:pt x="51" y="316"/>
                  </a:lnTo>
                  <a:lnTo>
                    <a:pt x="51" y="313"/>
                  </a:lnTo>
                  <a:lnTo>
                    <a:pt x="48" y="313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8" y="304"/>
                  </a:lnTo>
                  <a:lnTo>
                    <a:pt x="45" y="301"/>
                  </a:lnTo>
                  <a:lnTo>
                    <a:pt x="45" y="298"/>
                  </a:lnTo>
                  <a:lnTo>
                    <a:pt x="42" y="298"/>
                  </a:lnTo>
                  <a:lnTo>
                    <a:pt x="42" y="295"/>
                  </a:lnTo>
                  <a:lnTo>
                    <a:pt x="39" y="295"/>
                  </a:lnTo>
                  <a:lnTo>
                    <a:pt x="36" y="295"/>
                  </a:lnTo>
                  <a:lnTo>
                    <a:pt x="36" y="292"/>
                  </a:lnTo>
                  <a:lnTo>
                    <a:pt x="33" y="292"/>
                  </a:lnTo>
                  <a:lnTo>
                    <a:pt x="36" y="289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80"/>
                  </a:lnTo>
                  <a:lnTo>
                    <a:pt x="30" y="277"/>
                  </a:lnTo>
                  <a:lnTo>
                    <a:pt x="27" y="277"/>
                  </a:lnTo>
                  <a:lnTo>
                    <a:pt x="27" y="274"/>
                  </a:lnTo>
                  <a:lnTo>
                    <a:pt x="24" y="274"/>
                  </a:lnTo>
                  <a:lnTo>
                    <a:pt x="24" y="271"/>
                  </a:lnTo>
                  <a:lnTo>
                    <a:pt x="21" y="271"/>
                  </a:lnTo>
                  <a:lnTo>
                    <a:pt x="21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4" y="268"/>
                  </a:lnTo>
                  <a:lnTo>
                    <a:pt x="24" y="271"/>
                  </a:lnTo>
                  <a:lnTo>
                    <a:pt x="27" y="271"/>
                  </a:lnTo>
                  <a:lnTo>
                    <a:pt x="27" y="274"/>
                  </a:lnTo>
                  <a:lnTo>
                    <a:pt x="30" y="274"/>
                  </a:lnTo>
                  <a:lnTo>
                    <a:pt x="30" y="277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27" y="268"/>
                  </a:lnTo>
                  <a:lnTo>
                    <a:pt x="24" y="265"/>
                  </a:lnTo>
                  <a:lnTo>
                    <a:pt x="24" y="262"/>
                  </a:lnTo>
                  <a:lnTo>
                    <a:pt x="27" y="262"/>
                  </a:lnTo>
                  <a:lnTo>
                    <a:pt x="24" y="259"/>
                  </a:lnTo>
                  <a:lnTo>
                    <a:pt x="24" y="256"/>
                  </a:lnTo>
                  <a:lnTo>
                    <a:pt x="21" y="256"/>
                  </a:lnTo>
                  <a:lnTo>
                    <a:pt x="18" y="256"/>
                  </a:lnTo>
                  <a:lnTo>
                    <a:pt x="18" y="259"/>
                  </a:lnTo>
                  <a:lnTo>
                    <a:pt x="21" y="259"/>
                  </a:lnTo>
                  <a:lnTo>
                    <a:pt x="18" y="259"/>
                  </a:lnTo>
                  <a:lnTo>
                    <a:pt x="15" y="259"/>
                  </a:lnTo>
                  <a:lnTo>
                    <a:pt x="15" y="262"/>
                  </a:lnTo>
                  <a:lnTo>
                    <a:pt x="15" y="259"/>
                  </a:lnTo>
                  <a:lnTo>
                    <a:pt x="12" y="259"/>
                  </a:lnTo>
                  <a:lnTo>
                    <a:pt x="15" y="259"/>
                  </a:lnTo>
                  <a:lnTo>
                    <a:pt x="15" y="256"/>
                  </a:lnTo>
                  <a:lnTo>
                    <a:pt x="12" y="256"/>
                  </a:lnTo>
                  <a:lnTo>
                    <a:pt x="9" y="256"/>
                  </a:lnTo>
                  <a:lnTo>
                    <a:pt x="12" y="256"/>
                  </a:lnTo>
                  <a:lnTo>
                    <a:pt x="12" y="253"/>
                  </a:lnTo>
                  <a:lnTo>
                    <a:pt x="12" y="250"/>
                  </a:lnTo>
                  <a:lnTo>
                    <a:pt x="12" y="247"/>
                  </a:lnTo>
                  <a:lnTo>
                    <a:pt x="9" y="247"/>
                  </a:lnTo>
                  <a:lnTo>
                    <a:pt x="9" y="244"/>
                  </a:lnTo>
                  <a:lnTo>
                    <a:pt x="12" y="244"/>
                  </a:lnTo>
                  <a:lnTo>
                    <a:pt x="12" y="241"/>
                  </a:lnTo>
                  <a:lnTo>
                    <a:pt x="9" y="241"/>
                  </a:lnTo>
                  <a:lnTo>
                    <a:pt x="9" y="238"/>
                  </a:lnTo>
                  <a:lnTo>
                    <a:pt x="12" y="238"/>
                  </a:lnTo>
                  <a:lnTo>
                    <a:pt x="12" y="235"/>
                  </a:lnTo>
                  <a:lnTo>
                    <a:pt x="12" y="232"/>
                  </a:lnTo>
                  <a:lnTo>
                    <a:pt x="12" y="229"/>
                  </a:lnTo>
                  <a:lnTo>
                    <a:pt x="15" y="229"/>
                  </a:lnTo>
                  <a:lnTo>
                    <a:pt x="15" y="226"/>
                  </a:lnTo>
                  <a:lnTo>
                    <a:pt x="15" y="229"/>
                  </a:lnTo>
                  <a:lnTo>
                    <a:pt x="18" y="229"/>
                  </a:lnTo>
                  <a:lnTo>
                    <a:pt x="18" y="226"/>
                  </a:lnTo>
                  <a:lnTo>
                    <a:pt x="21" y="226"/>
                  </a:lnTo>
                  <a:lnTo>
                    <a:pt x="18" y="226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32"/>
                  </a:lnTo>
                  <a:lnTo>
                    <a:pt x="24" y="232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3" y="232"/>
                  </a:lnTo>
                  <a:lnTo>
                    <a:pt x="36" y="232"/>
                  </a:lnTo>
                  <a:lnTo>
                    <a:pt x="36" y="229"/>
                  </a:lnTo>
                  <a:lnTo>
                    <a:pt x="39" y="226"/>
                  </a:lnTo>
                  <a:lnTo>
                    <a:pt x="42" y="223"/>
                  </a:lnTo>
                  <a:lnTo>
                    <a:pt x="45" y="220"/>
                  </a:lnTo>
                  <a:lnTo>
                    <a:pt x="45" y="217"/>
                  </a:lnTo>
                  <a:lnTo>
                    <a:pt x="45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08"/>
                  </a:lnTo>
                  <a:lnTo>
                    <a:pt x="48" y="205"/>
                  </a:lnTo>
                  <a:lnTo>
                    <a:pt x="48" y="202"/>
                  </a:lnTo>
                  <a:lnTo>
                    <a:pt x="48" y="199"/>
                  </a:lnTo>
                  <a:lnTo>
                    <a:pt x="48" y="196"/>
                  </a:lnTo>
                  <a:lnTo>
                    <a:pt x="48" y="190"/>
                  </a:lnTo>
                  <a:lnTo>
                    <a:pt x="48" y="187"/>
                  </a:lnTo>
                  <a:lnTo>
                    <a:pt x="51" y="187"/>
                  </a:lnTo>
                  <a:lnTo>
                    <a:pt x="51" y="184"/>
                  </a:lnTo>
                  <a:lnTo>
                    <a:pt x="51" y="181"/>
                  </a:lnTo>
                  <a:lnTo>
                    <a:pt x="48" y="181"/>
                  </a:lnTo>
                  <a:lnTo>
                    <a:pt x="48" y="178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5" y="150"/>
                  </a:lnTo>
                  <a:lnTo>
                    <a:pt x="42" y="150"/>
                  </a:lnTo>
                  <a:lnTo>
                    <a:pt x="45" y="150"/>
                  </a:lnTo>
                  <a:lnTo>
                    <a:pt x="45" y="147"/>
                  </a:lnTo>
                  <a:lnTo>
                    <a:pt x="45" y="144"/>
                  </a:lnTo>
                  <a:lnTo>
                    <a:pt x="42" y="141"/>
                  </a:lnTo>
                  <a:lnTo>
                    <a:pt x="42" y="138"/>
                  </a:lnTo>
                  <a:lnTo>
                    <a:pt x="42" y="135"/>
                  </a:lnTo>
                  <a:lnTo>
                    <a:pt x="39" y="135"/>
                  </a:lnTo>
                  <a:lnTo>
                    <a:pt x="39" y="132"/>
                  </a:lnTo>
                  <a:lnTo>
                    <a:pt x="39" y="129"/>
                  </a:lnTo>
                  <a:lnTo>
                    <a:pt x="39" y="126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3"/>
                  </a:lnTo>
                  <a:lnTo>
                    <a:pt x="33" y="120"/>
                  </a:lnTo>
                  <a:lnTo>
                    <a:pt x="33" y="117"/>
                  </a:lnTo>
                  <a:lnTo>
                    <a:pt x="30" y="117"/>
                  </a:lnTo>
                  <a:lnTo>
                    <a:pt x="30" y="114"/>
                  </a:lnTo>
                  <a:lnTo>
                    <a:pt x="30" y="111"/>
                  </a:lnTo>
                  <a:lnTo>
                    <a:pt x="27" y="111"/>
                  </a:lnTo>
                  <a:lnTo>
                    <a:pt x="27" y="108"/>
                  </a:lnTo>
                  <a:lnTo>
                    <a:pt x="24" y="108"/>
                  </a:lnTo>
                  <a:lnTo>
                    <a:pt x="24" y="105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2" y="90"/>
                  </a:lnTo>
                  <a:lnTo>
                    <a:pt x="12" y="87"/>
                  </a:lnTo>
                  <a:lnTo>
                    <a:pt x="12" y="84"/>
                  </a:lnTo>
                  <a:lnTo>
                    <a:pt x="9" y="84"/>
                  </a:lnTo>
                  <a:lnTo>
                    <a:pt x="9" y="81"/>
                  </a:lnTo>
                  <a:lnTo>
                    <a:pt x="6" y="78"/>
                  </a:lnTo>
                  <a:lnTo>
                    <a:pt x="3" y="75"/>
                  </a:lnTo>
                  <a:lnTo>
                    <a:pt x="0" y="72"/>
                  </a:lnTo>
                  <a:lnTo>
                    <a:pt x="6" y="75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83" name="Text Box 43">
              <a:extLst>
                <a:ext uri="{FF2B5EF4-FFF2-40B4-BE49-F238E27FC236}">
                  <a16:creationId xmlns:a16="http://schemas.microsoft.com/office/drawing/2014/main" id="{0794796B-54C3-4AF5-9DDA-80934CFDAC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09715" y="3979863"/>
              <a:ext cx="901700" cy="2301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EC</a:t>
              </a:r>
            </a:p>
            <a:p>
              <a:pPr algn="ctr" eaLnBrk="1" hangingPunct="1"/>
              <a:r>
                <a:rPr lang="en-US" altLang="en-US" sz="1000" b="1" dirty="0"/>
                <a:t>0.3</a:t>
              </a:r>
            </a:p>
          </p:txBody>
        </p:sp>
        <p:sp>
          <p:nvSpPr>
            <p:cNvPr id="184" name="Text Box 44">
              <a:extLst>
                <a:ext uri="{FF2B5EF4-FFF2-40B4-BE49-F238E27FC236}">
                  <a16:creationId xmlns:a16="http://schemas.microsoft.com/office/drawing/2014/main" id="{9C286F87-B060-4563-A747-FD189EE38B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1513" y="3502025"/>
              <a:ext cx="931862" cy="27305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C</a:t>
              </a:r>
            </a:p>
            <a:p>
              <a:pPr algn="ctr" eaLnBrk="1" hangingPunct="1"/>
              <a:r>
                <a:rPr lang="en-US" altLang="en-US" sz="1000" b="1" dirty="0"/>
                <a:t>12.4</a:t>
              </a:r>
            </a:p>
          </p:txBody>
        </p:sp>
        <p:sp>
          <p:nvSpPr>
            <p:cNvPr id="185" name="Text Box 45">
              <a:extLst>
                <a:ext uri="{FF2B5EF4-FFF2-40B4-BE49-F238E27FC236}">
                  <a16:creationId xmlns:a16="http://schemas.microsoft.com/office/drawing/2014/main" id="{CABD567F-5D48-4E37-A65B-081F3A6A33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11416" y="2902745"/>
              <a:ext cx="776287" cy="2778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W</a:t>
              </a:r>
            </a:p>
            <a:p>
              <a:pPr algn="ctr" eaLnBrk="1" hangingPunct="1"/>
              <a:r>
                <a:rPr lang="en-US" altLang="en-US" sz="1000" b="1" dirty="0"/>
                <a:t>3.3</a:t>
              </a:r>
            </a:p>
          </p:txBody>
        </p:sp>
        <p:sp>
          <p:nvSpPr>
            <p:cNvPr id="186" name="Text Box 46">
              <a:extLst>
                <a:ext uri="{FF2B5EF4-FFF2-40B4-BE49-F238E27FC236}">
                  <a16:creationId xmlns:a16="http://schemas.microsoft.com/office/drawing/2014/main" id="{DE66541E-FB93-4524-92CE-702D9D6F4D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8542" y="3263900"/>
              <a:ext cx="668337" cy="328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FS</a:t>
              </a:r>
            </a:p>
            <a:p>
              <a:pPr algn="ctr" eaLnBrk="1" hangingPunct="1"/>
              <a:r>
                <a:rPr lang="en-US" altLang="en-US" sz="1000" b="1" dirty="0"/>
                <a:t>8.9</a:t>
              </a:r>
            </a:p>
          </p:txBody>
        </p:sp>
        <p:sp>
          <p:nvSpPr>
            <p:cNvPr id="187" name="Text Box 47">
              <a:extLst>
                <a:ext uri="{FF2B5EF4-FFF2-40B4-BE49-F238E27FC236}">
                  <a16:creationId xmlns:a16="http://schemas.microsoft.com/office/drawing/2014/main" id="{E6FBA77E-595F-48A9-8CA4-5922566BAB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46700" y="2619375"/>
              <a:ext cx="345099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MP</a:t>
              </a:r>
            </a:p>
            <a:p>
              <a:pPr algn="ctr" eaLnBrk="1" hangingPunct="1"/>
              <a:r>
                <a:rPr lang="en-US" altLang="en-US" sz="1000" b="1" dirty="0"/>
                <a:t>3.0</a:t>
              </a:r>
            </a:p>
          </p:txBody>
        </p:sp>
        <p:sp>
          <p:nvSpPr>
            <p:cNvPr id="188" name="Text Box 48">
              <a:extLst>
                <a:ext uri="{FF2B5EF4-FFF2-40B4-BE49-F238E27FC236}">
                  <a16:creationId xmlns:a16="http://schemas.microsoft.com/office/drawing/2014/main" id="{B648BB13-3C27-48C9-9DC8-920DE29572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02074" y="2356345"/>
              <a:ext cx="765175" cy="414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LP</a:t>
              </a:r>
            </a:p>
            <a:p>
              <a:pPr algn="ctr" eaLnBrk="1" hangingPunct="1"/>
              <a:r>
                <a:rPr lang="en-US" altLang="en-US" sz="1000" b="1" dirty="0"/>
                <a:t>0.4</a:t>
              </a:r>
            </a:p>
          </p:txBody>
        </p:sp>
        <p:sp>
          <p:nvSpPr>
            <p:cNvPr id="189" name="Text Box 49">
              <a:extLst>
                <a:ext uri="{FF2B5EF4-FFF2-40B4-BE49-F238E27FC236}">
                  <a16:creationId xmlns:a16="http://schemas.microsoft.com/office/drawing/2014/main" id="{71F140B4-F47D-4DCF-A4EA-A7F605E603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3000" y="2403475"/>
              <a:ext cx="703263" cy="250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GP</a:t>
              </a:r>
            </a:p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2.4</a:t>
              </a:r>
              <a:endParaRPr lang="en-US" altLang="en-US" sz="1000" b="1" dirty="0"/>
            </a:p>
          </p:txBody>
        </p:sp>
        <p:sp>
          <p:nvSpPr>
            <p:cNvPr id="190" name="Text Box 50">
              <a:extLst>
                <a:ext uri="{FF2B5EF4-FFF2-40B4-BE49-F238E27FC236}">
                  <a16:creationId xmlns:a16="http://schemas.microsoft.com/office/drawing/2014/main" id="{E064B608-F66B-46D6-84B9-11C7019EE5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96185" y="3186112"/>
              <a:ext cx="687387" cy="4333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KZN</a:t>
              </a:r>
            </a:p>
            <a:p>
              <a:pPr algn="ctr" eaLnBrk="1" hangingPunct="1"/>
              <a:r>
                <a:rPr lang="en-US" altLang="en-US" sz="1000" b="1" dirty="0"/>
                <a:t>0.6</a:t>
              </a:r>
            </a:p>
          </p:txBody>
        </p:sp>
        <p:sp>
          <p:nvSpPr>
            <p:cNvPr id="191" name="Line 51">
              <a:extLst>
                <a:ext uri="{FF2B5EF4-FFF2-40B4-BE49-F238E27FC236}">
                  <a16:creationId xmlns:a16="http://schemas.microsoft.com/office/drawing/2014/main" id="{ECDE194E-B53D-4E5B-B8F3-96023459B4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8938" y="2568575"/>
              <a:ext cx="495300" cy="3857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92" name="Line 52">
              <a:extLst>
                <a:ext uri="{FF2B5EF4-FFF2-40B4-BE49-F238E27FC236}">
                  <a16:creationId xmlns:a16="http://schemas.microsoft.com/office/drawing/2014/main" id="{02677457-AE75-4DF2-9A90-5BD3371A67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80000" y="2733675"/>
              <a:ext cx="331788" cy="555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93" name="Text Box 44">
              <a:extLst>
                <a:ext uri="{FF2B5EF4-FFF2-40B4-BE49-F238E27FC236}">
                  <a16:creationId xmlns:a16="http://schemas.microsoft.com/office/drawing/2014/main" id="{A3C8FA54-DB1A-499B-95FE-7F7B3CDBAC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55132" y="4228554"/>
              <a:ext cx="931862" cy="196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WC</a:t>
              </a:r>
            </a:p>
            <a:p>
              <a:pPr algn="ctr" eaLnBrk="1" hangingPunct="1"/>
              <a:r>
                <a:rPr lang="en-US" altLang="en-US" sz="1000" b="1" dirty="0"/>
                <a:t>1.9</a:t>
              </a:r>
            </a:p>
          </p:txBody>
        </p:sp>
      </p:grpSp>
      <p:sp>
        <p:nvSpPr>
          <p:cNvPr id="194" name="TextBox 193">
            <a:extLst>
              <a:ext uri="{FF2B5EF4-FFF2-40B4-BE49-F238E27FC236}">
                <a16:creationId xmlns:a16="http://schemas.microsoft.com/office/drawing/2014/main" id="{83A7D987-8FED-481D-A709-4472688E977F}"/>
              </a:ext>
            </a:extLst>
          </p:cNvPr>
          <p:cNvSpPr txBox="1"/>
          <p:nvPr/>
        </p:nvSpPr>
        <p:spPr>
          <a:xfrm>
            <a:off x="468450" y="4665705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3 May</a:t>
            </a:r>
          </a:p>
        </p:txBody>
      </p:sp>
      <p:grpSp>
        <p:nvGrpSpPr>
          <p:cNvPr id="91" name="Group 5">
            <a:extLst>
              <a:ext uri="{FF2B5EF4-FFF2-40B4-BE49-F238E27FC236}">
                <a16:creationId xmlns:a16="http://schemas.microsoft.com/office/drawing/2014/main" id="{4FA2F6EF-67A1-4296-8D20-AA6CA934AEF0}"/>
              </a:ext>
            </a:extLst>
          </p:cNvPr>
          <p:cNvGrpSpPr>
            <a:grpSpLocks/>
          </p:cNvGrpSpPr>
          <p:nvPr/>
        </p:nvGrpSpPr>
        <p:grpSpPr bwMode="auto">
          <a:xfrm>
            <a:off x="2774401" y="1973346"/>
            <a:ext cx="3139557" cy="2689681"/>
            <a:chOff x="2747963" y="2200275"/>
            <a:chExt cx="2968919" cy="2397125"/>
          </a:xfrm>
        </p:grpSpPr>
        <p:sp>
          <p:nvSpPr>
            <p:cNvPr id="92" name="Freeform 28">
              <a:extLst>
                <a:ext uri="{FF2B5EF4-FFF2-40B4-BE49-F238E27FC236}">
                  <a16:creationId xmlns:a16="http://schemas.microsoft.com/office/drawing/2014/main" id="{A44592FC-F9EC-4678-9BB5-10D4F01898B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89438" y="2200275"/>
              <a:ext cx="903287" cy="577850"/>
            </a:xfrm>
            <a:custGeom>
              <a:avLst/>
              <a:gdLst>
                <a:gd name="T0" fmla="*/ 194827 w 459"/>
                <a:gd name="T1" fmla="*/ 206375 h 294"/>
                <a:gd name="T2" fmla="*/ 224346 w 459"/>
                <a:gd name="T3" fmla="*/ 188686 h 294"/>
                <a:gd name="T4" fmla="*/ 253865 w 459"/>
                <a:gd name="T5" fmla="*/ 165100 h 294"/>
                <a:gd name="T6" fmla="*/ 277480 w 459"/>
                <a:gd name="T7" fmla="*/ 123825 h 294"/>
                <a:gd name="T8" fmla="*/ 312903 w 459"/>
                <a:gd name="T9" fmla="*/ 88446 h 294"/>
                <a:gd name="T10" fmla="*/ 377846 w 459"/>
                <a:gd name="T11" fmla="*/ 76654 h 294"/>
                <a:gd name="T12" fmla="*/ 419172 w 459"/>
                <a:gd name="T13" fmla="*/ 47171 h 294"/>
                <a:gd name="T14" fmla="*/ 448692 w 459"/>
                <a:gd name="T15" fmla="*/ 17689 h 294"/>
                <a:gd name="T16" fmla="*/ 501826 w 459"/>
                <a:gd name="T17" fmla="*/ 11793 h 294"/>
                <a:gd name="T18" fmla="*/ 554961 w 459"/>
                <a:gd name="T19" fmla="*/ 5896 h 294"/>
                <a:gd name="T20" fmla="*/ 608095 w 459"/>
                <a:gd name="T21" fmla="*/ 29482 h 294"/>
                <a:gd name="T22" fmla="*/ 661230 w 459"/>
                <a:gd name="T23" fmla="*/ 41275 h 294"/>
                <a:gd name="T24" fmla="*/ 702557 w 459"/>
                <a:gd name="T25" fmla="*/ 35379 h 294"/>
                <a:gd name="T26" fmla="*/ 755691 w 459"/>
                <a:gd name="T27" fmla="*/ 35379 h 294"/>
                <a:gd name="T28" fmla="*/ 797018 w 459"/>
                <a:gd name="T29" fmla="*/ 47171 h 294"/>
                <a:gd name="T30" fmla="*/ 832441 w 459"/>
                <a:gd name="T31" fmla="*/ 129721 h 294"/>
                <a:gd name="T32" fmla="*/ 861960 w 459"/>
                <a:gd name="T33" fmla="*/ 259443 h 294"/>
                <a:gd name="T34" fmla="*/ 903287 w 459"/>
                <a:gd name="T35" fmla="*/ 336096 h 294"/>
                <a:gd name="T36" fmla="*/ 856056 w 459"/>
                <a:gd name="T37" fmla="*/ 341993 h 294"/>
                <a:gd name="T38" fmla="*/ 808826 w 459"/>
                <a:gd name="T39" fmla="*/ 353786 h 294"/>
                <a:gd name="T40" fmla="*/ 820633 w 459"/>
                <a:gd name="T41" fmla="*/ 406854 h 294"/>
                <a:gd name="T42" fmla="*/ 856056 w 459"/>
                <a:gd name="T43" fmla="*/ 454025 h 294"/>
                <a:gd name="T44" fmla="*/ 814729 w 459"/>
                <a:gd name="T45" fmla="*/ 489404 h 294"/>
                <a:gd name="T46" fmla="*/ 814729 w 459"/>
                <a:gd name="T47" fmla="*/ 512989 h 294"/>
                <a:gd name="T48" fmla="*/ 797018 w 459"/>
                <a:gd name="T49" fmla="*/ 518886 h 294"/>
                <a:gd name="T50" fmla="*/ 797018 w 459"/>
                <a:gd name="T51" fmla="*/ 501196 h 294"/>
                <a:gd name="T52" fmla="*/ 767499 w 459"/>
                <a:gd name="T53" fmla="*/ 471714 h 294"/>
                <a:gd name="T54" fmla="*/ 761595 w 459"/>
                <a:gd name="T55" fmla="*/ 442232 h 294"/>
                <a:gd name="T56" fmla="*/ 714364 w 459"/>
                <a:gd name="T57" fmla="*/ 436336 h 294"/>
                <a:gd name="T58" fmla="*/ 655326 w 459"/>
                <a:gd name="T59" fmla="*/ 442232 h 294"/>
                <a:gd name="T60" fmla="*/ 625807 w 459"/>
                <a:gd name="T61" fmla="*/ 465818 h 294"/>
                <a:gd name="T62" fmla="*/ 596287 w 459"/>
                <a:gd name="T63" fmla="*/ 501196 h 294"/>
                <a:gd name="T64" fmla="*/ 554961 w 459"/>
                <a:gd name="T65" fmla="*/ 524782 h 294"/>
                <a:gd name="T66" fmla="*/ 507730 w 459"/>
                <a:gd name="T67" fmla="*/ 542471 h 294"/>
                <a:gd name="T68" fmla="*/ 495922 w 459"/>
                <a:gd name="T69" fmla="*/ 507093 h 294"/>
                <a:gd name="T70" fmla="*/ 501826 w 459"/>
                <a:gd name="T71" fmla="*/ 471714 h 294"/>
                <a:gd name="T72" fmla="*/ 460499 w 459"/>
                <a:gd name="T73" fmla="*/ 501196 h 294"/>
                <a:gd name="T74" fmla="*/ 401461 w 459"/>
                <a:gd name="T75" fmla="*/ 507093 h 294"/>
                <a:gd name="T76" fmla="*/ 354230 w 459"/>
                <a:gd name="T77" fmla="*/ 530679 h 294"/>
                <a:gd name="T78" fmla="*/ 348326 w 459"/>
                <a:gd name="T79" fmla="*/ 554264 h 294"/>
                <a:gd name="T80" fmla="*/ 377846 w 459"/>
                <a:gd name="T81" fmla="*/ 560161 h 294"/>
                <a:gd name="T82" fmla="*/ 336519 w 459"/>
                <a:gd name="T83" fmla="*/ 577850 h 294"/>
                <a:gd name="T84" fmla="*/ 289288 w 459"/>
                <a:gd name="T85" fmla="*/ 554264 h 294"/>
                <a:gd name="T86" fmla="*/ 301096 w 459"/>
                <a:gd name="T87" fmla="*/ 536575 h 294"/>
                <a:gd name="T88" fmla="*/ 259769 w 459"/>
                <a:gd name="T89" fmla="*/ 512989 h 294"/>
                <a:gd name="T90" fmla="*/ 194827 w 459"/>
                <a:gd name="T91" fmla="*/ 512989 h 294"/>
                <a:gd name="T92" fmla="*/ 153500 w 459"/>
                <a:gd name="T93" fmla="*/ 536575 h 294"/>
                <a:gd name="T94" fmla="*/ 123981 w 459"/>
                <a:gd name="T95" fmla="*/ 507093 h 294"/>
                <a:gd name="T96" fmla="*/ 53135 w 459"/>
                <a:gd name="T97" fmla="*/ 495300 h 294"/>
                <a:gd name="T98" fmla="*/ 5904 w 459"/>
                <a:gd name="T99" fmla="*/ 477611 h 294"/>
                <a:gd name="T100" fmla="*/ 0 w 459"/>
                <a:gd name="T101" fmla="*/ 454025 h 294"/>
                <a:gd name="T102" fmla="*/ 29519 w 459"/>
                <a:gd name="T103" fmla="*/ 412750 h 294"/>
                <a:gd name="T104" fmla="*/ 64942 w 459"/>
                <a:gd name="T105" fmla="*/ 389164 h 294"/>
                <a:gd name="T106" fmla="*/ 82654 w 459"/>
                <a:gd name="T107" fmla="*/ 341993 h 294"/>
                <a:gd name="T108" fmla="*/ 94461 w 459"/>
                <a:gd name="T109" fmla="*/ 294821 h 294"/>
                <a:gd name="T110" fmla="*/ 106269 w 459"/>
                <a:gd name="T111" fmla="*/ 265339 h 294"/>
                <a:gd name="T112" fmla="*/ 129884 w 459"/>
                <a:gd name="T113" fmla="*/ 247650 h 294"/>
                <a:gd name="T114" fmla="*/ 153500 w 459"/>
                <a:gd name="T115" fmla="*/ 229961 h 2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459" h="294">
                  <a:moveTo>
                    <a:pt x="84" y="120"/>
                  </a:moveTo>
                  <a:lnTo>
                    <a:pt x="87" y="120"/>
                  </a:lnTo>
                  <a:lnTo>
                    <a:pt x="87" y="117"/>
                  </a:lnTo>
                  <a:lnTo>
                    <a:pt x="87" y="114"/>
                  </a:lnTo>
                  <a:lnTo>
                    <a:pt x="90" y="114"/>
                  </a:lnTo>
                  <a:lnTo>
                    <a:pt x="93" y="114"/>
                  </a:lnTo>
                  <a:lnTo>
                    <a:pt x="96" y="114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9" y="108"/>
                  </a:lnTo>
                  <a:lnTo>
                    <a:pt x="99" y="105"/>
                  </a:lnTo>
                  <a:lnTo>
                    <a:pt x="99" y="102"/>
                  </a:lnTo>
                  <a:lnTo>
                    <a:pt x="99" y="99"/>
                  </a:lnTo>
                  <a:lnTo>
                    <a:pt x="102" y="99"/>
                  </a:lnTo>
                  <a:lnTo>
                    <a:pt x="105" y="99"/>
                  </a:lnTo>
                  <a:lnTo>
                    <a:pt x="105" y="102"/>
                  </a:lnTo>
                  <a:lnTo>
                    <a:pt x="105" y="99"/>
                  </a:lnTo>
                  <a:lnTo>
                    <a:pt x="108" y="99"/>
                  </a:lnTo>
                  <a:lnTo>
                    <a:pt x="111" y="102"/>
                  </a:lnTo>
                  <a:lnTo>
                    <a:pt x="111" y="99"/>
                  </a:lnTo>
                  <a:lnTo>
                    <a:pt x="114" y="99"/>
                  </a:lnTo>
                  <a:lnTo>
                    <a:pt x="114" y="96"/>
                  </a:lnTo>
                  <a:lnTo>
                    <a:pt x="117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7" y="93"/>
                  </a:lnTo>
                  <a:lnTo>
                    <a:pt x="117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87"/>
                  </a:lnTo>
                  <a:lnTo>
                    <a:pt x="126" y="87"/>
                  </a:lnTo>
                  <a:lnTo>
                    <a:pt x="126" y="84"/>
                  </a:lnTo>
                  <a:lnTo>
                    <a:pt x="129" y="84"/>
                  </a:lnTo>
                  <a:lnTo>
                    <a:pt x="129" y="81"/>
                  </a:lnTo>
                  <a:lnTo>
                    <a:pt x="129" y="78"/>
                  </a:lnTo>
                  <a:lnTo>
                    <a:pt x="129" y="75"/>
                  </a:lnTo>
                  <a:lnTo>
                    <a:pt x="132" y="75"/>
                  </a:lnTo>
                  <a:lnTo>
                    <a:pt x="135" y="75"/>
                  </a:lnTo>
                  <a:lnTo>
                    <a:pt x="135" y="72"/>
                  </a:lnTo>
                  <a:lnTo>
                    <a:pt x="138" y="72"/>
                  </a:lnTo>
                  <a:lnTo>
                    <a:pt x="138" y="69"/>
                  </a:lnTo>
                  <a:lnTo>
                    <a:pt x="138" y="66"/>
                  </a:lnTo>
                  <a:lnTo>
                    <a:pt x="138" y="63"/>
                  </a:lnTo>
                  <a:lnTo>
                    <a:pt x="141" y="63"/>
                  </a:lnTo>
                  <a:lnTo>
                    <a:pt x="144" y="60"/>
                  </a:lnTo>
                  <a:lnTo>
                    <a:pt x="147" y="60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50" y="51"/>
                  </a:lnTo>
                  <a:lnTo>
                    <a:pt x="153" y="51"/>
                  </a:lnTo>
                  <a:lnTo>
                    <a:pt x="153" y="48"/>
                  </a:lnTo>
                  <a:lnTo>
                    <a:pt x="156" y="48"/>
                  </a:lnTo>
                  <a:lnTo>
                    <a:pt x="156" y="45"/>
                  </a:lnTo>
                  <a:lnTo>
                    <a:pt x="159" y="45"/>
                  </a:lnTo>
                  <a:lnTo>
                    <a:pt x="162" y="42"/>
                  </a:lnTo>
                  <a:lnTo>
                    <a:pt x="165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4" y="42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2" y="36"/>
                  </a:lnTo>
                  <a:lnTo>
                    <a:pt x="195" y="36"/>
                  </a:lnTo>
                  <a:lnTo>
                    <a:pt x="198" y="36"/>
                  </a:lnTo>
                  <a:lnTo>
                    <a:pt x="201" y="33"/>
                  </a:lnTo>
                  <a:lnTo>
                    <a:pt x="204" y="33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30"/>
                  </a:lnTo>
                  <a:lnTo>
                    <a:pt x="213" y="30"/>
                  </a:lnTo>
                  <a:lnTo>
                    <a:pt x="213" y="27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6" y="18"/>
                  </a:lnTo>
                  <a:lnTo>
                    <a:pt x="216" y="15"/>
                  </a:lnTo>
                  <a:lnTo>
                    <a:pt x="219" y="15"/>
                  </a:lnTo>
                  <a:lnTo>
                    <a:pt x="219" y="12"/>
                  </a:lnTo>
                  <a:lnTo>
                    <a:pt x="219" y="9"/>
                  </a:lnTo>
                  <a:lnTo>
                    <a:pt x="222" y="9"/>
                  </a:lnTo>
                  <a:lnTo>
                    <a:pt x="225" y="9"/>
                  </a:lnTo>
                  <a:lnTo>
                    <a:pt x="228" y="9"/>
                  </a:lnTo>
                  <a:lnTo>
                    <a:pt x="231" y="9"/>
                  </a:lnTo>
                  <a:lnTo>
                    <a:pt x="234" y="6"/>
                  </a:lnTo>
                  <a:lnTo>
                    <a:pt x="237" y="6"/>
                  </a:lnTo>
                  <a:lnTo>
                    <a:pt x="240" y="6"/>
                  </a:lnTo>
                  <a:lnTo>
                    <a:pt x="243" y="6"/>
                  </a:lnTo>
                  <a:lnTo>
                    <a:pt x="246" y="9"/>
                  </a:lnTo>
                  <a:lnTo>
                    <a:pt x="246" y="6"/>
                  </a:lnTo>
                  <a:lnTo>
                    <a:pt x="246" y="9"/>
                  </a:lnTo>
                  <a:lnTo>
                    <a:pt x="249" y="6"/>
                  </a:lnTo>
                  <a:lnTo>
                    <a:pt x="252" y="6"/>
                  </a:lnTo>
                  <a:lnTo>
                    <a:pt x="255" y="6"/>
                  </a:lnTo>
                  <a:lnTo>
                    <a:pt x="258" y="6"/>
                  </a:lnTo>
                  <a:lnTo>
                    <a:pt x="261" y="6"/>
                  </a:lnTo>
                  <a:lnTo>
                    <a:pt x="261" y="3"/>
                  </a:lnTo>
                  <a:lnTo>
                    <a:pt x="264" y="3"/>
                  </a:lnTo>
                  <a:lnTo>
                    <a:pt x="267" y="3"/>
                  </a:lnTo>
                  <a:lnTo>
                    <a:pt x="270" y="3"/>
                  </a:lnTo>
                  <a:lnTo>
                    <a:pt x="273" y="0"/>
                  </a:lnTo>
                  <a:lnTo>
                    <a:pt x="273" y="3"/>
                  </a:lnTo>
                  <a:lnTo>
                    <a:pt x="276" y="3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9"/>
                  </a:lnTo>
                  <a:lnTo>
                    <a:pt x="300" y="9"/>
                  </a:lnTo>
                  <a:lnTo>
                    <a:pt x="303" y="9"/>
                  </a:lnTo>
                  <a:lnTo>
                    <a:pt x="303" y="12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12" y="18"/>
                  </a:lnTo>
                  <a:lnTo>
                    <a:pt x="315" y="18"/>
                  </a:lnTo>
                  <a:lnTo>
                    <a:pt x="318" y="18"/>
                  </a:lnTo>
                  <a:lnTo>
                    <a:pt x="321" y="15"/>
                  </a:lnTo>
                  <a:lnTo>
                    <a:pt x="321" y="18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18"/>
                  </a:lnTo>
                  <a:lnTo>
                    <a:pt x="342" y="18"/>
                  </a:lnTo>
                  <a:lnTo>
                    <a:pt x="345" y="18"/>
                  </a:lnTo>
                  <a:lnTo>
                    <a:pt x="348" y="18"/>
                  </a:lnTo>
                  <a:lnTo>
                    <a:pt x="348" y="21"/>
                  </a:lnTo>
                  <a:lnTo>
                    <a:pt x="348" y="18"/>
                  </a:lnTo>
                  <a:lnTo>
                    <a:pt x="351" y="18"/>
                  </a:lnTo>
                  <a:lnTo>
                    <a:pt x="354" y="21"/>
                  </a:lnTo>
                  <a:lnTo>
                    <a:pt x="354" y="18"/>
                  </a:lnTo>
                  <a:lnTo>
                    <a:pt x="357" y="18"/>
                  </a:lnTo>
                  <a:lnTo>
                    <a:pt x="360" y="18"/>
                  </a:lnTo>
                  <a:lnTo>
                    <a:pt x="363" y="18"/>
                  </a:lnTo>
                  <a:lnTo>
                    <a:pt x="366" y="18"/>
                  </a:lnTo>
                  <a:lnTo>
                    <a:pt x="369" y="18"/>
                  </a:lnTo>
                  <a:lnTo>
                    <a:pt x="369" y="15"/>
                  </a:lnTo>
                  <a:lnTo>
                    <a:pt x="372" y="15"/>
                  </a:lnTo>
                  <a:lnTo>
                    <a:pt x="375" y="18"/>
                  </a:lnTo>
                  <a:lnTo>
                    <a:pt x="378" y="15"/>
                  </a:lnTo>
                  <a:lnTo>
                    <a:pt x="378" y="18"/>
                  </a:lnTo>
                  <a:lnTo>
                    <a:pt x="381" y="18"/>
                  </a:lnTo>
                  <a:lnTo>
                    <a:pt x="384" y="18"/>
                  </a:lnTo>
                  <a:lnTo>
                    <a:pt x="387" y="18"/>
                  </a:lnTo>
                  <a:lnTo>
                    <a:pt x="387" y="21"/>
                  </a:lnTo>
                  <a:lnTo>
                    <a:pt x="390" y="21"/>
                  </a:lnTo>
                  <a:lnTo>
                    <a:pt x="393" y="21"/>
                  </a:lnTo>
                  <a:lnTo>
                    <a:pt x="396" y="21"/>
                  </a:lnTo>
                  <a:lnTo>
                    <a:pt x="396" y="18"/>
                  </a:lnTo>
                  <a:lnTo>
                    <a:pt x="399" y="18"/>
                  </a:lnTo>
                  <a:lnTo>
                    <a:pt x="399" y="21"/>
                  </a:lnTo>
                  <a:lnTo>
                    <a:pt x="402" y="21"/>
                  </a:lnTo>
                  <a:lnTo>
                    <a:pt x="402" y="24"/>
                  </a:lnTo>
                  <a:lnTo>
                    <a:pt x="405" y="24"/>
                  </a:lnTo>
                  <a:lnTo>
                    <a:pt x="405" y="21"/>
                  </a:lnTo>
                  <a:lnTo>
                    <a:pt x="408" y="24"/>
                  </a:lnTo>
                  <a:lnTo>
                    <a:pt x="408" y="27"/>
                  </a:lnTo>
                  <a:lnTo>
                    <a:pt x="411" y="27"/>
                  </a:lnTo>
                  <a:lnTo>
                    <a:pt x="411" y="30"/>
                  </a:lnTo>
                  <a:lnTo>
                    <a:pt x="411" y="33"/>
                  </a:lnTo>
                  <a:lnTo>
                    <a:pt x="414" y="36"/>
                  </a:lnTo>
                  <a:lnTo>
                    <a:pt x="414" y="39"/>
                  </a:lnTo>
                  <a:lnTo>
                    <a:pt x="414" y="42"/>
                  </a:lnTo>
                  <a:lnTo>
                    <a:pt x="417" y="54"/>
                  </a:lnTo>
                  <a:lnTo>
                    <a:pt x="423" y="66"/>
                  </a:lnTo>
                  <a:lnTo>
                    <a:pt x="426" y="81"/>
                  </a:lnTo>
                  <a:lnTo>
                    <a:pt x="429" y="84"/>
                  </a:lnTo>
                  <a:lnTo>
                    <a:pt x="429" y="87"/>
                  </a:lnTo>
                  <a:lnTo>
                    <a:pt x="429" y="90"/>
                  </a:lnTo>
                  <a:lnTo>
                    <a:pt x="432" y="93"/>
                  </a:lnTo>
                  <a:lnTo>
                    <a:pt x="432" y="99"/>
                  </a:lnTo>
                  <a:lnTo>
                    <a:pt x="432" y="111"/>
                  </a:lnTo>
                  <a:lnTo>
                    <a:pt x="432" y="120"/>
                  </a:lnTo>
                  <a:lnTo>
                    <a:pt x="432" y="123"/>
                  </a:lnTo>
                  <a:lnTo>
                    <a:pt x="435" y="129"/>
                  </a:lnTo>
                  <a:lnTo>
                    <a:pt x="438" y="132"/>
                  </a:lnTo>
                  <a:lnTo>
                    <a:pt x="441" y="135"/>
                  </a:lnTo>
                  <a:lnTo>
                    <a:pt x="444" y="138"/>
                  </a:lnTo>
                  <a:lnTo>
                    <a:pt x="444" y="141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3"/>
                  </a:lnTo>
                  <a:lnTo>
                    <a:pt x="447" y="156"/>
                  </a:lnTo>
                  <a:lnTo>
                    <a:pt x="450" y="162"/>
                  </a:lnTo>
                  <a:lnTo>
                    <a:pt x="453" y="165"/>
                  </a:lnTo>
                  <a:lnTo>
                    <a:pt x="459" y="168"/>
                  </a:lnTo>
                  <a:lnTo>
                    <a:pt x="459" y="171"/>
                  </a:lnTo>
                  <a:lnTo>
                    <a:pt x="456" y="171"/>
                  </a:lnTo>
                  <a:lnTo>
                    <a:pt x="453" y="171"/>
                  </a:lnTo>
                  <a:lnTo>
                    <a:pt x="450" y="171"/>
                  </a:lnTo>
                  <a:lnTo>
                    <a:pt x="447" y="171"/>
                  </a:lnTo>
                  <a:lnTo>
                    <a:pt x="447" y="174"/>
                  </a:lnTo>
                  <a:lnTo>
                    <a:pt x="447" y="177"/>
                  </a:lnTo>
                  <a:lnTo>
                    <a:pt x="444" y="177"/>
                  </a:lnTo>
                  <a:lnTo>
                    <a:pt x="441" y="177"/>
                  </a:lnTo>
                  <a:lnTo>
                    <a:pt x="441" y="174"/>
                  </a:lnTo>
                  <a:lnTo>
                    <a:pt x="438" y="174"/>
                  </a:lnTo>
                  <a:lnTo>
                    <a:pt x="435" y="174"/>
                  </a:lnTo>
                  <a:lnTo>
                    <a:pt x="435" y="177"/>
                  </a:lnTo>
                  <a:lnTo>
                    <a:pt x="432" y="174"/>
                  </a:lnTo>
                  <a:lnTo>
                    <a:pt x="432" y="177"/>
                  </a:lnTo>
                  <a:lnTo>
                    <a:pt x="429" y="177"/>
                  </a:lnTo>
                  <a:lnTo>
                    <a:pt x="426" y="174"/>
                  </a:lnTo>
                  <a:lnTo>
                    <a:pt x="423" y="174"/>
                  </a:lnTo>
                  <a:lnTo>
                    <a:pt x="423" y="177"/>
                  </a:lnTo>
                  <a:lnTo>
                    <a:pt x="420" y="177"/>
                  </a:lnTo>
                  <a:lnTo>
                    <a:pt x="417" y="177"/>
                  </a:lnTo>
                  <a:lnTo>
                    <a:pt x="414" y="180"/>
                  </a:lnTo>
                  <a:lnTo>
                    <a:pt x="411" y="180"/>
                  </a:lnTo>
                  <a:lnTo>
                    <a:pt x="408" y="180"/>
                  </a:lnTo>
                  <a:lnTo>
                    <a:pt x="411" y="183"/>
                  </a:lnTo>
                  <a:lnTo>
                    <a:pt x="417" y="183"/>
                  </a:lnTo>
                  <a:lnTo>
                    <a:pt x="426" y="180"/>
                  </a:lnTo>
                  <a:lnTo>
                    <a:pt x="426" y="186"/>
                  </a:lnTo>
                  <a:lnTo>
                    <a:pt x="423" y="189"/>
                  </a:lnTo>
                  <a:lnTo>
                    <a:pt x="420" y="189"/>
                  </a:lnTo>
                  <a:lnTo>
                    <a:pt x="423" y="195"/>
                  </a:lnTo>
                  <a:lnTo>
                    <a:pt x="423" y="201"/>
                  </a:lnTo>
                  <a:lnTo>
                    <a:pt x="417" y="204"/>
                  </a:lnTo>
                  <a:lnTo>
                    <a:pt x="417" y="207"/>
                  </a:lnTo>
                  <a:lnTo>
                    <a:pt x="414" y="210"/>
                  </a:lnTo>
                  <a:lnTo>
                    <a:pt x="420" y="213"/>
                  </a:lnTo>
                  <a:lnTo>
                    <a:pt x="417" y="216"/>
                  </a:lnTo>
                  <a:lnTo>
                    <a:pt x="426" y="216"/>
                  </a:lnTo>
                  <a:lnTo>
                    <a:pt x="423" y="219"/>
                  </a:lnTo>
                  <a:lnTo>
                    <a:pt x="420" y="219"/>
                  </a:lnTo>
                  <a:lnTo>
                    <a:pt x="423" y="222"/>
                  </a:lnTo>
                  <a:lnTo>
                    <a:pt x="426" y="225"/>
                  </a:lnTo>
                  <a:lnTo>
                    <a:pt x="429" y="228"/>
                  </a:lnTo>
                  <a:lnTo>
                    <a:pt x="435" y="228"/>
                  </a:lnTo>
                  <a:lnTo>
                    <a:pt x="435" y="231"/>
                  </a:lnTo>
                  <a:lnTo>
                    <a:pt x="435" y="234"/>
                  </a:lnTo>
                  <a:lnTo>
                    <a:pt x="432" y="234"/>
                  </a:lnTo>
                  <a:lnTo>
                    <a:pt x="429" y="234"/>
                  </a:lnTo>
                  <a:lnTo>
                    <a:pt x="429" y="237"/>
                  </a:lnTo>
                  <a:lnTo>
                    <a:pt x="426" y="237"/>
                  </a:lnTo>
                  <a:lnTo>
                    <a:pt x="423" y="240"/>
                  </a:lnTo>
                  <a:lnTo>
                    <a:pt x="417" y="240"/>
                  </a:lnTo>
                  <a:lnTo>
                    <a:pt x="414" y="240"/>
                  </a:lnTo>
                  <a:lnTo>
                    <a:pt x="414" y="243"/>
                  </a:lnTo>
                  <a:lnTo>
                    <a:pt x="414" y="246"/>
                  </a:lnTo>
                  <a:lnTo>
                    <a:pt x="414" y="249"/>
                  </a:lnTo>
                  <a:lnTo>
                    <a:pt x="417" y="249"/>
                  </a:lnTo>
                  <a:lnTo>
                    <a:pt x="417" y="252"/>
                  </a:lnTo>
                  <a:lnTo>
                    <a:pt x="420" y="252"/>
                  </a:lnTo>
                  <a:lnTo>
                    <a:pt x="423" y="252"/>
                  </a:lnTo>
                  <a:lnTo>
                    <a:pt x="423" y="255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3" y="261"/>
                  </a:lnTo>
                  <a:lnTo>
                    <a:pt x="420" y="261"/>
                  </a:lnTo>
                  <a:lnTo>
                    <a:pt x="417" y="261"/>
                  </a:lnTo>
                  <a:lnTo>
                    <a:pt x="414" y="261"/>
                  </a:lnTo>
                  <a:lnTo>
                    <a:pt x="411" y="261"/>
                  </a:lnTo>
                  <a:lnTo>
                    <a:pt x="411" y="264"/>
                  </a:lnTo>
                  <a:lnTo>
                    <a:pt x="408" y="264"/>
                  </a:lnTo>
                  <a:lnTo>
                    <a:pt x="408" y="261"/>
                  </a:lnTo>
                  <a:lnTo>
                    <a:pt x="405" y="261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2" y="267"/>
                  </a:lnTo>
                  <a:lnTo>
                    <a:pt x="399" y="267"/>
                  </a:lnTo>
                  <a:lnTo>
                    <a:pt x="399" y="264"/>
                  </a:lnTo>
                  <a:lnTo>
                    <a:pt x="396" y="264"/>
                  </a:lnTo>
                  <a:lnTo>
                    <a:pt x="396" y="261"/>
                  </a:lnTo>
                  <a:lnTo>
                    <a:pt x="402" y="261"/>
                  </a:lnTo>
                  <a:lnTo>
                    <a:pt x="405" y="261"/>
                  </a:lnTo>
                  <a:lnTo>
                    <a:pt x="408" y="261"/>
                  </a:lnTo>
                  <a:lnTo>
                    <a:pt x="408" y="255"/>
                  </a:lnTo>
                  <a:lnTo>
                    <a:pt x="405" y="255"/>
                  </a:lnTo>
                  <a:lnTo>
                    <a:pt x="402" y="255"/>
                  </a:lnTo>
                  <a:lnTo>
                    <a:pt x="402" y="252"/>
                  </a:lnTo>
                  <a:lnTo>
                    <a:pt x="402" y="249"/>
                  </a:lnTo>
                  <a:lnTo>
                    <a:pt x="396" y="249"/>
                  </a:lnTo>
                  <a:lnTo>
                    <a:pt x="393" y="249"/>
                  </a:lnTo>
                  <a:lnTo>
                    <a:pt x="396" y="246"/>
                  </a:lnTo>
                  <a:lnTo>
                    <a:pt x="393" y="246"/>
                  </a:lnTo>
                  <a:lnTo>
                    <a:pt x="393" y="243"/>
                  </a:lnTo>
                  <a:lnTo>
                    <a:pt x="396" y="243"/>
                  </a:lnTo>
                  <a:lnTo>
                    <a:pt x="390" y="243"/>
                  </a:lnTo>
                  <a:lnTo>
                    <a:pt x="390" y="240"/>
                  </a:lnTo>
                  <a:lnTo>
                    <a:pt x="390" y="237"/>
                  </a:lnTo>
                  <a:lnTo>
                    <a:pt x="396" y="237"/>
                  </a:lnTo>
                  <a:lnTo>
                    <a:pt x="399" y="237"/>
                  </a:lnTo>
                  <a:lnTo>
                    <a:pt x="399" y="234"/>
                  </a:lnTo>
                  <a:lnTo>
                    <a:pt x="399" y="231"/>
                  </a:lnTo>
                  <a:lnTo>
                    <a:pt x="399" y="228"/>
                  </a:lnTo>
                  <a:lnTo>
                    <a:pt x="396" y="228"/>
                  </a:lnTo>
                  <a:lnTo>
                    <a:pt x="393" y="228"/>
                  </a:lnTo>
                  <a:lnTo>
                    <a:pt x="390" y="228"/>
                  </a:lnTo>
                  <a:lnTo>
                    <a:pt x="390" y="225"/>
                  </a:lnTo>
                  <a:lnTo>
                    <a:pt x="387" y="225"/>
                  </a:lnTo>
                  <a:lnTo>
                    <a:pt x="384" y="225"/>
                  </a:lnTo>
                  <a:lnTo>
                    <a:pt x="381" y="225"/>
                  </a:lnTo>
                  <a:lnTo>
                    <a:pt x="381" y="219"/>
                  </a:lnTo>
                  <a:lnTo>
                    <a:pt x="378" y="219"/>
                  </a:lnTo>
                  <a:lnTo>
                    <a:pt x="375" y="222"/>
                  </a:lnTo>
                  <a:lnTo>
                    <a:pt x="369" y="219"/>
                  </a:lnTo>
                  <a:lnTo>
                    <a:pt x="366" y="216"/>
                  </a:lnTo>
                  <a:lnTo>
                    <a:pt x="366" y="213"/>
                  </a:lnTo>
                  <a:lnTo>
                    <a:pt x="363" y="216"/>
                  </a:lnTo>
                  <a:lnTo>
                    <a:pt x="363" y="219"/>
                  </a:lnTo>
                  <a:lnTo>
                    <a:pt x="363" y="222"/>
                  </a:lnTo>
                  <a:lnTo>
                    <a:pt x="363" y="219"/>
                  </a:lnTo>
                  <a:lnTo>
                    <a:pt x="360" y="219"/>
                  </a:lnTo>
                  <a:lnTo>
                    <a:pt x="360" y="222"/>
                  </a:lnTo>
                  <a:lnTo>
                    <a:pt x="357" y="222"/>
                  </a:lnTo>
                  <a:lnTo>
                    <a:pt x="354" y="222"/>
                  </a:lnTo>
                  <a:lnTo>
                    <a:pt x="351" y="222"/>
                  </a:lnTo>
                  <a:lnTo>
                    <a:pt x="351" y="228"/>
                  </a:lnTo>
                  <a:lnTo>
                    <a:pt x="348" y="234"/>
                  </a:lnTo>
                  <a:lnTo>
                    <a:pt x="342" y="228"/>
                  </a:lnTo>
                  <a:lnTo>
                    <a:pt x="336" y="228"/>
                  </a:lnTo>
                  <a:lnTo>
                    <a:pt x="333" y="225"/>
                  </a:lnTo>
                  <a:lnTo>
                    <a:pt x="330" y="225"/>
                  </a:lnTo>
                  <a:lnTo>
                    <a:pt x="330" y="228"/>
                  </a:lnTo>
                  <a:lnTo>
                    <a:pt x="327" y="228"/>
                  </a:lnTo>
                  <a:lnTo>
                    <a:pt x="327" y="231"/>
                  </a:lnTo>
                  <a:lnTo>
                    <a:pt x="327" y="234"/>
                  </a:lnTo>
                  <a:lnTo>
                    <a:pt x="324" y="234"/>
                  </a:lnTo>
                  <a:lnTo>
                    <a:pt x="324" y="237"/>
                  </a:lnTo>
                  <a:lnTo>
                    <a:pt x="324" y="234"/>
                  </a:lnTo>
                  <a:lnTo>
                    <a:pt x="321" y="234"/>
                  </a:lnTo>
                  <a:lnTo>
                    <a:pt x="321" y="237"/>
                  </a:lnTo>
                  <a:lnTo>
                    <a:pt x="318" y="237"/>
                  </a:lnTo>
                  <a:lnTo>
                    <a:pt x="318" y="240"/>
                  </a:lnTo>
                  <a:lnTo>
                    <a:pt x="315" y="240"/>
                  </a:lnTo>
                  <a:lnTo>
                    <a:pt x="315" y="243"/>
                  </a:lnTo>
                  <a:lnTo>
                    <a:pt x="312" y="243"/>
                  </a:lnTo>
                  <a:lnTo>
                    <a:pt x="312" y="246"/>
                  </a:lnTo>
                  <a:lnTo>
                    <a:pt x="309" y="246"/>
                  </a:lnTo>
                  <a:lnTo>
                    <a:pt x="309" y="249"/>
                  </a:lnTo>
                  <a:lnTo>
                    <a:pt x="306" y="249"/>
                  </a:lnTo>
                  <a:lnTo>
                    <a:pt x="306" y="252"/>
                  </a:lnTo>
                  <a:lnTo>
                    <a:pt x="303" y="252"/>
                  </a:lnTo>
                  <a:lnTo>
                    <a:pt x="303" y="255"/>
                  </a:lnTo>
                  <a:lnTo>
                    <a:pt x="300" y="255"/>
                  </a:lnTo>
                  <a:lnTo>
                    <a:pt x="300" y="258"/>
                  </a:lnTo>
                  <a:lnTo>
                    <a:pt x="297" y="258"/>
                  </a:lnTo>
                  <a:lnTo>
                    <a:pt x="294" y="255"/>
                  </a:lnTo>
                  <a:lnTo>
                    <a:pt x="294" y="258"/>
                  </a:lnTo>
                  <a:lnTo>
                    <a:pt x="291" y="261"/>
                  </a:lnTo>
                  <a:lnTo>
                    <a:pt x="291" y="264"/>
                  </a:lnTo>
                  <a:lnTo>
                    <a:pt x="288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2" y="267"/>
                  </a:lnTo>
                  <a:lnTo>
                    <a:pt x="282" y="270"/>
                  </a:lnTo>
                  <a:lnTo>
                    <a:pt x="282" y="273"/>
                  </a:lnTo>
                  <a:lnTo>
                    <a:pt x="279" y="273"/>
                  </a:lnTo>
                  <a:lnTo>
                    <a:pt x="276" y="273"/>
                  </a:lnTo>
                  <a:lnTo>
                    <a:pt x="273" y="273"/>
                  </a:lnTo>
                  <a:lnTo>
                    <a:pt x="270" y="270"/>
                  </a:lnTo>
                  <a:lnTo>
                    <a:pt x="270" y="273"/>
                  </a:lnTo>
                  <a:lnTo>
                    <a:pt x="267" y="273"/>
                  </a:lnTo>
                  <a:lnTo>
                    <a:pt x="264" y="273"/>
                  </a:lnTo>
                  <a:lnTo>
                    <a:pt x="264" y="276"/>
                  </a:lnTo>
                  <a:lnTo>
                    <a:pt x="258" y="276"/>
                  </a:lnTo>
                  <a:lnTo>
                    <a:pt x="258" y="273"/>
                  </a:lnTo>
                  <a:lnTo>
                    <a:pt x="255" y="273"/>
                  </a:lnTo>
                  <a:lnTo>
                    <a:pt x="255" y="270"/>
                  </a:lnTo>
                  <a:lnTo>
                    <a:pt x="258" y="270"/>
                  </a:lnTo>
                  <a:lnTo>
                    <a:pt x="255" y="267"/>
                  </a:lnTo>
                  <a:lnTo>
                    <a:pt x="255" y="264"/>
                  </a:lnTo>
                  <a:lnTo>
                    <a:pt x="252" y="264"/>
                  </a:lnTo>
                  <a:lnTo>
                    <a:pt x="249" y="264"/>
                  </a:lnTo>
                  <a:lnTo>
                    <a:pt x="249" y="261"/>
                  </a:lnTo>
                  <a:lnTo>
                    <a:pt x="252" y="261"/>
                  </a:lnTo>
                  <a:lnTo>
                    <a:pt x="252" y="258"/>
                  </a:lnTo>
                  <a:lnTo>
                    <a:pt x="249" y="258"/>
                  </a:lnTo>
                  <a:lnTo>
                    <a:pt x="252" y="255"/>
                  </a:lnTo>
                  <a:lnTo>
                    <a:pt x="249" y="249"/>
                  </a:lnTo>
                  <a:lnTo>
                    <a:pt x="252" y="252"/>
                  </a:lnTo>
                  <a:lnTo>
                    <a:pt x="252" y="249"/>
                  </a:lnTo>
                  <a:lnTo>
                    <a:pt x="255" y="249"/>
                  </a:lnTo>
                  <a:lnTo>
                    <a:pt x="255" y="246"/>
                  </a:lnTo>
                  <a:lnTo>
                    <a:pt x="255" y="243"/>
                  </a:lnTo>
                  <a:lnTo>
                    <a:pt x="252" y="243"/>
                  </a:lnTo>
                  <a:lnTo>
                    <a:pt x="252" y="240"/>
                  </a:lnTo>
                  <a:lnTo>
                    <a:pt x="255" y="240"/>
                  </a:lnTo>
                  <a:lnTo>
                    <a:pt x="252" y="240"/>
                  </a:lnTo>
                  <a:lnTo>
                    <a:pt x="249" y="243"/>
                  </a:lnTo>
                  <a:lnTo>
                    <a:pt x="246" y="246"/>
                  </a:lnTo>
                  <a:lnTo>
                    <a:pt x="246" y="243"/>
                  </a:lnTo>
                  <a:lnTo>
                    <a:pt x="243" y="246"/>
                  </a:lnTo>
                  <a:lnTo>
                    <a:pt x="240" y="246"/>
                  </a:lnTo>
                  <a:lnTo>
                    <a:pt x="237" y="246"/>
                  </a:lnTo>
                  <a:lnTo>
                    <a:pt x="237" y="249"/>
                  </a:lnTo>
                  <a:lnTo>
                    <a:pt x="234" y="255"/>
                  </a:lnTo>
                  <a:lnTo>
                    <a:pt x="231" y="255"/>
                  </a:lnTo>
                  <a:lnTo>
                    <a:pt x="234" y="255"/>
                  </a:lnTo>
                  <a:lnTo>
                    <a:pt x="234" y="258"/>
                  </a:lnTo>
                  <a:lnTo>
                    <a:pt x="231" y="258"/>
                  </a:lnTo>
                  <a:lnTo>
                    <a:pt x="225" y="261"/>
                  </a:lnTo>
                  <a:lnTo>
                    <a:pt x="225" y="258"/>
                  </a:lnTo>
                  <a:lnTo>
                    <a:pt x="222" y="258"/>
                  </a:lnTo>
                  <a:lnTo>
                    <a:pt x="222" y="255"/>
                  </a:lnTo>
                  <a:lnTo>
                    <a:pt x="216" y="255"/>
                  </a:lnTo>
                  <a:lnTo>
                    <a:pt x="213" y="255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4" y="258"/>
                  </a:lnTo>
                  <a:lnTo>
                    <a:pt x="204" y="255"/>
                  </a:lnTo>
                  <a:lnTo>
                    <a:pt x="201" y="255"/>
                  </a:lnTo>
                  <a:lnTo>
                    <a:pt x="198" y="255"/>
                  </a:lnTo>
                  <a:lnTo>
                    <a:pt x="195" y="261"/>
                  </a:lnTo>
                  <a:lnTo>
                    <a:pt x="192" y="261"/>
                  </a:lnTo>
                  <a:lnTo>
                    <a:pt x="189" y="261"/>
                  </a:lnTo>
                  <a:lnTo>
                    <a:pt x="186" y="261"/>
                  </a:lnTo>
                  <a:lnTo>
                    <a:pt x="186" y="264"/>
                  </a:lnTo>
                  <a:lnTo>
                    <a:pt x="183" y="264"/>
                  </a:lnTo>
                  <a:lnTo>
                    <a:pt x="186" y="270"/>
                  </a:lnTo>
                  <a:lnTo>
                    <a:pt x="180" y="270"/>
                  </a:lnTo>
                  <a:lnTo>
                    <a:pt x="177" y="273"/>
                  </a:lnTo>
                  <a:lnTo>
                    <a:pt x="174" y="273"/>
                  </a:lnTo>
                  <a:lnTo>
                    <a:pt x="174" y="276"/>
                  </a:lnTo>
                  <a:lnTo>
                    <a:pt x="171" y="276"/>
                  </a:lnTo>
                  <a:lnTo>
                    <a:pt x="168" y="276"/>
                  </a:lnTo>
                  <a:lnTo>
                    <a:pt x="165" y="279"/>
                  </a:lnTo>
                  <a:lnTo>
                    <a:pt x="168" y="282"/>
                  </a:lnTo>
                  <a:lnTo>
                    <a:pt x="165" y="285"/>
                  </a:lnTo>
                  <a:lnTo>
                    <a:pt x="171" y="282"/>
                  </a:lnTo>
                  <a:lnTo>
                    <a:pt x="174" y="282"/>
                  </a:lnTo>
                  <a:lnTo>
                    <a:pt x="177" y="282"/>
                  </a:lnTo>
                  <a:lnTo>
                    <a:pt x="177" y="279"/>
                  </a:lnTo>
                  <a:lnTo>
                    <a:pt x="180" y="279"/>
                  </a:lnTo>
                  <a:lnTo>
                    <a:pt x="183" y="276"/>
                  </a:lnTo>
                  <a:lnTo>
                    <a:pt x="189" y="276"/>
                  </a:lnTo>
                  <a:lnTo>
                    <a:pt x="186" y="279"/>
                  </a:lnTo>
                  <a:lnTo>
                    <a:pt x="186" y="282"/>
                  </a:lnTo>
                  <a:lnTo>
                    <a:pt x="189" y="285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6" y="291"/>
                  </a:lnTo>
                  <a:lnTo>
                    <a:pt x="183" y="288"/>
                  </a:lnTo>
                  <a:lnTo>
                    <a:pt x="180" y="288"/>
                  </a:lnTo>
                  <a:lnTo>
                    <a:pt x="177" y="288"/>
                  </a:lnTo>
                  <a:lnTo>
                    <a:pt x="177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65" y="294"/>
                  </a:lnTo>
                  <a:lnTo>
                    <a:pt x="165" y="291"/>
                  </a:lnTo>
                  <a:lnTo>
                    <a:pt x="162" y="291"/>
                  </a:lnTo>
                  <a:lnTo>
                    <a:pt x="159" y="291"/>
                  </a:lnTo>
                  <a:lnTo>
                    <a:pt x="159" y="294"/>
                  </a:lnTo>
                  <a:lnTo>
                    <a:pt x="159" y="291"/>
                  </a:lnTo>
                  <a:lnTo>
                    <a:pt x="156" y="288"/>
                  </a:lnTo>
                  <a:lnTo>
                    <a:pt x="156" y="285"/>
                  </a:lnTo>
                  <a:lnTo>
                    <a:pt x="153" y="285"/>
                  </a:lnTo>
                  <a:lnTo>
                    <a:pt x="150" y="282"/>
                  </a:lnTo>
                  <a:lnTo>
                    <a:pt x="147" y="282"/>
                  </a:lnTo>
                  <a:lnTo>
                    <a:pt x="144" y="282"/>
                  </a:lnTo>
                  <a:lnTo>
                    <a:pt x="144" y="279"/>
                  </a:lnTo>
                  <a:lnTo>
                    <a:pt x="144" y="276"/>
                  </a:lnTo>
                  <a:lnTo>
                    <a:pt x="141" y="279"/>
                  </a:lnTo>
                  <a:lnTo>
                    <a:pt x="141" y="273"/>
                  </a:lnTo>
                  <a:lnTo>
                    <a:pt x="144" y="273"/>
                  </a:lnTo>
                  <a:lnTo>
                    <a:pt x="147" y="273"/>
                  </a:lnTo>
                  <a:lnTo>
                    <a:pt x="147" y="276"/>
                  </a:lnTo>
                  <a:lnTo>
                    <a:pt x="150" y="276"/>
                  </a:lnTo>
                  <a:lnTo>
                    <a:pt x="153" y="276"/>
                  </a:lnTo>
                  <a:lnTo>
                    <a:pt x="153" y="273"/>
                  </a:lnTo>
                  <a:lnTo>
                    <a:pt x="153" y="270"/>
                  </a:lnTo>
                  <a:lnTo>
                    <a:pt x="156" y="270"/>
                  </a:lnTo>
                  <a:lnTo>
                    <a:pt x="156" y="267"/>
                  </a:lnTo>
                  <a:lnTo>
                    <a:pt x="147" y="267"/>
                  </a:lnTo>
                  <a:lnTo>
                    <a:pt x="144" y="264"/>
                  </a:lnTo>
                  <a:lnTo>
                    <a:pt x="141" y="264"/>
                  </a:lnTo>
                  <a:lnTo>
                    <a:pt x="138" y="264"/>
                  </a:lnTo>
                  <a:lnTo>
                    <a:pt x="135" y="264"/>
                  </a:lnTo>
                  <a:lnTo>
                    <a:pt x="132" y="264"/>
                  </a:lnTo>
                  <a:lnTo>
                    <a:pt x="135" y="261"/>
                  </a:lnTo>
                  <a:lnTo>
                    <a:pt x="132" y="261"/>
                  </a:lnTo>
                  <a:lnTo>
                    <a:pt x="129" y="261"/>
                  </a:lnTo>
                  <a:lnTo>
                    <a:pt x="129" y="264"/>
                  </a:lnTo>
                  <a:lnTo>
                    <a:pt x="126" y="264"/>
                  </a:lnTo>
                  <a:lnTo>
                    <a:pt x="123" y="264"/>
                  </a:lnTo>
                  <a:lnTo>
                    <a:pt x="120" y="261"/>
                  </a:lnTo>
                  <a:lnTo>
                    <a:pt x="117" y="261"/>
                  </a:lnTo>
                  <a:lnTo>
                    <a:pt x="114" y="261"/>
                  </a:lnTo>
                  <a:lnTo>
                    <a:pt x="111" y="261"/>
                  </a:lnTo>
                  <a:lnTo>
                    <a:pt x="108" y="264"/>
                  </a:lnTo>
                  <a:lnTo>
                    <a:pt x="102" y="261"/>
                  </a:lnTo>
                  <a:lnTo>
                    <a:pt x="99" y="261"/>
                  </a:lnTo>
                  <a:lnTo>
                    <a:pt x="99" y="264"/>
                  </a:lnTo>
                  <a:lnTo>
                    <a:pt x="99" y="267"/>
                  </a:lnTo>
                  <a:lnTo>
                    <a:pt x="99" y="270"/>
                  </a:lnTo>
                  <a:lnTo>
                    <a:pt x="96" y="270"/>
                  </a:lnTo>
                  <a:lnTo>
                    <a:pt x="96" y="273"/>
                  </a:lnTo>
                  <a:lnTo>
                    <a:pt x="93" y="270"/>
                  </a:lnTo>
                  <a:lnTo>
                    <a:pt x="90" y="270"/>
                  </a:lnTo>
                  <a:lnTo>
                    <a:pt x="87" y="270"/>
                  </a:lnTo>
                  <a:lnTo>
                    <a:pt x="84" y="270"/>
                  </a:lnTo>
                  <a:lnTo>
                    <a:pt x="81" y="270"/>
                  </a:lnTo>
                  <a:lnTo>
                    <a:pt x="78" y="273"/>
                  </a:lnTo>
                  <a:lnTo>
                    <a:pt x="75" y="267"/>
                  </a:lnTo>
                  <a:lnTo>
                    <a:pt x="72" y="267"/>
                  </a:lnTo>
                  <a:lnTo>
                    <a:pt x="69" y="270"/>
                  </a:lnTo>
                  <a:lnTo>
                    <a:pt x="69" y="267"/>
                  </a:lnTo>
                  <a:lnTo>
                    <a:pt x="66" y="267"/>
                  </a:lnTo>
                  <a:lnTo>
                    <a:pt x="66" y="264"/>
                  </a:lnTo>
                  <a:lnTo>
                    <a:pt x="69" y="264"/>
                  </a:lnTo>
                  <a:lnTo>
                    <a:pt x="69" y="261"/>
                  </a:lnTo>
                  <a:lnTo>
                    <a:pt x="66" y="258"/>
                  </a:lnTo>
                  <a:lnTo>
                    <a:pt x="63" y="261"/>
                  </a:lnTo>
                  <a:lnTo>
                    <a:pt x="63" y="258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1" y="237"/>
                  </a:lnTo>
                  <a:lnTo>
                    <a:pt x="48" y="237"/>
                  </a:lnTo>
                  <a:lnTo>
                    <a:pt x="48" y="243"/>
                  </a:lnTo>
                  <a:lnTo>
                    <a:pt x="45" y="243"/>
                  </a:lnTo>
                  <a:lnTo>
                    <a:pt x="42" y="246"/>
                  </a:lnTo>
                  <a:lnTo>
                    <a:pt x="30" y="249"/>
                  </a:lnTo>
                  <a:lnTo>
                    <a:pt x="30" y="252"/>
                  </a:lnTo>
                  <a:lnTo>
                    <a:pt x="27" y="252"/>
                  </a:lnTo>
                  <a:lnTo>
                    <a:pt x="24" y="252"/>
                  </a:lnTo>
                  <a:lnTo>
                    <a:pt x="18" y="246"/>
                  </a:lnTo>
                  <a:lnTo>
                    <a:pt x="18" y="252"/>
                  </a:lnTo>
                  <a:lnTo>
                    <a:pt x="15" y="249"/>
                  </a:lnTo>
                  <a:lnTo>
                    <a:pt x="12" y="249"/>
                  </a:lnTo>
                  <a:lnTo>
                    <a:pt x="12" y="246"/>
                  </a:lnTo>
                  <a:lnTo>
                    <a:pt x="9" y="246"/>
                  </a:lnTo>
                  <a:lnTo>
                    <a:pt x="3" y="246"/>
                  </a:lnTo>
                  <a:lnTo>
                    <a:pt x="6" y="246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6"/>
                  </a:lnTo>
                  <a:lnTo>
                    <a:pt x="3" y="243"/>
                  </a:lnTo>
                  <a:lnTo>
                    <a:pt x="3" y="240"/>
                  </a:lnTo>
                  <a:lnTo>
                    <a:pt x="0" y="240"/>
                  </a:lnTo>
                  <a:lnTo>
                    <a:pt x="0" y="237"/>
                  </a:lnTo>
                  <a:lnTo>
                    <a:pt x="3" y="237"/>
                  </a:lnTo>
                  <a:lnTo>
                    <a:pt x="3" y="234"/>
                  </a:lnTo>
                  <a:lnTo>
                    <a:pt x="0" y="234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0" y="231"/>
                  </a:lnTo>
                  <a:lnTo>
                    <a:pt x="3" y="231"/>
                  </a:lnTo>
                  <a:lnTo>
                    <a:pt x="3" y="228"/>
                  </a:lnTo>
                  <a:lnTo>
                    <a:pt x="6" y="228"/>
                  </a:lnTo>
                  <a:lnTo>
                    <a:pt x="6" y="225"/>
                  </a:lnTo>
                  <a:lnTo>
                    <a:pt x="6" y="222"/>
                  </a:lnTo>
                  <a:lnTo>
                    <a:pt x="9" y="219"/>
                  </a:lnTo>
                  <a:lnTo>
                    <a:pt x="9" y="216"/>
                  </a:lnTo>
                  <a:lnTo>
                    <a:pt x="12" y="216"/>
                  </a:lnTo>
                  <a:lnTo>
                    <a:pt x="12" y="213"/>
                  </a:lnTo>
                  <a:lnTo>
                    <a:pt x="15" y="213"/>
                  </a:lnTo>
                  <a:lnTo>
                    <a:pt x="15" y="210"/>
                  </a:lnTo>
                  <a:lnTo>
                    <a:pt x="18" y="210"/>
                  </a:lnTo>
                  <a:lnTo>
                    <a:pt x="18" y="207"/>
                  </a:lnTo>
                  <a:lnTo>
                    <a:pt x="21" y="207"/>
                  </a:lnTo>
                  <a:lnTo>
                    <a:pt x="21" y="204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7" y="201"/>
                  </a:lnTo>
                  <a:lnTo>
                    <a:pt x="30" y="201"/>
                  </a:lnTo>
                  <a:lnTo>
                    <a:pt x="30" y="198"/>
                  </a:lnTo>
                  <a:lnTo>
                    <a:pt x="33" y="201"/>
                  </a:lnTo>
                  <a:lnTo>
                    <a:pt x="33" y="198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9" y="195"/>
                  </a:lnTo>
                  <a:lnTo>
                    <a:pt x="39" y="192"/>
                  </a:lnTo>
                  <a:lnTo>
                    <a:pt x="39" y="189"/>
                  </a:lnTo>
                  <a:lnTo>
                    <a:pt x="39" y="186"/>
                  </a:lnTo>
                  <a:lnTo>
                    <a:pt x="39" y="183"/>
                  </a:lnTo>
                  <a:lnTo>
                    <a:pt x="39" y="180"/>
                  </a:lnTo>
                  <a:lnTo>
                    <a:pt x="39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5" y="168"/>
                  </a:lnTo>
                  <a:lnTo>
                    <a:pt x="45" y="165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1" y="141"/>
                  </a:lnTo>
                  <a:lnTo>
                    <a:pt x="51" y="138"/>
                  </a:lnTo>
                  <a:lnTo>
                    <a:pt x="51" y="141"/>
                  </a:lnTo>
                  <a:lnTo>
                    <a:pt x="54" y="141"/>
                  </a:lnTo>
                  <a:lnTo>
                    <a:pt x="57" y="141"/>
                  </a:lnTo>
                  <a:lnTo>
                    <a:pt x="57" y="138"/>
                  </a:lnTo>
                  <a:lnTo>
                    <a:pt x="54" y="138"/>
                  </a:lnTo>
                  <a:lnTo>
                    <a:pt x="54" y="135"/>
                  </a:lnTo>
                  <a:lnTo>
                    <a:pt x="57" y="135"/>
                  </a:lnTo>
                  <a:lnTo>
                    <a:pt x="60" y="135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6" y="129"/>
                  </a:lnTo>
                  <a:lnTo>
                    <a:pt x="66" y="126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8" y="120"/>
                  </a:lnTo>
                  <a:lnTo>
                    <a:pt x="78" y="117"/>
                  </a:lnTo>
                  <a:lnTo>
                    <a:pt x="81" y="117"/>
                  </a:lnTo>
                  <a:lnTo>
                    <a:pt x="78" y="117"/>
                  </a:lnTo>
                  <a:lnTo>
                    <a:pt x="78" y="120"/>
                  </a:lnTo>
                  <a:lnTo>
                    <a:pt x="81" y="120"/>
                  </a:lnTo>
                  <a:lnTo>
                    <a:pt x="81" y="117"/>
                  </a:lnTo>
                  <a:lnTo>
                    <a:pt x="84" y="117"/>
                  </a:lnTo>
                  <a:lnTo>
                    <a:pt x="84" y="12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655C3C23-4A0E-4BA5-93EF-9D21BCAD42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91063" y="2530475"/>
              <a:ext cx="625475" cy="647700"/>
            </a:xfrm>
            <a:custGeom>
              <a:avLst/>
              <a:gdLst>
                <a:gd name="T0" fmla="*/ 536964 w 318"/>
                <a:gd name="T1" fmla="*/ 23553 h 330"/>
                <a:gd name="T2" fmla="*/ 542865 w 318"/>
                <a:gd name="T3" fmla="*/ 17665 h 330"/>
                <a:gd name="T4" fmla="*/ 578269 w 318"/>
                <a:gd name="T5" fmla="*/ 5888 h 330"/>
                <a:gd name="T6" fmla="*/ 607773 w 318"/>
                <a:gd name="T7" fmla="*/ 35329 h 330"/>
                <a:gd name="T8" fmla="*/ 619574 w 318"/>
                <a:gd name="T9" fmla="*/ 105987 h 330"/>
                <a:gd name="T10" fmla="*/ 625475 w 318"/>
                <a:gd name="T11" fmla="*/ 194310 h 330"/>
                <a:gd name="T12" fmla="*/ 619574 w 318"/>
                <a:gd name="T13" fmla="*/ 264968 h 330"/>
                <a:gd name="T14" fmla="*/ 613674 w 318"/>
                <a:gd name="T15" fmla="*/ 329738 h 330"/>
                <a:gd name="T16" fmla="*/ 578269 w 318"/>
                <a:gd name="T17" fmla="*/ 359179 h 330"/>
                <a:gd name="T18" fmla="*/ 477957 w 318"/>
                <a:gd name="T19" fmla="*/ 365067 h 330"/>
                <a:gd name="T20" fmla="*/ 454354 w 318"/>
                <a:gd name="T21" fmla="*/ 412173 h 330"/>
                <a:gd name="T22" fmla="*/ 424851 w 318"/>
                <a:gd name="T23" fmla="*/ 482831 h 330"/>
                <a:gd name="T24" fmla="*/ 436652 w 318"/>
                <a:gd name="T25" fmla="*/ 518160 h 330"/>
                <a:gd name="T26" fmla="*/ 460255 w 318"/>
                <a:gd name="T27" fmla="*/ 565265 h 330"/>
                <a:gd name="T28" fmla="*/ 495659 w 318"/>
                <a:gd name="T29" fmla="*/ 594706 h 330"/>
                <a:gd name="T30" fmla="*/ 460255 w 318"/>
                <a:gd name="T31" fmla="*/ 618259 h 330"/>
                <a:gd name="T32" fmla="*/ 430752 w 318"/>
                <a:gd name="T33" fmla="*/ 618259 h 330"/>
                <a:gd name="T34" fmla="*/ 354042 w 318"/>
                <a:gd name="T35" fmla="*/ 606483 h 330"/>
                <a:gd name="T36" fmla="*/ 318638 w 318"/>
                <a:gd name="T37" fmla="*/ 630035 h 330"/>
                <a:gd name="T38" fmla="*/ 265532 w 318"/>
                <a:gd name="T39" fmla="*/ 624147 h 330"/>
                <a:gd name="T40" fmla="*/ 236028 w 318"/>
                <a:gd name="T41" fmla="*/ 647700 h 330"/>
                <a:gd name="T42" fmla="*/ 212425 w 318"/>
                <a:gd name="T43" fmla="*/ 618259 h 330"/>
                <a:gd name="T44" fmla="*/ 177021 w 318"/>
                <a:gd name="T45" fmla="*/ 588818 h 330"/>
                <a:gd name="T46" fmla="*/ 141617 w 318"/>
                <a:gd name="T47" fmla="*/ 582930 h 330"/>
                <a:gd name="T48" fmla="*/ 129816 w 318"/>
                <a:gd name="T49" fmla="*/ 553489 h 330"/>
                <a:gd name="T50" fmla="*/ 94411 w 318"/>
                <a:gd name="T51" fmla="*/ 559377 h 330"/>
                <a:gd name="T52" fmla="*/ 70808 w 318"/>
                <a:gd name="T53" fmla="*/ 553489 h 330"/>
                <a:gd name="T54" fmla="*/ 47206 w 318"/>
                <a:gd name="T55" fmla="*/ 559377 h 330"/>
                <a:gd name="T56" fmla="*/ 29504 w 318"/>
                <a:gd name="T57" fmla="*/ 553489 h 330"/>
                <a:gd name="T58" fmla="*/ 5901 w 318"/>
                <a:gd name="T59" fmla="*/ 529936 h 330"/>
                <a:gd name="T60" fmla="*/ 29504 w 318"/>
                <a:gd name="T61" fmla="*/ 512272 h 330"/>
                <a:gd name="T62" fmla="*/ 47206 w 318"/>
                <a:gd name="T63" fmla="*/ 465166 h 330"/>
                <a:gd name="T64" fmla="*/ 88511 w 318"/>
                <a:gd name="T65" fmla="*/ 459278 h 330"/>
                <a:gd name="T66" fmla="*/ 88511 w 318"/>
                <a:gd name="T67" fmla="*/ 429837 h 330"/>
                <a:gd name="T68" fmla="*/ 41305 w 318"/>
                <a:gd name="T69" fmla="*/ 394508 h 330"/>
                <a:gd name="T70" fmla="*/ 88511 w 318"/>
                <a:gd name="T71" fmla="*/ 370955 h 330"/>
                <a:gd name="T72" fmla="*/ 123915 w 318"/>
                <a:gd name="T73" fmla="*/ 323850 h 330"/>
                <a:gd name="T74" fmla="*/ 141617 w 318"/>
                <a:gd name="T75" fmla="*/ 276745 h 330"/>
                <a:gd name="T76" fmla="*/ 153418 w 318"/>
                <a:gd name="T77" fmla="*/ 241415 h 330"/>
                <a:gd name="T78" fmla="*/ 100312 w 318"/>
                <a:gd name="T79" fmla="*/ 270856 h 330"/>
                <a:gd name="T80" fmla="*/ 100312 w 318"/>
                <a:gd name="T81" fmla="*/ 223751 h 330"/>
                <a:gd name="T82" fmla="*/ 76709 w 318"/>
                <a:gd name="T83" fmla="*/ 211975 h 330"/>
                <a:gd name="T84" fmla="*/ 29504 w 318"/>
                <a:gd name="T85" fmla="*/ 211975 h 330"/>
                <a:gd name="T86" fmla="*/ 76709 w 318"/>
                <a:gd name="T87" fmla="*/ 182534 h 330"/>
                <a:gd name="T88" fmla="*/ 135716 w 318"/>
                <a:gd name="T89" fmla="*/ 176645 h 330"/>
                <a:gd name="T90" fmla="*/ 177021 w 318"/>
                <a:gd name="T91" fmla="*/ 153093 h 330"/>
                <a:gd name="T92" fmla="*/ 194723 w 318"/>
                <a:gd name="T93" fmla="*/ 158981 h 330"/>
                <a:gd name="T94" fmla="*/ 200624 w 318"/>
                <a:gd name="T95" fmla="*/ 194310 h 330"/>
                <a:gd name="T96" fmla="*/ 236028 w 318"/>
                <a:gd name="T97" fmla="*/ 206086 h 330"/>
                <a:gd name="T98" fmla="*/ 277333 w 318"/>
                <a:gd name="T99" fmla="*/ 176645 h 330"/>
                <a:gd name="T100" fmla="*/ 312738 w 318"/>
                <a:gd name="T101" fmla="*/ 153093 h 330"/>
                <a:gd name="T102" fmla="*/ 342241 w 318"/>
                <a:gd name="T103" fmla="*/ 129540 h 330"/>
                <a:gd name="T104" fmla="*/ 395347 w 318"/>
                <a:gd name="T105" fmla="*/ 105987 h 330"/>
                <a:gd name="T106" fmla="*/ 436652 w 318"/>
                <a:gd name="T107" fmla="*/ 105987 h 330"/>
                <a:gd name="T108" fmla="*/ 483858 w 318"/>
                <a:gd name="T109" fmla="*/ 123652 h 330"/>
                <a:gd name="T110" fmla="*/ 472057 w 318"/>
                <a:gd name="T111" fmla="*/ 158981 h 330"/>
                <a:gd name="T112" fmla="*/ 477957 w 318"/>
                <a:gd name="T113" fmla="*/ 188422 h 330"/>
                <a:gd name="T114" fmla="*/ 495659 w 318"/>
                <a:gd name="T115" fmla="*/ 182534 h 330"/>
                <a:gd name="T116" fmla="*/ 531064 w 318"/>
                <a:gd name="T117" fmla="*/ 170757 h 330"/>
                <a:gd name="T118" fmla="*/ 536964 w 318"/>
                <a:gd name="T119" fmla="*/ 135428 h 330"/>
                <a:gd name="T120" fmla="*/ 531064 w 318"/>
                <a:gd name="T121" fmla="*/ 100099 h 3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18" h="330">
                  <a:moveTo>
                    <a:pt x="264" y="48"/>
                  </a:moveTo>
                  <a:lnTo>
                    <a:pt x="267" y="45"/>
                  </a:lnTo>
                  <a:lnTo>
                    <a:pt x="261" y="42"/>
                  </a:lnTo>
                  <a:lnTo>
                    <a:pt x="264" y="39"/>
                  </a:lnTo>
                  <a:lnTo>
                    <a:pt x="264" y="36"/>
                  </a:lnTo>
                  <a:lnTo>
                    <a:pt x="270" y="33"/>
                  </a:lnTo>
                  <a:lnTo>
                    <a:pt x="270" y="27"/>
                  </a:lnTo>
                  <a:lnTo>
                    <a:pt x="267" y="21"/>
                  </a:lnTo>
                  <a:lnTo>
                    <a:pt x="270" y="21"/>
                  </a:lnTo>
                  <a:lnTo>
                    <a:pt x="273" y="18"/>
                  </a:lnTo>
                  <a:lnTo>
                    <a:pt x="273" y="12"/>
                  </a:lnTo>
                  <a:lnTo>
                    <a:pt x="264" y="15"/>
                  </a:lnTo>
                  <a:lnTo>
                    <a:pt x="258" y="15"/>
                  </a:lnTo>
                  <a:lnTo>
                    <a:pt x="255" y="12"/>
                  </a:lnTo>
                  <a:lnTo>
                    <a:pt x="258" y="12"/>
                  </a:lnTo>
                  <a:lnTo>
                    <a:pt x="261" y="12"/>
                  </a:lnTo>
                  <a:lnTo>
                    <a:pt x="264" y="9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0" y="6"/>
                  </a:lnTo>
                  <a:lnTo>
                    <a:pt x="273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79" y="6"/>
                  </a:lnTo>
                  <a:lnTo>
                    <a:pt x="282" y="9"/>
                  </a:lnTo>
                  <a:lnTo>
                    <a:pt x="282" y="6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9"/>
                  </a:lnTo>
                  <a:lnTo>
                    <a:pt x="291" y="9"/>
                  </a:lnTo>
                  <a:lnTo>
                    <a:pt x="294" y="9"/>
                  </a:lnTo>
                  <a:lnTo>
                    <a:pt x="294" y="6"/>
                  </a:lnTo>
                  <a:lnTo>
                    <a:pt x="294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6" y="3"/>
                  </a:lnTo>
                  <a:lnTo>
                    <a:pt x="306" y="0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09" y="18"/>
                  </a:lnTo>
                  <a:lnTo>
                    <a:pt x="309" y="21"/>
                  </a:lnTo>
                  <a:lnTo>
                    <a:pt x="309" y="24"/>
                  </a:lnTo>
                  <a:lnTo>
                    <a:pt x="312" y="24"/>
                  </a:lnTo>
                  <a:lnTo>
                    <a:pt x="312" y="27"/>
                  </a:lnTo>
                  <a:lnTo>
                    <a:pt x="315" y="30"/>
                  </a:lnTo>
                  <a:lnTo>
                    <a:pt x="315" y="33"/>
                  </a:lnTo>
                  <a:lnTo>
                    <a:pt x="315" y="36"/>
                  </a:lnTo>
                  <a:lnTo>
                    <a:pt x="315" y="39"/>
                  </a:lnTo>
                  <a:lnTo>
                    <a:pt x="315" y="42"/>
                  </a:lnTo>
                  <a:lnTo>
                    <a:pt x="318" y="48"/>
                  </a:lnTo>
                  <a:lnTo>
                    <a:pt x="315" y="54"/>
                  </a:lnTo>
                  <a:lnTo>
                    <a:pt x="315" y="60"/>
                  </a:lnTo>
                  <a:lnTo>
                    <a:pt x="315" y="63"/>
                  </a:lnTo>
                  <a:lnTo>
                    <a:pt x="315" y="69"/>
                  </a:lnTo>
                  <a:lnTo>
                    <a:pt x="315" y="72"/>
                  </a:lnTo>
                  <a:lnTo>
                    <a:pt x="315" y="78"/>
                  </a:lnTo>
                  <a:lnTo>
                    <a:pt x="318" y="84"/>
                  </a:lnTo>
                  <a:lnTo>
                    <a:pt x="318" y="87"/>
                  </a:lnTo>
                  <a:lnTo>
                    <a:pt x="318" y="90"/>
                  </a:lnTo>
                  <a:lnTo>
                    <a:pt x="318" y="93"/>
                  </a:lnTo>
                  <a:lnTo>
                    <a:pt x="318" y="96"/>
                  </a:lnTo>
                  <a:lnTo>
                    <a:pt x="318" y="99"/>
                  </a:lnTo>
                  <a:lnTo>
                    <a:pt x="318" y="102"/>
                  </a:lnTo>
                  <a:lnTo>
                    <a:pt x="318" y="108"/>
                  </a:lnTo>
                  <a:lnTo>
                    <a:pt x="318" y="111"/>
                  </a:lnTo>
                  <a:lnTo>
                    <a:pt x="318" y="114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32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5" y="138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7"/>
                  </a:lnTo>
                  <a:lnTo>
                    <a:pt x="315" y="150"/>
                  </a:lnTo>
                  <a:lnTo>
                    <a:pt x="315" y="153"/>
                  </a:lnTo>
                  <a:lnTo>
                    <a:pt x="315" y="156"/>
                  </a:lnTo>
                  <a:lnTo>
                    <a:pt x="315" y="159"/>
                  </a:lnTo>
                  <a:lnTo>
                    <a:pt x="312" y="162"/>
                  </a:lnTo>
                  <a:lnTo>
                    <a:pt x="312" y="165"/>
                  </a:lnTo>
                  <a:lnTo>
                    <a:pt x="312" y="168"/>
                  </a:lnTo>
                  <a:lnTo>
                    <a:pt x="312" y="171"/>
                  </a:lnTo>
                  <a:lnTo>
                    <a:pt x="309" y="174"/>
                  </a:lnTo>
                  <a:lnTo>
                    <a:pt x="312" y="177"/>
                  </a:lnTo>
                  <a:lnTo>
                    <a:pt x="312" y="180"/>
                  </a:lnTo>
                  <a:lnTo>
                    <a:pt x="312" y="183"/>
                  </a:lnTo>
                  <a:lnTo>
                    <a:pt x="315" y="183"/>
                  </a:lnTo>
                  <a:lnTo>
                    <a:pt x="312" y="186"/>
                  </a:lnTo>
                  <a:lnTo>
                    <a:pt x="306" y="189"/>
                  </a:lnTo>
                  <a:lnTo>
                    <a:pt x="303" y="186"/>
                  </a:lnTo>
                  <a:lnTo>
                    <a:pt x="297" y="183"/>
                  </a:lnTo>
                  <a:lnTo>
                    <a:pt x="294" y="183"/>
                  </a:lnTo>
                  <a:lnTo>
                    <a:pt x="291" y="177"/>
                  </a:lnTo>
                  <a:lnTo>
                    <a:pt x="288" y="177"/>
                  </a:lnTo>
                  <a:lnTo>
                    <a:pt x="279" y="171"/>
                  </a:lnTo>
                  <a:lnTo>
                    <a:pt x="273" y="168"/>
                  </a:lnTo>
                  <a:lnTo>
                    <a:pt x="270" y="165"/>
                  </a:lnTo>
                  <a:lnTo>
                    <a:pt x="267" y="162"/>
                  </a:lnTo>
                  <a:lnTo>
                    <a:pt x="258" y="165"/>
                  </a:lnTo>
                  <a:lnTo>
                    <a:pt x="255" y="171"/>
                  </a:lnTo>
                  <a:lnTo>
                    <a:pt x="252" y="171"/>
                  </a:lnTo>
                  <a:lnTo>
                    <a:pt x="243" y="180"/>
                  </a:lnTo>
                  <a:lnTo>
                    <a:pt x="243" y="186"/>
                  </a:lnTo>
                  <a:lnTo>
                    <a:pt x="240" y="189"/>
                  </a:lnTo>
                  <a:lnTo>
                    <a:pt x="240" y="192"/>
                  </a:lnTo>
                  <a:lnTo>
                    <a:pt x="240" y="195"/>
                  </a:lnTo>
                  <a:lnTo>
                    <a:pt x="237" y="195"/>
                  </a:lnTo>
                  <a:lnTo>
                    <a:pt x="237" y="198"/>
                  </a:lnTo>
                  <a:lnTo>
                    <a:pt x="237" y="201"/>
                  </a:lnTo>
                  <a:lnTo>
                    <a:pt x="234" y="201"/>
                  </a:lnTo>
                  <a:lnTo>
                    <a:pt x="234" y="204"/>
                  </a:lnTo>
                  <a:lnTo>
                    <a:pt x="234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3"/>
                  </a:lnTo>
                  <a:lnTo>
                    <a:pt x="228" y="213"/>
                  </a:lnTo>
                  <a:lnTo>
                    <a:pt x="225" y="216"/>
                  </a:lnTo>
                  <a:lnTo>
                    <a:pt x="222" y="219"/>
                  </a:lnTo>
                  <a:lnTo>
                    <a:pt x="219" y="225"/>
                  </a:lnTo>
                  <a:lnTo>
                    <a:pt x="219" y="228"/>
                  </a:lnTo>
                  <a:lnTo>
                    <a:pt x="216" y="231"/>
                  </a:lnTo>
                  <a:lnTo>
                    <a:pt x="216" y="234"/>
                  </a:lnTo>
                  <a:lnTo>
                    <a:pt x="216" y="237"/>
                  </a:lnTo>
                  <a:lnTo>
                    <a:pt x="216" y="243"/>
                  </a:lnTo>
                  <a:lnTo>
                    <a:pt x="216" y="246"/>
                  </a:lnTo>
                  <a:lnTo>
                    <a:pt x="216" y="249"/>
                  </a:lnTo>
                  <a:lnTo>
                    <a:pt x="216" y="255"/>
                  </a:lnTo>
                  <a:lnTo>
                    <a:pt x="216" y="258"/>
                  </a:lnTo>
                  <a:lnTo>
                    <a:pt x="216" y="261"/>
                  </a:lnTo>
                  <a:lnTo>
                    <a:pt x="216" y="264"/>
                  </a:lnTo>
                  <a:lnTo>
                    <a:pt x="216" y="267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1"/>
                  </a:lnTo>
                  <a:lnTo>
                    <a:pt x="222" y="264"/>
                  </a:lnTo>
                  <a:lnTo>
                    <a:pt x="225" y="267"/>
                  </a:lnTo>
                  <a:lnTo>
                    <a:pt x="225" y="270"/>
                  </a:lnTo>
                  <a:lnTo>
                    <a:pt x="228" y="270"/>
                  </a:lnTo>
                  <a:lnTo>
                    <a:pt x="228" y="273"/>
                  </a:lnTo>
                  <a:lnTo>
                    <a:pt x="231" y="273"/>
                  </a:lnTo>
                  <a:lnTo>
                    <a:pt x="231" y="276"/>
                  </a:lnTo>
                  <a:lnTo>
                    <a:pt x="231" y="279"/>
                  </a:lnTo>
                  <a:lnTo>
                    <a:pt x="228" y="282"/>
                  </a:lnTo>
                  <a:lnTo>
                    <a:pt x="231" y="285"/>
                  </a:lnTo>
                  <a:lnTo>
                    <a:pt x="231" y="288"/>
                  </a:lnTo>
                  <a:lnTo>
                    <a:pt x="234" y="288"/>
                  </a:lnTo>
                  <a:lnTo>
                    <a:pt x="234" y="291"/>
                  </a:lnTo>
                  <a:lnTo>
                    <a:pt x="237" y="291"/>
                  </a:lnTo>
                  <a:lnTo>
                    <a:pt x="237" y="294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43" y="297"/>
                  </a:lnTo>
                  <a:lnTo>
                    <a:pt x="243" y="300"/>
                  </a:lnTo>
                  <a:lnTo>
                    <a:pt x="246" y="300"/>
                  </a:lnTo>
                  <a:lnTo>
                    <a:pt x="246" y="303"/>
                  </a:lnTo>
                  <a:lnTo>
                    <a:pt x="249" y="303"/>
                  </a:lnTo>
                  <a:lnTo>
                    <a:pt x="252" y="303"/>
                  </a:lnTo>
                  <a:lnTo>
                    <a:pt x="255" y="306"/>
                  </a:lnTo>
                  <a:lnTo>
                    <a:pt x="252" y="309"/>
                  </a:lnTo>
                  <a:lnTo>
                    <a:pt x="249" y="312"/>
                  </a:lnTo>
                  <a:lnTo>
                    <a:pt x="246" y="318"/>
                  </a:lnTo>
                  <a:lnTo>
                    <a:pt x="243" y="318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5"/>
                  </a:lnTo>
                  <a:lnTo>
                    <a:pt x="237" y="315"/>
                  </a:lnTo>
                  <a:lnTo>
                    <a:pt x="234" y="315"/>
                  </a:lnTo>
                  <a:lnTo>
                    <a:pt x="231" y="315"/>
                  </a:lnTo>
                  <a:lnTo>
                    <a:pt x="231" y="318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5" y="315"/>
                  </a:lnTo>
                  <a:lnTo>
                    <a:pt x="225" y="312"/>
                  </a:lnTo>
                  <a:lnTo>
                    <a:pt x="222" y="312"/>
                  </a:lnTo>
                  <a:lnTo>
                    <a:pt x="222" y="315"/>
                  </a:lnTo>
                  <a:lnTo>
                    <a:pt x="219" y="315"/>
                  </a:lnTo>
                  <a:lnTo>
                    <a:pt x="213" y="312"/>
                  </a:lnTo>
                  <a:lnTo>
                    <a:pt x="207" y="309"/>
                  </a:lnTo>
                  <a:lnTo>
                    <a:pt x="204" y="309"/>
                  </a:lnTo>
                  <a:lnTo>
                    <a:pt x="198" y="312"/>
                  </a:lnTo>
                  <a:lnTo>
                    <a:pt x="195" y="312"/>
                  </a:lnTo>
                  <a:lnTo>
                    <a:pt x="192" y="312"/>
                  </a:lnTo>
                  <a:lnTo>
                    <a:pt x="189" y="312"/>
                  </a:lnTo>
                  <a:lnTo>
                    <a:pt x="186" y="312"/>
                  </a:lnTo>
                  <a:lnTo>
                    <a:pt x="183" y="312"/>
                  </a:lnTo>
                  <a:lnTo>
                    <a:pt x="183" y="309"/>
                  </a:lnTo>
                  <a:lnTo>
                    <a:pt x="180" y="309"/>
                  </a:lnTo>
                  <a:lnTo>
                    <a:pt x="180" y="312"/>
                  </a:lnTo>
                  <a:lnTo>
                    <a:pt x="177" y="312"/>
                  </a:lnTo>
                  <a:lnTo>
                    <a:pt x="174" y="312"/>
                  </a:lnTo>
                  <a:lnTo>
                    <a:pt x="171" y="312"/>
                  </a:lnTo>
                  <a:lnTo>
                    <a:pt x="171" y="315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5" y="315"/>
                  </a:lnTo>
                  <a:lnTo>
                    <a:pt x="165" y="318"/>
                  </a:lnTo>
                  <a:lnTo>
                    <a:pt x="162" y="318"/>
                  </a:lnTo>
                  <a:lnTo>
                    <a:pt x="162" y="321"/>
                  </a:lnTo>
                  <a:lnTo>
                    <a:pt x="159" y="321"/>
                  </a:lnTo>
                  <a:lnTo>
                    <a:pt x="156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1"/>
                  </a:lnTo>
                  <a:lnTo>
                    <a:pt x="147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8"/>
                  </a:lnTo>
                  <a:lnTo>
                    <a:pt x="138" y="318"/>
                  </a:lnTo>
                  <a:lnTo>
                    <a:pt x="135" y="318"/>
                  </a:lnTo>
                  <a:lnTo>
                    <a:pt x="135" y="321"/>
                  </a:lnTo>
                  <a:lnTo>
                    <a:pt x="132" y="321"/>
                  </a:lnTo>
                  <a:lnTo>
                    <a:pt x="132" y="324"/>
                  </a:lnTo>
                  <a:lnTo>
                    <a:pt x="132" y="327"/>
                  </a:lnTo>
                  <a:lnTo>
                    <a:pt x="132" y="324"/>
                  </a:lnTo>
                  <a:lnTo>
                    <a:pt x="129" y="324"/>
                  </a:lnTo>
                  <a:lnTo>
                    <a:pt x="126" y="324"/>
                  </a:lnTo>
                  <a:lnTo>
                    <a:pt x="123" y="324"/>
                  </a:lnTo>
                  <a:lnTo>
                    <a:pt x="123" y="327"/>
                  </a:lnTo>
                  <a:lnTo>
                    <a:pt x="123" y="330"/>
                  </a:lnTo>
                  <a:lnTo>
                    <a:pt x="120" y="330"/>
                  </a:lnTo>
                  <a:lnTo>
                    <a:pt x="117" y="330"/>
                  </a:lnTo>
                  <a:lnTo>
                    <a:pt x="114" y="330"/>
                  </a:lnTo>
                  <a:lnTo>
                    <a:pt x="114" y="327"/>
                  </a:lnTo>
                  <a:lnTo>
                    <a:pt x="114" y="324"/>
                  </a:lnTo>
                  <a:lnTo>
                    <a:pt x="111" y="324"/>
                  </a:lnTo>
                  <a:lnTo>
                    <a:pt x="111" y="321"/>
                  </a:lnTo>
                  <a:lnTo>
                    <a:pt x="111" y="318"/>
                  </a:lnTo>
                  <a:lnTo>
                    <a:pt x="108" y="318"/>
                  </a:lnTo>
                  <a:lnTo>
                    <a:pt x="108" y="321"/>
                  </a:lnTo>
                  <a:lnTo>
                    <a:pt x="108" y="318"/>
                  </a:lnTo>
                  <a:lnTo>
                    <a:pt x="108" y="315"/>
                  </a:lnTo>
                  <a:lnTo>
                    <a:pt x="105" y="315"/>
                  </a:lnTo>
                  <a:lnTo>
                    <a:pt x="105" y="312"/>
                  </a:lnTo>
                  <a:lnTo>
                    <a:pt x="105" y="309"/>
                  </a:lnTo>
                  <a:lnTo>
                    <a:pt x="102" y="309"/>
                  </a:lnTo>
                  <a:lnTo>
                    <a:pt x="102" y="306"/>
                  </a:lnTo>
                  <a:lnTo>
                    <a:pt x="99" y="306"/>
                  </a:lnTo>
                  <a:lnTo>
                    <a:pt x="96" y="306"/>
                  </a:lnTo>
                  <a:lnTo>
                    <a:pt x="93" y="306"/>
                  </a:lnTo>
                  <a:lnTo>
                    <a:pt x="93" y="303"/>
                  </a:lnTo>
                  <a:lnTo>
                    <a:pt x="90" y="303"/>
                  </a:lnTo>
                  <a:lnTo>
                    <a:pt x="90" y="300"/>
                  </a:lnTo>
                  <a:lnTo>
                    <a:pt x="87" y="300"/>
                  </a:lnTo>
                  <a:lnTo>
                    <a:pt x="84" y="300"/>
                  </a:lnTo>
                  <a:lnTo>
                    <a:pt x="84" y="297"/>
                  </a:lnTo>
                  <a:lnTo>
                    <a:pt x="81" y="297"/>
                  </a:lnTo>
                  <a:lnTo>
                    <a:pt x="81" y="294"/>
                  </a:lnTo>
                  <a:lnTo>
                    <a:pt x="81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297"/>
                  </a:lnTo>
                  <a:lnTo>
                    <a:pt x="72" y="297"/>
                  </a:lnTo>
                  <a:lnTo>
                    <a:pt x="72" y="294"/>
                  </a:lnTo>
                  <a:lnTo>
                    <a:pt x="72" y="291"/>
                  </a:lnTo>
                  <a:lnTo>
                    <a:pt x="69" y="291"/>
                  </a:lnTo>
                  <a:lnTo>
                    <a:pt x="69" y="288"/>
                  </a:lnTo>
                  <a:lnTo>
                    <a:pt x="72" y="288"/>
                  </a:lnTo>
                  <a:lnTo>
                    <a:pt x="69" y="288"/>
                  </a:lnTo>
                  <a:lnTo>
                    <a:pt x="69" y="285"/>
                  </a:lnTo>
                  <a:lnTo>
                    <a:pt x="69" y="282"/>
                  </a:lnTo>
                  <a:lnTo>
                    <a:pt x="69" y="285"/>
                  </a:lnTo>
                  <a:lnTo>
                    <a:pt x="66" y="285"/>
                  </a:lnTo>
                  <a:lnTo>
                    <a:pt x="66" y="282"/>
                  </a:lnTo>
                  <a:lnTo>
                    <a:pt x="63" y="282"/>
                  </a:lnTo>
                  <a:lnTo>
                    <a:pt x="60" y="282"/>
                  </a:lnTo>
                  <a:lnTo>
                    <a:pt x="60" y="285"/>
                  </a:lnTo>
                  <a:lnTo>
                    <a:pt x="57" y="285"/>
                  </a:lnTo>
                  <a:lnTo>
                    <a:pt x="54" y="285"/>
                  </a:lnTo>
                  <a:lnTo>
                    <a:pt x="57" y="285"/>
                  </a:lnTo>
                  <a:lnTo>
                    <a:pt x="57" y="288"/>
                  </a:lnTo>
                  <a:lnTo>
                    <a:pt x="54" y="288"/>
                  </a:lnTo>
                  <a:lnTo>
                    <a:pt x="54" y="285"/>
                  </a:lnTo>
                  <a:lnTo>
                    <a:pt x="51" y="285"/>
                  </a:lnTo>
                  <a:lnTo>
                    <a:pt x="48" y="285"/>
                  </a:lnTo>
                  <a:lnTo>
                    <a:pt x="48" y="282"/>
                  </a:lnTo>
                  <a:lnTo>
                    <a:pt x="48" y="285"/>
                  </a:lnTo>
                  <a:lnTo>
                    <a:pt x="45" y="285"/>
                  </a:lnTo>
                  <a:lnTo>
                    <a:pt x="45" y="282"/>
                  </a:lnTo>
                  <a:lnTo>
                    <a:pt x="42" y="282"/>
                  </a:lnTo>
                  <a:lnTo>
                    <a:pt x="42" y="279"/>
                  </a:lnTo>
                  <a:lnTo>
                    <a:pt x="39" y="279"/>
                  </a:lnTo>
                  <a:lnTo>
                    <a:pt x="36" y="279"/>
                  </a:lnTo>
                  <a:lnTo>
                    <a:pt x="33" y="279"/>
                  </a:lnTo>
                  <a:lnTo>
                    <a:pt x="33" y="282"/>
                  </a:lnTo>
                  <a:lnTo>
                    <a:pt x="36" y="282"/>
                  </a:lnTo>
                  <a:lnTo>
                    <a:pt x="36" y="285"/>
                  </a:lnTo>
                  <a:lnTo>
                    <a:pt x="33" y="285"/>
                  </a:lnTo>
                  <a:lnTo>
                    <a:pt x="33" y="282"/>
                  </a:lnTo>
                  <a:lnTo>
                    <a:pt x="33" y="285"/>
                  </a:lnTo>
                  <a:lnTo>
                    <a:pt x="30" y="285"/>
                  </a:lnTo>
                  <a:lnTo>
                    <a:pt x="27" y="285"/>
                  </a:lnTo>
                  <a:lnTo>
                    <a:pt x="27" y="288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27" y="285"/>
                  </a:lnTo>
                  <a:lnTo>
                    <a:pt x="24" y="285"/>
                  </a:lnTo>
                  <a:lnTo>
                    <a:pt x="24" y="282"/>
                  </a:lnTo>
                  <a:lnTo>
                    <a:pt x="24" y="279"/>
                  </a:lnTo>
                  <a:lnTo>
                    <a:pt x="21" y="279"/>
                  </a:lnTo>
                  <a:lnTo>
                    <a:pt x="21" y="282"/>
                  </a:lnTo>
                  <a:lnTo>
                    <a:pt x="18" y="279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85"/>
                  </a:lnTo>
                  <a:lnTo>
                    <a:pt x="15" y="282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79"/>
                  </a:lnTo>
                  <a:lnTo>
                    <a:pt x="15" y="276"/>
                  </a:lnTo>
                  <a:lnTo>
                    <a:pt x="12" y="276"/>
                  </a:lnTo>
                  <a:lnTo>
                    <a:pt x="9" y="276"/>
                  </a:lnTo>
                  <a:lnTo>
                    <a:pt x="9" y="279"/>
                  </a:lnTo>
                  <a:lnTo>
                    <a:pt x="9" y="276"/>
                  </a:lnTo>
                  <a:lnTo>
                    <a:pt x="6" y="276"/>
                  </a:lnTo>
                  <a:lnTo>
                    <a:pt x="3" y="273"/>
                  </a:lnTo>
                  <a:lnTo>
                    <a:pt x="0" y="273"/>
                  </a:lnTo>
                  <a:lnTo>
                    <a:pt x="0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6" y="264"/>
                  </a:lnTo>
                  <a:lnTo>
                    <a:pt x="9" y="261"/>
                  </a:lnTo>
                  <a:lnTo>
                    <a:pt x="12" y="261"/>
                  </a:lnTo>
                  <a:lnTo>
                    <a:pt x="15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2" y="255"/>
                  </a:lnTo>
                  <a:lnTo>
                    <a:pt x="15" y="249"/>
                  </a:lnTo>
                  <a:lnTo>
                    <a:pt x="18" y="249"/>
                  </a:lnTo>
                  <a:lnTo>
                    <a:pt x="21" y="249"/>
                  </a:lnTo>
                  <a:lnTo>
                    <a:pt x="21" y="246"/>
                  </a:lnTo>
                  <a:lnTo>
                    <a:pt x="24" y="246"/>
                  </a:lnTo>
                  <a:lnTo>
                    <a:pt x="24" y="243"/>
                  </a:lnTo>
                  <a:lnTo>
                    <a:pt x="24" y="240"/>
                  </a:lnTo>
                  <a:lnTo>
                    <a:pt x="24" y="237"/>
                  </a:lnTo>
                  <a:lnTo>
                    <a:pt x="30" y="237"/>
                  </a:lnTo>
                  <a:lnTo>
                    <a:pt x="27" y="237"/>
                  </a:lnTo>
                  <a:lnTo>
                    <a:pt x="30" y="237"/>
                  </a:lnTo>
                  <a:lnTo>
                    <a:pt x="30" y="240"/>
                  </a:lnTo>
                  <a:lnTo>
                    <a:pt x="33" y="240"/>
                  </a:lnTo>
                  <a:lnTo>
                    <a:pt x="33" y="237"/>
                  </a:lnTo>
                  <a:lnTo>
                    <a:pt x="36" y="237"/>
                  </a:lnTo>
                  <a:lnTo>
                    <a:pt x="39" y="237"/>
                  </a:lnTo>
                  <a:lnTo>
                    <a:pt x="42" y="237"/>
                  </a:lnTo>
                  <a:lnTo>
                    <a:pt x="45" y="237"/>
                  </a:lnTo>
                  <a:lnTo>
                    <a:pt x="45" y="234"/>
                  </a:lnTo>
                  <a:lnTo>
                    <a:pt x="45" y="231"/>
                  </a:lnTo>
                  <a:lnTo>
                    <a:pt x="48" y="231"/>
                  </a:lnTo>
                  <a:lnTo>
                    <a:pt x="45" y="231"/>
                  </a:lnTo>
                  <a:lnTo>
                    <a:pt x="45" y="228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54" y="225"/>
                  </a:lnTo>
                  <a:lnTo>
                    <a:pt x="51" y="222"/>
                  </a:lnTo>
                  <a:lnTo>
                    <a:pt x="48" y="222"/>
                  </a:lnTo>
                  <a:lnTo>
                    <a:pt x="48" y="216"/>
                  </a:lnTo>
                  <a:lnTo>
                    <a:pt x="45" y="219"/>
                  </a:lnTo>
                  <a:lnTo>
                    <a:pt x="42" y="219"/>
                  </a:lnTo>
                  <a:lnTo>
                    <a:pt x="39" y="222"/>
                  </a:lnTo>
                  <a:lnTo>
                    <a:pt x="36" y="219"/>
                  </a:lnTo>
                  <a:lnTo>
                    <a:pt x="33" y="216"/>
                  </a:lnTo>
                  <a:lnTo>
                    <a:pt x="33" y="213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7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1" y="201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4" y="195"/>
                  </a:lnTo>
                  <a:lnTo>
                    <a:pt x="27" y="192"/>
                  </a:lnTo>
                  <a:lnTo>
                    <a:pt x="30" y="195"/>
                  </a:lnTo>
                  <a:lnTo>
                    <a:pt x="30" y="189"/>
                  </a:lnTo>
                  <a:lnTo>
                    <a:pt x="33" y="186"/>
                  </a:lnTo>
                  <a:lnTo>
                    <a:pt x="39" y="189"/>
                  </a:lnTo>
                  <a:lnTo>
                    <a:pt x="45" y="189"/>
                  </a:lnTo>
                  <a:lnTo>
                    <a:pt x="45" y="186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4" y="189"/>
                  </a:lnTo>
                  <a:lnTo>
                    <a:pt x="54" y="186"/>
                  </a:lnTo>
                  <a:lnTo>
                    <a:pt x="54" y="183"/>
                  </a:lnTo>
                  <a:lnTo>
                    <a:pt x="54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60" y="171"/>
                  </a:lnTo>
                  <a:lnTo>
                    <a:pt x="60" y="168"/>
                  </a:lnTo>
                  <a:lnTo>
                    <a:pt x="63" y="165"/>
                  </a:lnTo>
                  <a:lnTo>
                    <a:pt x="60" y="162"/>
                  </a:lnTo>
                  <a:lnTo>
                    <a:pt x="63" y="159"/>
                  </a:lnTo>
                  <a:lnTo>
                    <a:pt x="66" y="156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75" y="138"/>
                  </a:lnTo>
                  <a:lnTo>
                    <a:pt x="78" y="138"/>
                  </a:lnTo>
                  <a:lnTo>
                    <a:pt x="78" y="135"/>
                  </a:lnTo>
                  <a:lnTo>
                    <a:pt x="81" y="135"/>
                  </a:lnTo>
                  <a:lnTo>
                    <a:pt x="84" y="129"/>
                  </a:lnTo>
                  <a:lnTo>
                    <a:pt x="84" y="126"/>
                  </a:lnTo>
                  <a:lnTo>
                    <a:pt x="81" y="129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75" y="126"/>
                  </a:lnTo>
                  <a:lnTo>
                    <a:pt x="69" y="126"/>
                  </a:lnTo>
                  <a:lnTo>
                    <a:pt x="66" y="129"/>
                  </a:lnTo>
                  <a:lnTo>
                    <a:pt x="63" y="129"/>
                  </a:lnTo>
                  <a:lnTo>
                    <a:pt x="63" y="132"/>
                  </a:lnTo>
                  <a:lnTo>
                    <a:pt x="60" y="132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4" y="135"/>
                  </a:lnTo>
                  <a:lnTo>
                    <a:pt x="54" y="138"/>
                  </a:lnTo>
                  <a:lnTo>
                    <a:pt x="51" y="138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5" y="132"/>
                  </a:lnTo>
                  <a:lnTo>
                    <a:pt x="45" y="129"/>
                  </a:lnTo>
                  <a:lnTo>
                    <a:pt x="48" y="126"/>
                  </a:lnTo>
                  <a:lnTo>
                    <a:pt x="51" y="123"/>
                  </a:lnTo>
                  <a:lnTo>
                    <a:pt x="54" y="120"/>
                  </a:lnTo>
                  <a:lnTo>
                    <a:pt x="54" y="117"/>
                  </a:lnTo>
                  <a:lnTo>
                    <a:pt x="54" y="114"/>
                  </a:lnTo>
                  <a:lnTo>
                    <a:pt x="51" y="114"/>
                  </a:lnTo>
                  <a:lnTo>
                    <a:pt x="51" y="111"/>
                  </a:lnTo>
                  <a:lnTo>
                    <a:pt x="54" y="114"/>
                  </a:lnTo>
                  <a:lnTo>
                    <a:pt x="57" y="111"/>
                  </a:lnTo>
                  <a:lnTo>
                    <a:pt x="54" y="111"/>
                  </a:lnTo>
                  <a:lnTo>
                    <a:pt x="57" y="108"/>
                  </a:lnTo>
                  <a:lnTo>
                    <a:pt x="54" y="111"/>
                  </a:lnTo>
                  <a:lnTo>
                    <a:pt x="51" y="111"/>
                  </a:lnTo>
                  <a:lnTo>
                    <a:pt x="51" y="108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7" y="111"/>
                  </a:lnTo>
                  <a:lnTo>
                    <a:pt x="24" y="111"/>
                  </a:lnTo>
                  <a:lnTo>
                    <a:pt x="24" y="114"/>
                  </a:lnTo>
                  <a:lnTo>
                    <a:pt x="21" y="114"/>
                  </a:lnTo>
                  <a:lnTo>
                    <a:pt x="18" y="114"/>
                  </a:lnTo>
                  <a:lnTo>
                    <a:pt x="12" y="117"/>
                  </a:lnTo>
                  <a:lnTo>
                    <a:pt x="15" y="114"/>
                  </a:lnTo>
                  <a:lnTo>
                    <a:pt x="12" y="111"/>
                  </a:lnTo>
                  <a:lnTo>
                    <a:pt x="15" y="108"/>
                  </a:lnTo>
                  <a:lnTo>
                    <a:pt x="18" y="108"/>
                  </a:lnTo>
                  <a:lnTo>
                    <a:pt x="21" y="108"/>
                  </a:lnTo>
                  <a:lnTo>
                    <a:pt x="21" y="105"/>
                  </a:lnTo>
                  <a:lnTo>
                    <a:pt x="24" y="105"/>
                  </a:lnTo>
                  <a:lnTo>
                    <a:pt x="27" y="102"/>
                  </a:lnTo>
                  <a:lnTo>
                    <a:pt x="33" y="102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9" y="93"/>
                  </a:lnTo>
                  <a:lnTo>
                    <a:pt x="42" y="93"/>
                  </a:lnTo>
                  <a:lnTo>
                    <a:pt x="45" y="87"/>
                  </a:lnTo>
                  <a:lnTo>
                    <a:pt x="48" y="87"/>
                  </a:lnTo>
                  <a:lnTo>
                    <a:pt x="51" y="87"/>
                  </a:lnTo>
                  <a:lnTo>
                    <a:pt x="51" y="90"/>
                  </a:lnTo>
                  <a:lnTo>
                    <a:pt x="54" y="87"/>
                  </a:lnTo>
                  <a:lnTo>
                    <a:pt x="57" y="87"/>
                  </a:lnTo>
                  <a:lnTo>
                    <a:pt x="60" y="87"/>
                  </a:lnTo>
                  <a:lnTo>
                    <a:pt x="63" y="87"/>
                  </a:lnTo>
                  <a:lnTo>
                    <a:pt x="69" y="87"/>
                  </a:lnTo>
                  <a:lnTo>
                    <a:pt x="69" y="90"/>
                  </a:lnTo>
                  <a:lnTo>
                    <a:pt x="72" y="90"/>
                  </a:lnTo>
                  <a:lnTo>
                    <a:pt x="72" y="93"/>
                  </a:lnTo>
                  <a:lnTo>
                    <a:pt x="78" y="90"/>
                  </a:lnTo>
                  <a:lnTo>
                    <a:pt x="81" y="90"/>
                  </a:lnTo>
                  <a:lnTo>
                    <a:pt x="81" y="87"/>
                  </a:lnTo>
                  <a:lnTo>
                    <a:pt x="78" y="87"/>
                  </a:lnTo>
                  <a:lnTo>
                    <a:pt x="81" y="87"/>
                  </a:lnTo>
                  <a:lnTo>
                    <a:pt x="84" y="81"/>
                  </a:lnTo>
                  <a:lnTo>
                    <a:pt x="84" y="78"/>
                  </a:lnTo>
                  <a:lnTo>
                    <a:pt x="87" y="78"/>
                  </a:lnTo>
                  <a:lnTo>
                    <a:pt x="90" y="78"/>
                  </a:lnTo>
                  <a:lnTo>
                    <a:pt x="93" y="75"/>
                  </a:lnTo>
                  <a:lnTo>
                    <a:pt x="93" y="78"/>
                  </a:lnTo>
                  <a:lnTo>
                    <a:pt x="96" y="75"/>
                  </a:lnTo>
                  <a:lnTo>
                    <a:pt x="99" y="72"/>
                  </a:lnTo>
                  <a:lnTo>
                    <a:pt x="102" y="72"/>
                  </a:lnTo>
                  <a:lnTo>
                    <a:pt x="99" y="72"/>
                  </a:lnTo>
                  <a:lnTo>
                    <a:pt x="99" y="75"/>
                  </a:lnTo>
                  <a:lnTo>
                    <a:pt x="102" y="75"/>
                  </a:lnTo>
                  <a:lnTo>
                    <a:pt x="102" y="78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96" y="81"/>
                  </a:lnTo>
                  <a:lnTo>
                    <a:pt x="99" y="87"/>
                  </a:lnTo>
                  <a:lnTo>
                    <a:pt x="96" y="90"/>
                  </a:lnTo>
                  <a:lnTo>
                    <a:pt x="99" y="90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2" y="99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5" y="105"/>
                  </a:lnTo>
                  <a:lnTo>
                    <a:pt x="105" y="108"/>
                  </a:lnTo>
                  <a:lnTo>
                    <a:pt x="111" y="108"/>
                  </a:lnTo>
                  <a:lnTo>
                    <a:pt x="111" y="105"/>
                  </a:lnTo>
                  <a:lnTo>
                    <a:pt x="114" y="105"/>
                  </a:lnTo>
                  <a:lnTo>
                    <a:pt x="117" y="105"/>
                  </a:lnTo>
                  <a:lnTo>
                    <a:pt x="117" y="102"/>
                  </a:lnTo>
                  <a:lnTo>
                    <a:pt x="120" y="105"/>
                  </a:lnTo>
                  <a:lnTo>
                    <a:pt x="123" y="105"/>
                  </a:lnTo>
                  <a:lnTo>
                    <a:pt x="126" y="105"/>
                  </a:lnTo>
                  <a:lnTo>
                    <a:pt x="129" y="105"/>
                  </a:lnTo>
                  <a:lnTo>
                    <a:pt x="129" y="102"/>
                  </a:lnTo>
                  <a:lnTo>
                    <a:pt x="129" y="99"/>
                  </a:lnTo>
                  <a:lnTo>
                    <a:pt x="132" y="102"/>
                  </a:lnTo>
                  <a:lnTo>
                    <a:pt x="132" y="99"/>
                  </a:lnTo>
                  <a:lnTo>
                    <a:pt x="135" y="99"/>
                  </a:lnTo>
                  <a:lnTo>
                    <a:pt x="138" y="96"/>
                  </a:lnTo>
                  <a:lnTo>
                    <a:pt x="138" y="93"/>
                  </a:lnTo>
                  <a:lnTo>
                    <a:pt x="141" y="90"/>
                  </a:lnTo>
                  <a:lnTo>
                    <a:pt x="141" y="87"/>
                  </a:lnTo>
                  <a:lnTo>
                    <a:pt x="144" y="90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62" y="75"/>
                  </a:lnTo>
                  <a:lnTo>
                    <a:pt x="162" y="72"/>
                  </a:lnTo>
                  <a:lnTo>
                    <a:pt x="165" y="72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1" y="69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3"/>
                  </a:lnTo>
                  <a:lnTo>
                    <a:pt x="174" y="60"/>
                  </a:lnTo>
                  <a:lnTo>
                    <a:pt x="177" y="60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3" y="60"/>
                  </a:lnTo>
                  <a:lnTo>
                    <a:pt x="189" y="60"/>
                  </a:lnTo>
                  <a:lnTo>
                    <a:pt x="195" y="66"/>
                  </a:lnTo>
                  <a:lnTo>
                    <a:pt x="198" y="60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54"/>
                  </a:lnTo>
                  <a:lnTo>
                    <a:pt x="207" y="54"/>
                  </a:lnTo>
                  <a:lnTo>
                    <a:pt x="207" y="51"/>
                  </a:lnTo>
                  <a:lnTo>
                    <a:pt x="210" y="51"/>
                  </a:lnTo>
                  <a:lnTo>
                    <a:pt x="210" y="54"/>
                  </a:lnTo>
                  <a:lnTo>
                    <a:pt x="210" y="51"/>
                  </a:lnTo>
                  <a:lnTo>
                    <a:pt x="210" y="48"/>
                  </a:lnTo>
                  <a:lnTo>
                    <a:pt x="213" y="45"/>
                  </a:lnTo>
                  <a:lnTo>
                    <a:pt x="213" y="48"/>
                  </a:lnTo>
                  <a:lnTo>
                    <a:pt x="216" y="51"/>
                  </a:lnTo>
                  <a:lnTo>
                    <a:pt x="222" y="54"/>
                  </a:lnTo>
                  <a:lnTo>
                    <a:pt x="225" y="51"/>
                  </a:lnTo>
                  <a:lnTo>
                    <a:pt x="228" y="51"/>
                  </a:lnTo>
                  <a:lnTo>
                    <a:pt x="228" y="57"/>
                  </a:lnTo>
                  <a:lnTo>
                    <a:pt x="231" y="57"/>
                  </a:lnTo>
                  <a:lnTo>
                    <a:pt x="234" y="57"/>
                  </a:lnTo>
                  <a:lnTo>
                    <a:pt x="237" y="57"/>
                  </a:lnTo>
                  <a:lnTo>
                    <a:pt x="237" y="60"/>
                  </a:lnTo>
                  <a:lnTo>
                    <a:pt x="240" y="60"/>
                  </a:lnTo>
                  <a:lnTo>
                    <a:pt x="243" y="60"/>
                  </a:lnTo>
                  <a:lnTo>
                    <a:pt x="246" y="60"/>
                  </a:lnTo>
                  <a:lnTo>
                    <a:pt x="246" y="63"/>
                  </a:lnTo>
                  <a:lnTo>
                    <a:pt x="246" y="66"/>
                  </a:lnTo>
                  <a:lnTo>
                    <a:pt x="246" y="69"/>
                  </a:lnTo>
                  <a:lnTo>
                    <a:pt x="243" y="69"/>
                  </a:lnTo>
                  <a:lnTo>
                    <a:pt x="237" y="69"/>
                  </a:lnTo>
                  <a:lnTo>
                    <a:pt x="237" y="72"/>
                  </a:lnTo>
                  <a:lnTo>
                    <a:pt x="237" y="75"/>
                  </a:lnTo>
                  <a:lnTo>
                    <a:pt x="243" y="75"/>
                  </a:lnTo>
                  <a:lnTo>
                    <a:pt x="240" y="75"/>
                  </a:lnTo>
                  <a:lnTo>
                    <a:pt x="240" y="78"/>
                  </a:lnTo>
                  <a:lnTo>
                    <a:pt x="243" y="78"/>
                  </a:lnTo>
                  <a:lnTo>
                    <a:pt x="240" y="81"/>
                  </a:lnTo>
                  <a:lnTo>
                    <a:pt x="243" y="81"/>
                  </a:lnTo>
                  <a:lnTo>
                    <a:pt x="249" y="81"/>
                  </a:lnTo>
                  <a:lnTo>
                    <a:pt x="249" y="84"/>
                  </a:lnTo>
                  <a:lnTo>
                    <a:pt x="249" y="87"/>
                  </a:lnTo>
                  <a:lnTo>
                    <a:pt x="252" y="87"/>
                  </a:lnTo>
                  <a:lnTo>
                    <a:pt x="255" y="87"/>
                  </a:lnTo>
                  <a:lnTo>
                    <a:pt x="255" y="93"/>
                  </a:lnTo>
                  <a:lnTo>
                    <a:pt x="252" y="93"/>
                  </a:lnTo>
                  <a:lnTo>
                    <a:pt x="249" y="93"/>
                  </a:lnTo>
                  <a:lnTo>
                    <a:pt x="243" y="93"/>
                  </a:lnTo>
                  <a:lnTo>
                    <a:pt x="243" y="96"/>
                  </a:lnTo>
                  <a:lnTo>
                    <a:pt x="246" y="96"/>
                  </a:lnTo>
                  <a:lnTo>
                    <a:pt x="246" y="99"/>
                  </a:lnTo>
                  <a:lnTo>
                    <a:pt x="249" y="99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3"/>
                  </a:lnTo>
                  <a:lnTo>
                    <a:pt x="255" y="93"/>
                  </a:lnTo>
                  <a:lnTo>
                    <a:pt x="255" y="96"/>
                  </a:lnTo>
                  <a:lnTo>
                    <a:pt x="258" y="96"/>
                  </a:lnTo>
                  <a:lnTo>
                    <a:pt x="258" y="93"/>
                  </a:lnTo>
                  <a:lnTo>
                    <a:pt x="261" y="93"/>
                  </a:lnTo>
                  <a:lnTo>
                    <a:pt x="264" y="93"/>
                  </a:lnTo>
                  <a:lnTo>
                    <a:pt x="267" y="93"/>
                  </a:lnTo>
                  <a:lnTo>
                    <a:pt x="270" y="93"/>
                  </a:lnTo>
                  <a:lnTo>
                    <a:pt x="267" y="90"/>
                  </a:lnTo>
                  <a:lnTo>
                    <a:pt x="273" y="90"/>
                  </a:lnTo>
                  <a:lnTo>
                    <a:pt x="270" y="87"/>
                  </a:lnTo>
                  <a:lnTo>
                    <a:pt x="270" y="84"/>
                  </a:lnTo>
                  <a:lnTo>
                    <a:pt x="267" y="84"/>
                  </a:lnTo>
                  <a:lnTo>
                    <a:pt x="264" y="84"/>
                  </a:lnTo>
                  <a:lnTo>
                    <a:pt x="264" y="81"/>
                  </a:lnTo>
                  <a:lnTo>
                    <a:pt x="261" y="81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2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3" y="69"/>
                  </a:lnTo>
                  <a:lnTo>
                    <a:pt x="276" y="69"/>
                  </a:lnTo>
                  <a:lnTo>
                    <a:pt x="276" y="66"/>
                  </a:lnTo>
                  <a:lnTo>
                    <a:pt x="279" y="66"/>
                  </a:lnTo>
                  <a:lnTo>
                    <a:pt x="282" y="66"/>
                  </a:lnTo>
                  <a:lnTo>
                    <a:pt x="282" y="63"/>
                  </a:lnTo>
                  <a:lnTo>
                    <a:pt x="282" y="60"/>
                  </a:lnTo>
                  <a:lnTo>
                    <a:pt x="276" y="60"/>
                  </a:lnTo>
                  <a:lnTo>
                    <a:pt x="273" y="57"/>
                  </a:lnTo>
                  <a:lnTo>
                    <a:pt x="270" y="54"/>
                  </a:lnTo>
                  <a:lnTo>
                    <a:pt x="267" y="51"/>
                  </a:lnTo>
                  <a:lnTo>
                    <a:pt x="270" y="51"/>
                  </a:lnTo>
                  <a:lnTo>
                    <a:pt x="273" y="48"/>
                  </a:lnTo>
                  <a:lnTo>
                    <a:pt x="264" y="48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94" name="Freeform 30">
              <a:extLst>
                <a:ext uri="{FF2B5EF4-FFF2-40B4-BE49-F238E27FC236}">
                  <a16:creationId xmlns:a16="http://schemas.microsoft.com/office/drawing/2014/main" id="{1906C2BB-B6A1-4A82-9CA8-94DCE48777D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2375" y="2654300"/>
              <a:ext cx="939800" cy="638175"/>
            </a:xfrm>
            <a:custGeom>
              <a:avLst/>
              <a:gdLst>
                <a:gd name="T0" fmla="*/ 633087 w 478"/>
                <a:gd name="T1" fmla="*/ 23636 h 324"/>
                <a:gd name="T2" fmla="*/ 686172 w 478"/>
                <a:gd name="T3" fmla="*/ 41363 h 324"/>
                <a:gd name="T4" fmla="*/ 756952 w 478"/>
                <a:gd name="T5" fmla="*/ 53181 h 324"/>
                <a:gd name="T6" fmla="*/ 798240 w 478"/>
                <a:gd name="T7" fmla="*/ 76817 h 324"/>
                <a:gd name="T8" fmla="*/ 851325 w 478"/>
                <a:gd name="T9" fmla="*/ 59090 h 324"/>
                <a:gd name="T10" fmla="*/ 904410 w 478"/>
                <a:gd name="T11" fmla="*/ 64999 h 324"/>
                <a:gd name="T12" fmla="*/ 904410 w 478"/>
                <a:gd name="T13" fmla="*/ 82726 h 324"/>
                <a:gd name="T14" fmla="*/ 939800 w 478"/>
                <a:gd name="T15" fmla="*/ 135908 h 324"/>
                <a:gd name="T16" fmla="*/ 910308 w 478"/>
                <a:gd name="T17" fmla="*/ 129999 h 324"/>
                <a:gd name="T18" fmla="*/ 886715 w 478"/>
                <a:gd name="T19" fmla="*/ 177271 h 324"/>
                <a:gd name="T20" fmla="*/ 874918 w 478"/>
                <a:gd name="T21" fmla="*/ 224543 h 324"/>
                <a:gd name="T22" fmla="*/ 833630 w 478"/>
                <a:gd name="T23" fmla="*/ 212725 h 324"/>
                <a:gd name="T24" fmla="*/ 798240 w 478"/>
                <a:gd name="T25" fmla="*/ 254088 h 324"/>
                <a:gd name="T26" fmla="*/ 762850 w 478"/>
                <a:gd name="T27" fmla="*/ 313178 h 324"/>
                <a:gd name="T28" fmla="*/ 810037 w 478"/>
                <a:gd name="T29" fmla="*/ 319088 h 324"/>
                <a:gd name="T30" fmla="*/ 815935 w 478"/>
                <a:gd name="T31" fmla="*/ 354542 h 324"/>
                <a:gd name="T32" fmla="*/ 810037 w 478"/>
                <a:gd name="T33" fmla="*/ 401814 h 324"/>
                <a:gd name="T34" fmla="*/ 768749 w 478"/>
                <a:gd name="T35" fmla="*/ 413632 h 324"/>
                <a:gd name="T36" fmla="*/ 739257 w 478"/>
                <a:gd name="T37" fmla="*/ 419541 h 324"/>
                <a:gd name="T38" fmla="*/ 709765 w 478"/>
                <a:gd name="T39" fmla="*/ 425450 h 324"/>
                <a:gd name="T40" fmla="*/ 674375 w 478"/>
                <a:gd name="T41" fmla="*/ 431359 h 324"/>
                <a:gd name="T42" fmla="*/ 638985 w 478"/>
                <a:gd name="T43" fmla="*/ 454995 h 324"/>
                <a:gd name="T44" fmla="*/ 638985 w 478"/>
                <a:gd name="T45" fmla="*/ 490449 h 324"/>
                <a:gd name="T46" fmla="*/ 621290 w 478"/>
                <a:gd name="T47" fmla="*/ 502267 h 324"/>
                <a:gd name="T48" fmla="*/ 591799 w 478"/>
                <a:gd name="T49" fmla="*/ 531813 h 324"/>
                <a:gd name="T50" fmla="*/ 568205 w 478"/>
                <a:gd name="T51" fmla="*/ 567267 h 324"/>
                <a:gd name="T52" fmla="*/ 532815 w 478"/>
                <a:gd name="T53" fmla="*/ 537722 h 324"/>
                <a:gd name="T54" fmla="*/ 485629 w 478"/>
                <a:gd name="T55" fmla="*/ 561358 h 324"/>
                <a:gd name="T56" fmla="*/ 432544 w 478"/>
                <a:gd name="T57" fmla="*/ 584994 h 324"/>
                <a:gd name="T58" fmla="*/ 414849 w 478"/>
                <a:gd name="T59" fmla="*/ 620448 h 324"/>
                <a:gd name="T60" fmla="*/ 367662 w 478"/>
                <a:gd name="T61" fmla="*/ 602721 h 324"/>
                <a:gd name="T62" fmla="*/ 361764 w 478"/>
                <a:gd name="T63" fmla="*/ 549540 h 324"/>
                <a:gd name="T64" fmla="*/ 344069 w 478"/>
                <a:gd name="T65" fmla="*/ 573176 h 324"/>
                <a:gd name="T66" fmla="*/ 332272 w 478"/>
                <a:gd name="T67" fmla="*/ 596812 h 324"/>
                <a:gd name="T68" fmla="*/ 326374 w 478"/>
                <a:gd name="T69" fmla="*/ 626357 h 324"/>
                <a:gd name="T70" fmla="*/ 296882 w 478"/>
                <a:gd name="T71" fmla="*/ 608630 h 324"/>
                <a:gd name="T72" fmla="*/ 273289 w 478"/>
                <a:gd name="T73" fmla="*/ 561358 h 324"/>
                <a:gd name="T74" fmla="*/ 235933 w 478"/>
                <a:gd name="T75" fmla="*/ 514085 h 324"/>
                <a:gd name="T76" fmla="*/ 212340 w 478"/>
                <a:gd name="T77" fmla="*/ 519994 h 324"/>
                <a:gd name="T78" fmla="*/ 171051 w 478"/>
                <a:gd name="T79" fmla="*/ 525903 h 324"/>
                <a:gd name="T80" fmla="*/ 117967 w 478"/>
                <a:gd name="T81" fmla="*/ 502267 h 324"/>
                <a:gd name="T82" fmla="*/ 64882 w 478"/>
                <a:gd name="T83" fmla="*/ 454995 h 324"/>
                <a:gd name="T84" fmla="*/ 76678 w 478"/>
                <a:gd name="T85" fmla="*/ 372269 h 324"/>
                <a:gd name="T86" fmla="*/ 35390 w 478"/>
                <a:gd name="T87" fmla="*/ 354542 h 324"/>
                <a:gd name="T88" fmla="*/ 17695 w 478"/>
                <a:gd name="T89" fmla="*/ 283633 h 324"/>
                <a:gd name="T90" fmla="*/ 11797 w 478"/>
                <a:gd name="T91" fmla="*/ 248179 h 324"/>
                <a:gd name="T92" fmla="*/ 17695 w 478"/>
                <a:gd name="T93" fmla="*/ 218634 h 324"/>
                <a:gd name="T94" fmla="*/ 35390 w 478"/>
                <a:gd name="T95" fmla="*/ 183180 h 324"/>
                <a:gd name="T96" fmla="*/ 47187 w 478"/>
                <a:gd name="T97" fmla="*/ 141817 h 324"/>
                <a:gd name="T98" fmla="*/ 82577 w 478"/>
                <a:gd name="T99" fmla="*/ 124090 h 324"/>
                <a:gd name="T100" fmla="*/ 123865 w 478"/>
                <a:gd name="T101" fmla="*/ 118181 h 324"/>
                <a:gd name="T102" fmla="*/ 165153 w 478"/>
                <a:gd name="T103" fmla="*/ 135908 h 324"/>
                <a:gd name="T104" fmla="*/ 194645 w 478"/>
                <a:gd name="T105" fmla="*/ 159544 h 324"/>
                <a:gd name="T106" fmla="*/ 235933 w 478"/>
                <a:gd name="T107" fmla="*/ 183180 h 324"/>
                <a:gd name="T108" fmla="*/ 279187 w 478"/>
                <a:gd name="T109" fmla="*/ 189089 h 324"/>
                <a:gd name="T110" fmla="*/ 320476 w 478"/>
                <a:gd name="T111" fmla="*/ 206816 h 324"/>
                <a:gd name="T112" fmla="*/ 385357 w 478"/>
                <a:gd name="T113" fmla="*/ 206816 h 324"/>
                <a:gd name="T114" fmla="*/ 420747 w 478"/>
                <a:gd name="T115" fmla="*/ 200907 h 324"/>
                <a:gd name="T116" fmla="*/ 479731 w 478"/>
                <a:gd name="T117" fmla="*/ 189089 h 324"/>
                <a:gd name="T118" fmla="*/ 509222 w 478"/>
                <a:gd name="T119" fmla="*/ 129999 h 324"/>
                <a:gd name="T120" fmla="*/ 532815 w 478"/>
                <a:gd name="T121" fmla="*/ 64999 h 324"/>
                <a:gd name="T122" fmla="*/ 532815 w 478"/>
                <a:gd name="T123" fmla="*/ 23636 h 324"/>
                <a:gd name="T124" fmla="*/ 585900 w 478"/>
                <a:gd name="T125" fmla="*/ 5909 h 3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78" h="324">
                  <a:moveTo>
                    <a:pt x="319" y="0"/>
                  </a:moveTo>
                  <a:lnTo>
                    <a:pt x="322" y="0"/>
                  </a:lnTo>
                  <a:lnTo>
                    <a:pt x="322" y="3"/>
                  </a:lnTo>
                  <a:lnTo>
                    <a:pt x="319" y="3"/>
                  </a:lnTo>
                  <a:lnTo>
                    <a:pt x="322" y="3"/>
                  </a:lnTo>
                  <a:lnTo>
                    <a:pt x="322" y="6"/>
                  </a:lnTo>
                  <a:lnTo>
                    <a:pt x="319" y="6"/>
                  </a:lnTo>
                  <a:lnTo>
                    <a:pt x="319" y="9"/>
                  </a:lnTo>
                  <a:lnTo>
                    <a:pt x="322" y="9"/>
                  </a:lnTo>
                  <a:lnTo>
                    <a:pt x="322" y="12"/>
                  </a:lnTo>
                  <a:lnTo>
                    <a:pt x="322" y="15"/>
                  </a:lnTo>
                  <a:lnTo>
                    <a:pt x="322" y="12"/>
                  </a:lnTo>
                  <a:lnTo>
                    <a:pt x="325" y="12"/>
                  </a:lnTo>
                  <a:lnTo>
                    <a:pt x="325" y="15"/>
                  </a:lnTo>
                  <a:lnTo>
                    <a:pt x="322" y="15"/>
                  </a:lnTo>
                  <a:lnTo>
                    <a:pt x="328" y="15"/>
                  </a:lnTo>
                  <a:lnTo>
                    <a:pt x="331" y="15"/>
                  </a:lnTo>
                  <a:lnTo>
                    <a:pt x="331" y="18"/>
                  </a:lnTo>
                  <a:lnTo>
                    <a:pt x="334" y="18"/>
                  </a:lnTo>
                  <a:lnTo>
                    <a:pt x="337" y="21"/>
                  </a:lnTo>
                  <a:lnTo>
                    <a:pt x="337" y="15"/>
                  </a:lnTo>
                  <a:lnTo>
                    <a:pt x="343" y="21"/>
                  </a:lnTo>
                  <a:lnTo>
                    <a:pt x="346" y="21"/>
                  </a:lnTo>
                  <a:lnTo>
                    <a:pt x="349" y="21"/>
                  </a:lnTo>
                  <a:lnTo>
                    <a:pt x="349" y="18"/>
                  </a:lnTo>
                  <a:lnTo>
                    <a:pt x="361" y="15"/>
                  </a:lnTo>
                  <a:lnTo>
                    <a:pt x="364" y="12"/>
                  </a:lnTo>
                  <a:lnTo>
                    <a:pt x="367" y="12"/>
                  </a:lnTo>
                  <a:lnTo>
                    <a:pt x="367" y="6"/>
                  </a:lnTo>
                  <a:lnTo>
                    <a:pt x="370" y="6"/>
                  </a:lnTo>
                  <a:lnTo>
                    <a:pt x="373" y="18"/>
                  </a:lnTo>
                  <a:lnTo>
                    <a:pt x="373" y="21"/>
                  </a:lnTo>
                  <a:lnTo>
                    <a:pt x="376" y="24"/>
                  </a:lnTo>
                  <a:lnTo>
                    <a:pt x="382" y="27"/>
                  </a:lnTo>
                  <a:lnTo>
                    <a:pt x="382" y="30"/>
                  </a:lnTo>
                  <a:lnTo>
                    <a:pt x="385" y="27"/>
                  </a:lnTo>
                  <a:lnTo>
                    <a:pt x="388" y="30"/>
                  </a:lnTo>
                  <a:lnTo>
                    <a:pt x="388" y="33"/>
                  </a:lnTo>
                  <a:lnTo>
                    <a:pt x="385" y="33"/>
                  </a:lnTo>
                  <a:lnTo>
                    <a:pt x="385" y="36"/>
                  </a:lnTo>
                  <a:lnTo>
                    <a:pt x="388" y="36"/>
                  </a:lnTo>
                  <a:lnTo>
                    <a:pt x="388" y="39"/>
                  </a:lnTo>
                  <a:lnTo>
                    <a:pt x="391" y="36"/>
                  </a:lnTo>
                  <a:lnTo>
                    <a:pt x="394" y="36"/>
                  </a:lnTo>
                  <a:lnTo>
                    <a:pt x="397" y="42"/>
                  </a:lnTo>
                  <a:lnTo>
                    <a:pt x="400" y="39"/>
                  </a:lnTo>
                  <a:lnTo>
                    <a:pt x="403" y="39"/>
                  </a:lnTo>
                  <a:lnTo>
                    <a:pt x="406" y="39"/>
                  </a:lnTo>
                  <a:lnTo>
                    <a:pt x="409" y="39"/>
                  </a:lnTo>
                  <a:lnTo>
                    <a:pt x="412" y="39"/>
                  </a:lnTo>
                  <a:lnTo>
                    <a:pt x="415" y="42"/>
                  </a:lnTo>
                  <a:lnTo>
                    <a:pt x="415" y="39"/>
                  </a:lnTo>
                  <a:lnTo>
                    <a:pt x="418" y="39"/>
                  </a:lnTo>
                  <a:lnTo>
                    <a:pt x="418" y="36"/>
                  </a:lnTo>
                  <a:lnTo>
                    <a:pt x="418" y="33"/>
                  </a:lnTo>
                  <a:lnTo>
                    <a:pt x="418" y="30"/>
                  </a:lnTo>
                  <a:lnTo>
                    <a:pt x="421" y="30"/>
                  </a:lnTo>
                  <a:lnTo>
                    <a:pt x="427" y="33"/>
                  </a:lnTo>
                  <a:lnTo>
                    <a:pt x="430" y="30"/>
                  </a:lnTo>
                  <a:lnTo>
                    <a:pt x="433" y="30"/>
                  </a:lnTo>
                  <a:lnTo>
                    <a:pt x="436" y="30"/>
                  </a:lnTo>
                  <a:lnTo>
                    <a:pt x="439" y="30"/>
                  </a:lnTo>
                  <a:lnTo>
                    <a:pt x="442" y="33"/>
                  </a:lnTo>
                  <a:lnTo>
                    <a:pt x="445" y="33"/>
                  </a:lnTo>
                  <a:lnTo>
                    <a:pt x="448" y="33"/>
                  </a:lnTo>
                  <a:lnTo>
                    <a:pt x="448" y="30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1" y="33"/>
                  </a:lnTo>
                  <a:lnTo>
                    <a:pt x="454" y="33"/>
                  </a:lnTo>
                  <a:lnTo>
                    <a:pt x="457" y="33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6"/>
                  </a:lnTo>
                  <a:lnTo>
                    <a:pt x="475" y="36"/>
                  </a:lnTo>
                  <a:lnTo>
                    <a:pt x="475" y="39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5"/>
                  </a:lnTo>
                  <a:lnTo>
                    <a:pt x="469" y="45"/>
                  </a:lnTo>
                  <a:lnTo>
                    <a:pt x="466" y="45"/>
                  </a:lnTo>
                  <a:lnTo>
                    <a:pt x="466" y="42"/>
                  </a:lnTo>
                  <a:lnTo>
                    <a:pt x="463" y="42"/>
                  </a:lnTo>
                  <a:lnTo>
                    <a:pt x="460" y="42"/>
                  </a:lnTo>
                  <a:lnTo>
                    <a:pt x="460" y="48"/>
                  </a:lnTo>
                  <a:lnTo>
                    <a:pt x="463" y="45"/>
                  </a:lnTo>
                  <a:lnTo>
                    <a:pt x="463" y="48"/>
                  </a:lnTo>
                  <a:lnTo>
                    <a:pt x="463" y="51"/>
                  </a:lnTo>
                  <a:lnTo>
                    <a:pt x="466" y="51"/>
                  </a:lnTo>
                  <a:lnTo>
                    <a:pt x="469" y="51"/>
                  </a:lnTo>
                  <a:lnTo>
                    <a:pt x="472" y="54"/>
                  </a:lnTo>
                  <a:lnTo>
                    <a:pt x="475" y="54"/>
                  </a:lnTo>
                  <a:lnTo>
                    <a:pt x="475" y="57"/>
                  </a:lnTo>
                  <a:lnTo>
                    <a:pt x="478" y="60"/>
                  </a:lnTo>
                  <a:lnTo>
                    <a:pt x="478" y="63"/>
                  </a:lnTo>
                  <a:lnTo>
                    <a:pt x="478" y="69"/>
                  </a:lnTo>
                  <a:lnTo>
                    <a:pt x="475" y="69"/>
                  </a:lnTo>
                  <a:lnTo>
                    <a:pt x="472" y="69"/>
                  </a:lnTo>
                  <a:lnTo>
                    <a:pt x="472" y="72"/>
                  </a:lnTo>
                  <a:lnTo>
                    <a:pt x="469" y="72"/>
                  </a:lnTo>
                  <a:lnTo>
                    <a:pt x="466" y="72"/>
                  </a:lnTo>
                  <a:lnTo>
                    <a:pt x="463" y="75"/>
                  </a:lnTo>
                  <a:lnTo>
                    <a:pt x="463" y="72"/>
                  </a:lnTo>
                  <a:lnTo>
                    <a:pt x="463" y="69"/>
                  </a:lnTo>
                  <a:lnTo>
                    <a:pt x="466" y="69"/>
                  </a:lnTo>
                  <a:lnTo>
                    <a:pt x="466" y="66"/>
                  </a:lnTo>
                  <a:lnTo>
                    <a:pt x="463" y="69"/>
                  </a:lnTo>
                  <a:lnTo>
                    <a:pt x="463" y="66"/>
                  </a:lnTo>
                  <a:lnTo>
                    <a:pt x="460" y="69"/>
                  </a:lnTo>
                  <a:lnTo>
                    <a:pt x="457" y="69"/>
                  </a:lnTo>
                  <a:lnTo>
                    <a:pt x="457" y="72"/>
                  </a:lnTo>
                  <a:lnTo>
                    <a:pt x="460" y="75"/>
                  </a:lnTo>
                  <a:lnTo>
                    <a:pt x="460" y="78"/>
                  </a:lnTo>
                  <a:lnTo>
                    <a:pt x="460" y="81"/>
                  </a:lnTo>
                  <a:lnTo>
                    <a:pt x="460" y="84"/>
                  </a:lnTo>
                  <a:lnTo>
                    <a:pt x="457" y="84"/>
                  </a:lnTo>
                  <a:lnTo>
                    <a:pt x="457" y="87"/>
                  </a:lnTo>
                  <a:lnTo>
                    <a:pt x="454" y="87"/>
                  </a:lnTo>
                  <a:lnTo>
                    <a:pt x="454" y="90"/>
                  </a:lnTo>
                  <a:lnTo>
                    <a:pt x="451" y="90"/>
                  </a:lnTo>
                  <a:lnTo>
                    <a:pt x="451" y="93"/>
                  </a:lnTo>
                  <a:lnTo>
                    <a:pt x="448" y="93"/>
                  </a:lnTo>
                  <a:lnTo>
                    <a:pt x="448" y="96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48" y="102"/>
                  </a:lnTo>
                  <a:lnTo>
                    <a:pt x="448" y="105"/>
                  </a:lnTo>
                  <a:lnTo>
                    <a:pt x="448" y="108"/>
                  </a:lnTo>
                  <a:lnTo>
                    <a:pt x="445" y="108"/>
                  </a:lnTo>
                  <a:lnTo>
                    <a:pt x="448" y="111"/>
                  </a:lnTo>
                  <a:lnTo>
                    <a:pt x="445" y="111"/>
                  </a:lnTo>
                  <a:lnTo>
                    <a:pt x="445" y="114"/>
                  </a:lnTo>
                  <a:lnTo>
                    <a:pt x="445" y="111"/>
                  </a:lnTo>
                  <a:lnTo>
                    <a:pt x="442" y="111"/>
                  </a:lnTo>
                  <a:lnTo>
                    <a:pt x="442" y="114"/>
                  </a:lnTo>
                  <a:lnTo>
                    <a:pt x="439" y="114"/>
                  </a:lnTo>
                  <a:lnTo>
                    <a:pt x="436" y="114"/>
                  </a:lnTo>
                  <a:lnTo>
                    <a:pt x="433" y="117"/>
                  </a:lnTo>
                  <a:lnTo>
                    <a:pt x="430" y="117"/>
                  </a:lnTo>
                  <a:lnTo>
                    <a:pt x="430" y="114"/>
                  </a:lnTo>
                  <a:lnTo>
                    <a:pt x="430" y="111"/>
                  </a:lnTo>
                  <a:lnTo>
                    <a:pt x="427" y="114"/>
                  </a:lnTo>
                  <a:lnTo>
                    <a:pt x="424" y="111"/>
                  </a:lnTo>
                  <a:lnTo>
                    <a:pt x="424" y="108"/>
                  </a:lnTo>
                  <a:lnTo>
                    <a:pt x="421" y="108"/>
                  </a:lnTo>
                  <a:lnTo>
                    <a:pt x="418" y="108"/>
                  </a:lnTo>
                  <a:lnTo>
                    <a:pt x="418" y="111"/>
                  </a:lnTo>
                  <a:lnTo>
                    <a:pt x="415" y="111"/>
                  </a:lnTo>
                  <a:lnTo>
                    <a:pt x="412" y="114"/>
                  </a:lnTo>
                  <a:lnTo>
                    <a:pt x="409" y="114"/>
                  </a:lnTo>
                  <a:lnTo>
                    <a:pt x="406" y="114"/>
                  </a:lnTo>
                  <a:lnTo>
                    <a:pt x="409" y="117"/>
                  </a:lnTo>
                  <a:lnTo>
                    <a:pt x="406" y="117"/>
                  </a:lnTo>
                  <a:lnTo>
                    <a:pt x="406" y="123"/>
                  </a:lnTo>
                  <a:lnTo>
                    <a:pt x="406" y="126"/>
                  </a:lnTo>
                  <a:lnTo>
                    <a:pt x="406" y="129"/>
                  </a:lnTo>
                  <a:lnTo>
                    <a:pt x="403" y="135"/>
                  </a:lnTo>
                  <a:lnTo>
                    <a:pt x="403" y="138"/>
                  </a:lnTo>
                  <a:lnTo>
                    <a:pt x="400" y="138"/>
                  </a:lnTo>
                  <a:lnTo>
                    <a:pt x="400" y="141"/>
                  </a:lnTo>
                  <a:lnTo>
                    <a:pt x="394" y="138"/>
                  </a:lnTo>
                  <a:lnTo>
                    <a:pt x="394" y="141"/>
                  </a:lnTo>
                  <a:lnTo>
                    <a:pt x="394" y="147"/>
                  </a:lnTo>
                  <a:lnTo>
                    <a:pt x="397" y="153"/>
                  </a:lnTo>
                  <a:lnTo>
                    <a:pt x="394" y="153"/>
                  </a:lnTo>
                  <a:lnTo>
                    <a:pt x="391" y="156"/>
                  </a:lnTo>
                  <a:lnTo>
                    <a:pt x="388" y="156"/>
                  </a:lnTo>
                  <a:lnTo>
                    <a:pt x="388" y="159"/>
                  </a:lnTo>
                  <a:lnTo>
                    <a:pt x="385" y="162"/>
                  </a:lnTo>
                  <a:lnTo>
                    <a:pt x="388" y="168"/>
                  </a:lnTo>
                  <a:lnTo>
                    <a:pt x="388" y="174"/>
                  </a:lnTo>
                  <a:lnTo>
                    <a:pt x="391" y="171"/>
                  </a:lnTo>
                  <a:lnTo>
                    <a:pt x="394" y="171"/>
                  </a:lnTo>
                  <a:lnTo>
                    <a:pt x="397" y="168"/>
                  </a:lnTo>
                  <a:lnTo>
                    <a:pt x="400" y="168"/>
                  </a:lnTo>
                  <a:lnTo>
                    <a:pt x="400" y="165"/>
                  </a:lnTo>
                  <a:lnTo>
                    <a:pt x="403" y="165"/>
                  </a:lnTo>
                  <a:lnTo>
                    <a:pt x="406" y="165"/>
                  </a:lnTo>
                  <a:lnTo>
                    <a:pt x="409" y="162"/>
                  </a:lnTo>
                  <a:lnTo>
                    <a:pt x="412" y="162"/>
                  </a:lnTo>
                  <a:lnTo>
                    <a:pt x="415" y="162"/>
                  </a:lnTo>
                  <a:lnTo>
                    <a:pt x="415" y="165"/>
                  </a:lnTo>
                  <a:lnTo>
                    <a:pt x="415" y="168"/>
                  </a:lnTo>
                  <a:lnTo>
                    <a:pt x="418" y="168"/>
                  </a:lnTo>
                  <a:lnTo>
                    <a:pt x="421" y="165"/>
                  </a:lnTo>
                  <a:lnTo>
                    <a:pt x="421" y="168"/>
                  </a:lnTo>
                  <a:lnTo>
                    <a:pt x="421" y="171"/>
                  </a:lnTo>
                  <a:lnTo>
                    <a:pt x="418" y="174"/>
                  </a:lnTo>
                  <a:lnTo>
                    <a:pt x="421" y="177"/>
                  </a:lnTo>
                  <a:lnTo>
                    <a:pt x="418" y="177"/>
                  </a:lnTo>
                  <a:lnTo>
                    <a:pt x="418" y="180"/>
                  </a:lnTo>
                  <a:lnTo>
                    <a:pt x="415" y="180"/>
                  </a:lnTo>
                  <a:lnTo>
                    <a:pt x="418" y="180"/>
                  </a:lnTo>
                  <a:lnTo>
                    <a:pt x="418" y="183"/>
                  </a:lnTo>
                  <a:lnTo>
                    <a:pt x="415" y="186"/>
                  </a:lnTo>
                  <a:lnTo>
                    <a:pt x="418" y="189"/>
                  </a:lnTo>
                  <a:lnTo>
                    <a:pt x="418" y="192"/>
                  </a:lnTo>
                  <a:lnTo>
                    <a:pt x="418" y="189"/>
                  </a:lnTo>
                  <a:lnTo>
                    <a:pt x="418" y="195"/>
                  </a:lnTo>
                  <a:lnTo>
                    <a:pt x="418" y="198"/>
                  </a:lnTo>
                  <a:lnTo>
                    <a:pt x="415" y="198"/>
                  </a:lnTo>
                  <a:lnTo>
                    <a:pt x="412" y="198"/>
                  </a:lnTo>
                  <a:lnTo>
                    <a:pt x="412" y="201"/>
                  </a:lnTo>
                  <a:lnTo>
                    <a:pt x="412" y="204"/>
                  </a:lnTo>
                  <a:lnTo>
                    <a:pt x="409" y="204"/>
                  </a:lnTo>
                  <a:lnTo>
                    <a:pt x="409" y="207"/>
                  </a:lnTo>
                  <a:lnTo>
                    <a:pt x="409" y="210"/>
                  </a:lnTo>
                  <a:lnTo>
                    <a:pt x="406" y="210"/>
                  </a:lnTo>
                  <a:lnTo>
                    <a:pt x="406" y="213"/>
                  </a:lnTo>
                  <a:lnTo>
                    <a:pt x="403" y="213"/>
                  </a:lnTo>
                  <a:lnTo>
                    <a:pt x="403" y="210"/>
                  </a:lnTo>
                  <a:lnTo>
                    <a:pt x="400" y="210"/>
                  </a:lnTo>
                  <a:lnTo>
                    <a:pt x="400" y="207"/>
                  </a:lnTo>
                  <a:lnTo>
                    <a:pt x="397" y="207"/>
                  </a:lnTo>
                  <a:lnTo>
                    <a:pt x="394" y="207"/>
                  </a:lnTo>
                  <a:lnTo>
                    <a:pt x="391" y="210"/>
                  </a:lnTo>
                  <a:lnTo>
                    <a:pt x="391" y="213"/>
                  </a:lnTo>
                  <a:lnTo>
                    <a:pt x="388" y="213"/>
                  </a:lnTo>
                  <a:lnTo>
                    <a:pt x="388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6"/>
                  </a:lnTo>
                  <a:lnTo>
                    <a:pt x="382" y="216"/>
                  </a:lnTo>
                  <a:lnTo>
                    <a:pt x="385" y="216"/>
                  </a:lnTo>
                  <a:lnTo>
                    <a:pt x="385" y="213"/>
                  </a:lnTo>
                  <a:lnTo>
                    <a:pt x="382" y="213"/>
                  </a:lnTo>
                  <a:lnTo>
                    <a:pt x="379" y="213"/>
                  </a:lnTo>
                  <a:lnTo>
                    <a:pt x="376" y="213"/>
                  </a:lnTo>
                  <a:lnTo>
                    <a:pt x="373" y="213"/>
                  </a:lnTo>
                  <a:lnTo>
                    <a:pt x="370" y="213"/>
                  </a:lnTo>
                  <a:lnTo>
                    <a:pt x="367" y="213"/>
                  </a:lnTo>
                  <a:lnTo>
                    <a:pt x="367" y="210"/>
                  </a:lnTo>
                  <a:lnTo>
                    <a:pt x="364" y="210"/>
                  </a:lnTo>
                  <a:lnTo>
                    <a:pt x="364" y="207"/>
                  </a:lnTo>
                  <a:lnTo>
                    <a:pt x="364" y="210"/>
                  </a:lnTo>
                  <a:lnTo>
                    <a:pt x="361" y="210"/>
                  </a:lnTo>
                  <a:lnTo>
                    <a:pt x="361" y="213"/>
                  </a:lnTo>
                  <a:lnTo>
                    <a:pt x="364" y="213"/>
                  </a:lnTo>
                  <a:lnTo>
                    <a:pt x="361" y="213"/>
                  </a:lnTo>
                  <a:lnTo>
                    <a:pt x="361" y="216"/>
                  </a:lnTo>
                  <a:lnTo>
                    <a:pt x="364" y="216"/>
                  </a:lnTo>
                  <a:lnTo>
                    <a:pt x="361" y="216"/>
                  </a:lnTo>
                  <a:lnTo>
                    <a:pt x="361" y="213"/>
                  </a:lnTo>
                  <a:lnTo>
                    <a:pt x="358" y="213"/>
                  </a:lnTo>
                  <a:lnTo>
                    <a:pt x="355" y="213"/>
                  </a:lnTo>
                  <a:lnTo>
                    <a:pt x="355" y="216"/>
                  </a:lnTo>
                  <a:lnTo>
                    <a:pt x="352" y="216"/>
                  </a:lnTo>
                  <a:lnTo>
                    <a:pt x="352" y="213"/>
                  </a:lnTo>
                  <a:lnTo>
                    <a:pt x="349" y="213"/>
                  </a:lnTo>
                  <a:lnTo>
                    <a:pt x="349" y="216"/>
                  </a:lnTo>
                  <a:lnTo>
                    <a:pt x="346" y="216"/>
                  </a:lnTo>
                  <a:lnTo>
                    <a:pt x="343" y="219"/>
                  </a:lnTo>
                  <a:lnTo>
                    <a:pt x="343" y="222"/>
                  </a:lnTo>
                  <a:lnTo>
                    <a:pt x="343" y="219"/>
                  </a:lnTo>
                  <a:lnTo>
                    <a:pt x="340" y="219"/>
                  </a:lnTo>
                  <a:lnTo>
                    <a:pt x="337" y="219"/>
                  </a:lnTo>
                  <a:lnTo>
                    <a:pt x="337" y="222"/>
                  </a:lnTo>
                  <a:lnTo>
                    <a:pt x="334" y="222"/>
                  </a:lnTo>
                  <a:lnTo>
                    <a:pt x="334" y="225"/>
                  </a:lnTo>
                  <a:lnTo>
                    <a:pt x="334" y="228"/>
                  </a:lnTo>
                  <a:lnTo>
                    <a:pt x="331" y="228"/>
                  </a:lnTo>
                  <a:lnTo>
                    <a:pt x="328" y="228"/>
                  </a:lnTo>
                  <a:lnTo>
                    <a:pt x="328" y="231"/>
                  </a:lnTo>
                  <a:lnTo>
                    <a:pt x="325" y="231"/>
                  </a:lnTo>
                  <a:lnTo>
                    <a:pt x="325" y="234"/>
                  </a:lnTo>
                  <a:lnTo>
                    <a:pt x="322" y="234"/>
                  </a:lnTo>
                  <a:lnTo>
                    <a:pt x="319" y="234"/>
                  </a:lnTo>
                  <a:lnTo>
                    <a:pt x="319" y="237"/>
                  </a:lnTo>
                  <a:lnTo>
                    <a:pt x="322" y="237"/>
                  </a:lnTo>
                  <a:lnTo>
                    <a:pt x="322" y="240"/>
                  </a:lnTo>
                  <a:lnTo>
                    <a:pt x="325" y="240"/>
                  </a:lnTo>
                  <a:lnTo>
                    <a:pt x="325" y="243"/>
                  </a:lnTo>
                  <a:lnTo>
                    <a:pt x="328" y="243"/>
                  </a:lnTo>
                  <a:lnTo>
                    <a:pt x="328" y="246"/>
                  </a:lnTo>
                  <a:lnTo>
                    <a:pt x="325" y="246"/>
                  </a:lnTo>
                  <a:lnTo>
                    <a:pt x="325" y="249"/>
                  </a:lnTo>
                  <a:lnTo>
                    <a:pt x="322" y="249"/>
                  </a:lnTo>
                  <a:lnTo>
                    <a:pt x="322" y="252"/>
                  </a:lnTo>
                  <a:lnTo>
                    <a:pt x="322" y="255"/>
                  </a:lnTo>
                  <a:lnTo>
                    <a:pt x="325" y="255"/>
                  </a:lnTo>
                  <a:lnTo>
                    <a:pt x="328" y="255"/>
                  </a:lnTo>
                  <a:lnTo>
                    <a:pt x="328" y="258"/>
                  </a:lnTo>
                  <a:lnTo>
                    <a:pt x="325" y="255"/>
                  </a:lnTo>
                  <a:lnTo>
                    <a:pt x="322" y="255"/>
                  </a:lnTo>
                  <a:lnTo>
                    <a:pt x="322" y="258"/>
                  </a:lnTo>
                  <a:lnTo>
                    <a:pt x="319" y="258"/>
                  </a:lnTo>
                  <a:lnTo>
                    <a:pt x="319" y="255"/>
                  </a:lnTo>
                  <a:lnTo>
                    <a:pt x="316" y="255"/>
                  </a:lnTo>
                  <a:lnTo>
                    <a:pt x="313" y="255"/>
                  </a:lnTo>
                  <a:lnTo>
                    <a:pt x="313" y="258"/>
                  </a:lnTo>
                  <a:lnTo>
                    <a:pt x="313" y="261"/>
                  </a:lnTo>
                  <a:lnTo>
                    <a:pt x="313" y="258"/>
                  </a:lnTo>
                  <a:lnTo>
                    <a:pt x="310" y="258"/>
                  </a:lnTo>
                  <a:lnTo>
                    <a:pt x="307" y="258"/>
                  </a:lnTo>
                  <a:lnTo>
                    <a:pt x="307" y="261"/>
                  </a:lnTo>
                  <a:lnTo>
                    <a:pt x="304" y="261"/>
                  </a:lnTo>
                  <a:lnTo>
                    <a:pt x="304" y="264"/>
                  </a:lnTo>
                  <a:lnTo>
                    <a:pt x="304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298" y="270"/>
                  </a:lnTo>
                  <a:lnTo>
                    <a:pt x="298" y="273"/>
                  </a:lnTo>
                  <a:lnTo>
                    <a:pt x="295" y="273"/>
                  </a:lnTo>
                  <a:lnTo>
                    <a:pt x="295" y="276"/>
                  </a:lnTo>
                  <a:lnTo>
                    <a:pt x="292" y="276"/>
                  </a:lnTo>
                  <a:lnTo>
                    <a:pt x="292" y="279"/>
                  </a:lnTo>
                  <a:lnTo>
                    <a:pt x="292" y="282"/>
                  </a:lnTo>
                  <a:lnTo>
                    <a:pt x="289" y="282"/>
                  </a:lnTo>
                  <a:lnTo>
                    <a:pt x="289" y="285"/>
                  </a:lnTo>
                  <a:lnTo>
                    <a:pt x="292" y="285"/>
                  </a:lnTo>
                  <a:lnTo>
                    <a:pt x="289" y="285"/>
                  </a:lnTo>
                  <a:lnTo>
                    <a:pt x="289" y="288"/>
                  </a:lnTo>
                  <a:lnTo>
                    <a:pt x="286" y="288"/>
                  </a:lnTo>
                  <a:lnTo>
                    <a:pt x="286" y="285"/>
                  </a:lnTo>
                  <a:lnTo>
                    <a:pt x="286" y="282"/>
                  </a:lnTo>
                  <a:lnTo>
                    <a:pt x="286" y="279"/>
                  </a:lnTo>
                  <a:lnTo>
                    <a:pt x="283" y="279"/>
                  </a:lnTo>
                  <a:lnTo>
                    <a:pt x="280" y="279"/>
                  </a:lnTo>
                  <a:lnTo>
                    <a:pt x="280" y="276"/>
                  </a:lnTo>
                  <a:lnTo>
                    <a:pt x="277" y="276"/>
                  </a:lnTo>
                  <a:lnTo>
                    <a:pt x="277" y="279"/>
                  </a:lnTo>
                  <a:lnTo>
                    <a:pt x="274" y="279"/>
                  </a:lnTo>
                  <a:lnTo>
                    <a:pt x="271" y="276"/>
                  </a:lnTo>
                  <a:lnTo>
                    <a:pt x="271" y="273"/>
                  </a:lnTo>
                  <a:lnTo>
                    <a:pt x="268" y="273"/>
                  </a:lnTo>
                  <a:lnTo>
                    <a:pt x="265" y="276"/>
                  </a:lnTo>
                  <a:lnTo>
                    <a:pt x="262" y="276"/>
                  </a:lnTo>
                  <a:lnTo>
                    <a:pt x="262" y="279"/>
                  </a:lnTo>
                  <a:lnTo>
                    <a:pt x="259" y="279"/>
                  </a:lnTo>
                  <a:lnTo>
                    <a:pt x="259" y="282"/>
                  </a:lnTo>
                  <a:lnTo>
                    <a:pt x="259" y="285"/>
                  </a:lnTo>
                  <a:lnTo>
                    <a:pt x="256" y="285"/>
                  </a:lnTo>
                  <a:lnTo>
                    <a:pt x="253" y="282"/>
                  </a:lnTo>
                  <a:lnTo>
                    <a:pt x="250" y="282"/>
                  </a:lnTo>
                  <a:lnTo>
                    <a:pt x="250" y="285"/>
                  </a:lnTo>
                  <a:lnTo>
                    <a:pt x="247" y="285"/>
                  </a:lnTo>
                  <a:lnTo>
                    <a:pt x="244" y="285"/>
                  </a:lnTo>
                  <a:lnTo>
                    <a:pt x="241" y="285"/>
                  </a:lnTo>
                  <a:lnTo>
                    <a:pt x="238" y="288"/>
                  </a:lnTo>
                  <a:lnTo>
                    <a:pt x="235" y="288"/>
                  </a:lnTo>
                  <a:lnTo>
                    <a:pt x="232" y="288"/>
                  </a:lnTo>
                  <a:lnTo>
                    <a:pt x="232" y="291"/>
                  </a:lnTo>
                  <a:lnTo>
                    <a:pt x="229" y="291"/>
                  </a:lnTo>
                  <a:lnTo>
                    <a:pt x="229" y="294"/>
                  </a:lnTo>
                  <a:lnTo>
                    <a:pt x="226" y="294"/>
                  </a:lnTo>
                  <a:lnTo>
                    <a:pt x="223" y="294"/>
                  </a:lnTo>
                  <a:lnTo>
                    <a:pt x="223" y="297"/>
                  </a:lnTo>
                  <a:lnTo>
                    <a:pt x="220" y="297"/>
                  </a:lnTo>
                  <a:lnTo>
                    <a:pt x="220" y="300"/>
                  </a:lnTo>
                  <a:lnTo>
                    <a:pt x="223" y="300"/>
                  </a:lnTo>
                  <a:lnTo>
                    <a:pt x="223" y="303"/>
                  </a:lnTo>
                  <a:lnTo>
                    <a:pt x="220" y="303"/>
                  </a:lnTo>
                  <a:lnTo>
                    <a:pt x="217" y="303"/>
                  </a:lnTo>
                  <a:lnTo>
                    <a:pt x="217" y="306"/>
                  </a:lnTo>
                  <a:lnTo>
                    <a:pt x="214" y="306"/>
                  </a:lnTo>
                  <a:lnTo>
                    <a:pt x="211" y="306"/>
                  </a:lnTo>
                  <a:lnTo>
                    <a:pt x="211" y="309"/>
                  </a:lnTo>
                  <a:lnTo>
                    <a:pt x="211" y="312"/>
                  </a:lnTo>
                  <a:lnTo>
                    <a:pt x="208" y="312"/>
                  </a:lnTo>
                  <a:lnTo>
                    <a:pt x="211" y="315"/>
                  </a:lnTo>
                  <a:lnTo>
                    <a:pt x="208" y="315"/>
                  </a:lnTo>
                  <a:lnTo>
                    <a:pt x="208" y="318"/>
                  </a:lnTo>
                  <a:lnTo>
                    <a:pt x="208" y="321"/>
                  </a:lnTo>
                  <a:lnTo>
                    <a:pt x="205" y="321"/>
                  </a:lnTo>
                  <a:lnTo>
                    <a:pt x="202" y="321"/>
                  </a:lnTo>
                  <a:lnTo>
                    <a:pt x="199" y="321"/>
                  </a:lnTo>
                  <a:lnTo>
                    <a:pt x="199" y="324"/>
                  </a:lnTo>
                  <a:lnTo>
                    <a:pt x="196" y="324"/>
                  </a:lnTo>
                  <a:lnTo>
                    <a:pt x="190" y="315"/>
                  </a:lnTo>
                  <a:lnTo>
                    <a:pt x="190" y="312"/>
                  </a:lnTo>
                  <a:lnTo>
                    <a:pt x="187" y="309"/>
                  </a:lnTo>
                  <a:lnTo>
                    <a:pt x="187" y="306"/>
                  </a:lnTo>
                  <a:lnTo>
                    <a:pt x="190" y="303"/>
                  </a:lnTo>
                  <a:lnTo>
                    <a:pt x="193" y="300"/>
                  </a:lnTo>
                  <a:lnTo>
                    <a:pt x="202" y="291"/>
                  </a:lnTo>
                  <a:lnTo>
                    <a:pt x="205" y="285"/>
                  </a:lnTo>
                  <a:lnTo>
                    <a:pt x="202" y="285"/>
                  </a:lnTo>
                  <a:lnTo>
                    <a:pt x="199" y="285"/>
                  </a:lnTo>
                  <a:lnTo>
                    <a:pt x="196" y="285"/>
                  </a:lnTo>
                  <a:lnTo>
                    <a:pt x="190" y="285"/>
                  </a:lnTo>
                  <a:lnTo>
                    <a:pt x="187" y="285"/>
                  </a:lnTo>
                  <a:lnTo>
                    <a:pt x="184" y="285"/>
                  </a:lnTo>
                  <a:lnTo>
                    <a:pt x="184" y="282"/>
                  </a:lnTo>
                  <a:lnTo>
                    <a:pt x="184" y="279"/>
                  </a:lnTo>
                  <a:lnTo>
                    <a:pt x="184" y="276"/>
                  </a:lnTo>
                  <a:lnTo>
                    <a:pt x="181" y="276"/>
                  </a:lnTo>
                  <a:lnTo>
                    <a:pt x="181" y="279"/>
                  </a:lnTo>
                  <a:lnTo>
                    <a:pt x="178" y="279"/>
                  </a:lnTo>
                  <a:lnTo>
                    <a:pt x="175" y="279"/>
                  </a:lnTo>
                  <a:lnTo>
                    <a:pt x="175" y="282"/>
                  </a:lnTo>
                  <a:lnTo>
                    <a:pt x="175" y="285"/>
                  </a:lnTo>
                  <a:lnTo>
                    <a:pt x="175" y="288"/>
                  </a:lnTo>
                  <a:lnTo>
                    <a:pt x="178" y="285"/>
                  </a:lnTo>
                  <a:lnTo>
                    <a:pt x="178" y="288"/>
                  </a:lnTo>
                  <a:lnTo>
                    <a:pt x="178" y="291"/>
                  </a:lnTo>
                  <a:lnTo>
                    <a:pt x="175" y="291"/>
                  </a:lnTo>
                  <a:lnTo>
                    <a:pt x="178" y="291"/>
                  </a:lnTo>
                  <a:lnTo>
                    <a:pt x="178" y="294"/>
                  </a:lnTo>
                  <a:lnTo>
                    <a:pt x="175" y="294"/>
                  </a:lnTo>
                  <a:lnTo>
                    <a:pt x="178" y="294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5" y="300"/>
                  </a:lnTo>
                  <a:lnTo>
                    <a:pt x="172" y="300"/>
                  </a:lnTo>
                  <a:lnTo>
                    <a:pt x="172" y="303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9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9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3" y="324"/>
                  </a:lnTo>
                  <a:lnTo>
                    <a:pt x="160" y="321"/>
                  </a:lnTo>
                  <a:lnTo>
                    <a:pt x="157" y="318"/>
                  </a:lnTo>
                  <a:lnTo>
                    <a:pt x="154" y="318"/>
                  </a:lnTo>
                  <a:lnTo>
                    <a:pt x="157" y="315"/>
                  </a:lnTo>
                  <a:lnTo>
                    <a:pt x="157" y="312"/>
                  </a:lnTo>
                  <a:lnTo>
                    <a:pt x="151" y="306"/>
                  </a:lnTo>
                  <a:lnTo>
                    <a:pt x="151" y="309"/>
                  </a:lnTo>
                  <a:lnTo>
                    <a:pt x="148" y="306"/>
                  </a:lnTo>
                  <a:lnTo>
                    <a:pt x="151" y="300"/>
                  </a:lnTo>
                  <a:lnTo>
                    <a:pt x="154" y="300"/>
                  </a:lnTo>
                  <a:lnTo>
                    <a:pt x="154" y="297"/>
                  </a:lnTo>
                  <a:lnTo>
                    <a:pt x="154" y="294"/>
                  </a:lnTo>
                  <a:lnTo>
                    <a:pt x="151" y="291"/>
                  </a:lnTo>
                  <a:lnTo>
                    <a:pt x="154" y="285"/>
                  </a:lnTo>
                  <a:lnTo>
                    <a:pt x="151" y="285"/>
                  </a:lnTo>
                  <a:lnTo>
                    <a:pt x="148" y="285"/>
                  </a:lnTo>
                  <a:lnTo>
                    <a:pt x="145" y="285"/>
                  </a:lnTo>
                  <a:lnTo>
                    <a:pt x="142" y="285"/>
                  </a:lnTo>
                  <a:lnTo>
                    <a:pt x="139" y="285"/>
                  </a:lnTo>
                  <a:lnTo>
                    <a:pt x="136" y="288"/>
                  </a:lnTo>
                  <a:lnTo>
                    <a:pt x="133" y="288"/>
                  </a:lnTo>
                  <a:lnTo>
                    <a:pt x="130" y="288"/>
                  </a:lnTo>
                  <a:lnTo>
                    <a:pt x="127" y="288"/>
                  </a:lnTo>
                  <a:lnTo>
                    <a:pt x="123" y="285"/>
                  </a:lnTo>
                  <a:lnTo>
                    <a:pt x="127" y="282"/>
                  </a:lnTo>
                  <a:lnTo>
                    <a:pt x="127" y="279"/>
                  </a:lnTo>
                  <a:lnTo>
                    <a:pt x="120" y="276"/>
                  </a:lnTo>
                  <a:lnTo>
                    <a:pt x="120" y="273"/>
                  </a:lnTo>
                  <a:lnTo>
                    <a:pt x="120" y="267"/>
                  </a:lnTo>
                  <a:lnTo>
                    <a:pt x="120" y="264"/>
                  </a:lnTo>
                  <a:lnTo>
                    <a:pt x="120" y="261"/>
                  </a:lnTo>
                  <a:lnTo>
                    <a:pt x="123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14" y="255"/>
                  </a:lnTo>
                  <a:lnTo>
                    <a:pt x="117" y="255"/>
                  </a:lnTo>
                  <a:lnTo>
                    <a:pt x="117" y="258"/>
                  </a:lnTo>
                  <a:lnTo>
                    <a:pt x="114" y="258"/>
                  </a:lnTo>
                  <a:lnTo>
                    <a:pt x="111" y="258"/>
                  </a:lnTo>
                  <a:lnTo>
                    <a:pt x="108" y="255"/>
                  </a:lnTo>
                  <a:lnTo>
                    <a:pt x="108" y="258"/>
                  </a:lnTo>
                  <a:lnTo>
                    <a:pt x="108" y="261"/>
                  </a:lnTo>
                  <a:lnTo>
                    <a:pt x="108" y="264"/>
                  </a:lnTo>
                  <a:lnTo>
                    <a:pt x="111" y="264"/>
                  </a:lnTo>
                  <a:lnTo>
                    <a:pt x="111" y="267"/>
                  </a:lnTo>
                  <a:lnTo>
                    <a:pt x="108" y="267"/>
                  </a:lnTo>
                  <a:lnTo>
                    <a:pt x="105" y="264"/>
                  </a:lnTo>
                  <a:lnTo>
                    <a:pt x="105" y="267"/>
                  </a:lnTo>
                  <a:lnTo>
                    <a:pt x="102" y="264"/>
                  </a:lnTo>
                  <a:lnTo>
                    <a:pt x="99" y="267"/>
                  </a:lnTo>
                  <a:lnTo>
                    <a:pt x="96" y="273"/>
                  </a:lnTo>
                  <a:lnTo>
                    <a:pt x="96" y="270"/>
                  </a:lnTo>
                  <a:lnTo>
                    <a:pt x="93" y="270"/>
                  </a:lnTo>
                  <a:lnTo>
                    <a:pt x="90" y="267"/>
                  </a:lnTo>
                  <a:lnTo>
                    <a:pt x="87" y="267"/>
                  </a:lnTo>
                  <a:lnTo>
                    <a:pt x="84" y="264"/>
                  </a:lnTo>
                  <a:lnTo>
                    <a:pt x="81" y="264"/>
                  </a:lnTo>
                  <a:lnTo>
                    <a:pt x="78" y="264"/>
                  </a:lnTo>
                  <a:lnTo>
                    <a:pt x="75" y="264"/>
                  </a:lnTo>
                  <a:lnTo>
                    <a:pt x="72" y="264"/>
                  </a:lnTo>
                  <a:lnTo>
                    <a:pt x="75" y="261"/>
                  </a:lnTo>
                  <a:lnTo>
                    <a:pt x="72" y="261"/>
                  </a:lnTo>
                  <a:lnTo>
                    <a:pt x="72" y="258"/>
                  </a:lnTo>
                  <a:lnTo>
                    <a:pt x="69" y="258"/>
                  </a:lnTo>
                  <a:lnTo>
                    <a:pt x="66" y="258"/>
                  </a:lnTo>
                  <a:lnTo>
                    <a:pt x="63" y="255"/>
                  </a:lnTo>
                  <a:lnTo>
                    <a:pt x="60" y="255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1" y="252"/>
                  </a:lnTo>
                  <a:lnTo>
                    <a:pt x="51" y="249"/>
                  </a:lnTo>
                  <a:lnTo>
                    <a:pt x="48" y="246"/>
                  </a:lnTo>
                  <a:lnTo>
                    <a:pt x="45" y="243"/>
                  </a:lnTo>
                  <a:lnTo>
                    <a:pt x="42" y="237"/>
                  </a:lnTo>
                  <a:lnTo>
                    <a:pt x="39" y="240"/>
                  </a:lnTo>
                  <a:lnTo>
                    <a:pt x="36" y="240"/>
                  </a:lnTo>
                  <a:lnTo>
                    <a:pt x="33" y="237"/>
                  </a:lnTo>
                  <a:lnTo>
                    <a:pt x="33" y="234"/>
                  </a:lnTo>
                  <a:lnTo>
                    <a:pt x="33" y="231"/>
                  </a:lnTo>
                  <a:lnTo>
                    <a:pt x="33" y="222"/>
                  </a:lnTo>
                  <a:lnTo>
                    <a:pt x="39" y="222"/>
                  </a:lnTo>
                  <a:lnTo>
                    <a:pt x="42" y="222"/>
                  </a:lnTo>
                  <a:lnTo>
                    <a:pt x="39" y="219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3" y="204"/>
                  </a:lnTo>
                  <a:lnTo>
                    <a:pt x="39" y="201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6" y="192"/>
                  </a:lnTo>
                  <a:lnTo>
                    <a:pt x="39" y="189"/>
                  </a:lnTo>
                  <a:lnTo>
                    <a:pt x="36" y="189"/>
                  </a:lnTo>
                  <a:lnTo>
                    <a:pt x="36" y="186"/>
                  </a:lnTo>
                  <a:lnTo>
                    <a:pt x="33" y="186"/>
                  </a:lnTo>
                  <a:lnTo>
                    <a:pt x="33" y="183"/>
                  </a:lnTo>
                  <a:lnTo>
                    <a:pt x="33" y="186"/>
                  </a:lnTo>
                  <a:lnTo>
                    <a:pt x="30" y="186"/>
                  </a:lnTo>
                  <a:lnTo>
                    <a:pt x="27" y="186"/>
                  </a:lnTo>
                  <a:lnTo>
                    <a:pt x="27" y="183"/>
                  </a:lnTo>
                  <a:lnTo>
                    <a:pt x="24" y="183"/>
                  </a:lnTo>
                  <a:lnTo>
                    <a:pt x="21" y="183"/>
                  </a:lnTo>
                  <a:lnTo>
                    <a:pt x="21" y="180"/>
                  </a:lnTo>
                  <a:lnTo>
                    <a:pt x="18" y="180"/>
                  </a:lnTo>
                  <a:lnTo>
                    <a:pt x="15" y="180"/>
                  </a:lnTo>
                  <a:lnTo>
                    <a:pt x="12" y="180"/>
                  </a:lnTo>
                  <a:lnTo>
                    <a:pt x="9" y="180"/>
                  </a:lnTo>
                  <a:lnTo>
                    <a:pt x="9" y="177"/>
                  </a:lnTo>
                  <a:lnTo>
                    <a:pt x="6" y="171"/>
                  </a:lnTo>
                  <a:lnTo>
                    <a:pt x="9" y="165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9" y="144"/>
                  </a:lnTo>
                  <a:lnTo>
                    <a:pt x="9" y="141"/>
                  </a:lnTo>
                  <a:lnTo>
                    <a:pt x="9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0" y="135"/>
                  </a:lnTo>
                  <a:lnTo>
                    <a:pt x="3" y="135"/>
                  </a:lnTo>
                  <a:lnTo>
                    <a:pt x="6" y="132"/>
                  </a:lnTo>
                  <a:lnTo>
                    <a:pt x="3" y="132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3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29"/>
                  </a:lnTo>
                  <a:lnTo>
                    <a:pt x="9" y="126"/>
                  </a:lnTo>
                  <a:lnTo>
                    <a:pt x="9" y="123"/>
                  </a:lnTo>
                  <a:lnTo>
                    <a:pt x="9" y="120"/>
                  </a:lnTo>
                  <a:lnTo>
                    <a:pt x="12" y="120"/>
                  </a:lnTo>
                  <a:lnTo>
                    <a:pt x="12" y="117"/>
                  </a:lnTo>
                  <a:lnTo>
                    <a:pt x="9" y="117"/>
                  </a:lnTo>
                  <a:lnTo>
                    <a:pt x="9" y="114"/>
                  </a:lnTo>
                  <a:lnTo>
                    <a:pt x="12" y="114"/>
                  </a:lnTo>
                  <a:lnTo>
                    <a:pt x="9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15" y="111"/>
                  </a:lnTo>
                  <a:lnTo>
                    <a:pt x="15" y="108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12" y="105"/>
                  </a:lnTo>
                  <a:lnTo>
                    <a:pt x="12" y="102"/>
                  </a:lnTo>
                  <a:lnTo>
                    <a:pt x="15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7" y="69"/>
                  </a:lnTo>
                  <a:lnTo>
                    <a:pt x="30" y="69"/>
                  </a:lnTo>
                  <a:lnTo>
                    <a:pt x="30" y="66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6" y="63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6" y="63"/>
                  </a:lnTo>
                  <a:lnTo>
                    <a:pt x="39" y="63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5" y="63"/>
                  </a:lnTo>
                  <a:lnTo>
                    <a:pt x="45" y="60"/>
                  </a:lnTo>
                  <a:lnTo>
                    <a:pt x="48" y="60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54" y="60"/>
                  </a:lnTo>
                  <a:lnTo>
                    <a:pt x="54" y="57"/>
                  </a:lnTo>
                  <a:lnTo>
                    <a:pt x="57" y="57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9" y="60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2" y="63"/>
                  </a:lnTo>
                  <a:lnTo>
                    <a:pt x="75" y="63"/>
                  </a:lnTo>
                  <a:lnTo>
                    <a:pt x="75" y="66"/>
                  </a:lnTo>
                  <a:lnTo>
                    <a:pt x="78" y="66"/>
                  </a:lnTo>
                  <a:lnTo>
                    <a:pt x="81" y="66"/>
                  </a:lnTo>
                  <a:lnTo>
                    <a:pt x="81" y="69"/>
                  </a:lnTo>
                  <a:lnTo>
                    <a:pt x="84" y="69"/>
                  </a:lnTo>
                  <a:lnTo>
                    <a:pt x="84" y="72"/>
                  </a:lnTo>
                  <a:lnTo>
                    <a:pt x="87" y="72"/>
                  </a:lnTo>
                  <a:lnTo>
                    <a:pt x="90" y="72"/>
                  </a:lnTo>
                  <a:lnTo>
                    <a:pt x="87" y="75"/>
                  </a:lnTo>
                  <a:lnTo>
                    <a:pt x="90" y="75"/>
                  </a:lnTo>
                  <a:lnTo>
                    <a:pt x="93" y="75"/>
                  </a:lnTo>
                  <a:lnTo>
                    <a:pt x="96" y="75"/>
                  </a:lnTo>
                  <a:lnTo>
                    <a:pt x="96" y="78"/>
                  </a:lnTo>
                  <a:lnTo>
                    <a:pt x="96" y="81"/>
                  </a:lnTo>
                  <a:lnTo>
                    <a:pt x="99" y="81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8" y="87"/>
                  </a:lnTo>
                  <a:lnTo>
                    <a:pt x="108" y="90"/>
                  </a:lnTo>
                  <a:lnTo>
                    <a:pt x="111" y="93"/>
                  </a:lnTo>
                  <a:lnTo>
                    <a:pt x="111" y="90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93"/>
                  </a:lnTo>
                  <a:lnTo>
                    <a:pt x="120" y="93"/>
                  </a:lnTo>
                  <a:lnTo>
                    <a:pt x="123" y="93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7" y="90"/>
                  </a:lnTo>
                  <a:lnTo>
                    <a:pt x="130" y="90"/>
                  </a:lnTo>
                  <a:lnTo>
                    <a:pt x="133" y="90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9" y="96"/>
                  </a:lnTo>
                  <a:lnTo>
                    <a:pt x="139" y="99"/>
                  </a:lnTo>
                  <a:lnTo>
                    <a:pt x="142" y="99"/>
                  </a:lnTo>
                  <a:lnTo>
                    <a:pt x="142" y="96"/>
                  </a:lnTo>
                  <a:lnTo>
                    <a:pt x="142" y="99"/>
                  </a:lnTo>
                  <a:lnTo>
                    <a:pt x="145" y="99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48" y="105"/>
                  </a:lnTo>
                  <a:lnTo>
                    <a:pt x="151" y="102"/>
                  </a:lnTo>
                  <a:lnTo>
                    <a:pt x="151" y="105"/>
                  </a:lnTo>
                  <a:lnTo>
                    <a:pt x="151" y="102"/>
                  </a:lnTo>
                  <a:lnTo>
                    <a:pt x="154" y="102"/>
                  </a:lnTo>
                  <a:lnTo>
                    <a:pt x="157" y="102"/>
                  </a:lnTo>
                  <a:lnTo>
                    <a:pt x="160" y="105"/>
                  </a:lnTo>
                  <a:lnTo>
                    <a:pt x="163" y="105"/>
                  </a:lnTo>
                  <a:lnTo>
                    <a:pt x="166" y="105"/>
                  </a:lnTo>
                  <a:lnTo>
                    <a:pt x="169" y="108"/>
                  </a:lnTo>
                  <a:lnTo>
                    <a:pt x="172" y="108"/>
                  </a:lnTo>
                  <a:lnTo>
                    <a:pt x="175" y="108"/>
                  </a:lnTo>
                  <a:lnTo>
                    <a:pt x="178" y="108"/>
                  </a:lnTo>
                  <a:lnTo>
                    <a:pt x="181" y="108"/>
                  </a:lnTo>
                  <a:lnTo>
                    <a:pt x="184" y="108"/>
                  </a:lnTo>
                  <a:lnTo>
                    <a:pt x="187" y="108"/>
                  </a:lnTo>
                  <a:lnTo>
                    <a:pt x="190" y="108"/>
                  </a:lnTo>
                  <a:lnTo>
                    <a:pt x="193" y="108"/>
                  </a:lnTo>
                  <a:lnTo>
                    <a:pt x="193" y="105"/>
                  </a:lnTo>
                  <a:lnTo>
                    <a:pt x="196" y="105"/>
                  </a:lnTo>
                  <a:lnTo>
                    <a:pt x="199" y="105"/>
                  </a:lnTo>
                  <a:lnTo>
                    <a:pt x="199" y="102"/>
                  </a:lnTo>
                  <a:lnTo>
                    <a:pt x="202" y="102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5" y="99"/>
                  </a:lnTo>
                  <a:lnTo>
                    <a:pt x="205" y="102"/>
                  </a:lnTo>
                  <a:lnTo>
                    <a:pt x="208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4" y="102"/>
                  </a:lnTo>
                  <a:lnTo>
                    <a:pt x="217" y="105"/>
                  </a:lnTo>
                  <a:lnTo>
                    <a:pt x="217" y="102"/>
                  </a:lnTo>
                  <a:lnTo>
                    <a:pt x="220" y="105"/>
                  </a:lnTo>
                  <a:lnTo>
                    <a:pt x="223" y="105"/>
                  </a:lnTo>
                  <a:lnTo>
                    <a:pt x="226" y="105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102"/>
                  </a:lnTo>
                  <a:lnTo>
                    <a:pt x="238" y="99"/>
                  </a:lnTo>
                  <a:lnTo>
                    <a:pt x="241" y="99"/>
                  </a:lnTo>
                  <a:lnTo>
                    <a:pt x="244" y="96"/>
                  </a:lnTo>
                  <a:lnTo>
                    <a:pt x="247" y="96"/>
                  </a:lnTo>
                  <a:lnTo>
                    <a:pt x="247" y="93"/>
                  </a:lnTo>
                  <a:lnTo>
                    <a:pt x="250" y="93"/>
                  </a:lnTo>
                  <a:lnTo>
                    <a:pt x="250" y="90"/>
                  </a:lnTo>
                  <a:lnTo>
                    <a:pt x="253" y="87"/>
                  </a:lnTo>
                  <a:lnTo>
                    <a:pt x="253" y="84"/>
                  </a:lnTo>
                  <a:lnTo>
                    <a:pt x="253" y="81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9" y="72"/>
                  </a:lnTo>
                  <a:lnTo>
                    <a:pt x="259" y="69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59" y="60"/>
                  </a:lnTo>
                  <a:lnTo>
                    <a:pt x="262" y="57"/>
                  </a:lnTo>
                  <a:lnTo>
                    <a:pt x="262" y="54"/>
                  </a:lnTo>
                  <a:lnTo>
                    <a:pt x="265" y="51"/>
                  </a:lnTo>
                  <a:lnTo>
                    <a:pt x="265" y="48"/>
                  </a:lnTo>
                  <a:lnTo>
                    <a:pt x="268" y="45"/>
                  </a:lnTo>
                  <a:lnTo>
                    <a:pt x="268" y="42"/>
                  </a:lnTo>
                  <a:lnTo>
                    <a:pt x="268" y="39"/>
                  </a:lnTo>
                  <a:lnTo>
                    <a:pt x="268" y="36"/>
                  </a:lnTo>
                  <a:lnTo>
                    <a:pt x="271" y="36"/>
                  </a:lnTo>
                  <a:lnTo>
                    <a:pt x="271" y="33"/>
                  </a:lnTo>
                  <a:lnTo>
                    <a:pt x="271" y="30"/>
                  </a:lnTo>
                  <a:lnTo>
                    <a:pt x="274" y="27"/>
                  </a:lnTo>
                  <a:lnTo>
                    <a:pt x="274" y="24"/>
                  </a:lnTo>
                  <a:lnTo>
                    <a:pt x="274" y="21"/>
                  </a:lnTo>
                  <a:lnTo>
                    <a:pt x="277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1" y="15"/>
                  </a:lnTo>
                  <a:lnTo>
                    <a:pt x="271" y="12"/>
                  </a:lnTo>
                  <a:lnTo>
                    <a:pt x="274" y="12"/>
                  </a:lnTo>
                  <a:lnTo>
                    <a:pt x="271" y="9"/>
                  </a:lnTo>
                  <a:lnTo>
                    <a:pt x="274" y="9"/>
                  </a:lnTo>
                  <a:lnTo>
                    <a:pt x="277" y="9"/>
                  </a:lnTo>
                  <a:lnTo>
                    <a:pt x="280" y="9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6" y="6"/>
                  </a:lnTo>
                  <a:lnTo>
                    <a:pt x="289" y="6"/>
                  </a:lnTo>
                  <a:lnTo>
                    <a:pt x="292" y="6"/>
                  </a:lnTo>
                  <a:lnTo>
                    <a:pt x="295" y="6"/>
                  </a:lnTo>
                  <a:lnTo>
                    <a:pt x="298" y="3"/>
                  </a:lnTo>
                  <a:lnTo>
                    <a:pt x="301" y="3"/>
                  </a:lnTo>
                  <a:lnTo>
                    <a:pt x="304" y="3"/>
                  </a:lnTo>
                  <a:lnTo>
                    <a:pt x="307" y="3"/>
                  </a:lnTo>
                  <a:lnTo>
                    <a:pt x="313" y="0"/>
                  </a:lnTo>
                  <a:lnTo>
                    <a:pt x="316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95" name="Freeform 31">
              <a:extLst>
                <a:ext uri="{FF2B5EF4-FFF2-40B4-BE49-F238E27FC236}">
                  <a16:creationId xmlns:a16="http://schemas.microsoft.com/office/drawing/2014/main" id="{621EB0ED-CF69-4D08-9A8B-35596BBF07A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47963" y="2678113"/>
              <a:ext cx="1500187" cy="1541462"/>
            </a:xfrm>
            <a:custGeom>
              <a:avLst/>
              <a:gdLst>
                <a:gd name="T0" fmla="*/ 1055833 w 763"/>
                <a:gd name="T1" fmla="*/ 330313 h 784"/>
                <a:gd name="T2" fmla="*/ 1085325 w 763"/>
                <a:gd name="T3" fmla="*/ 389298 h 784"/>
                <a:gd name="T4" fmla="*/ 1126615 w 763"/>
                <a:gd name="T5" fmla="*/ 477775 h 784"/>
                <a:gd name="T6" fmla="*/ 1203295 w 763"/>
                <a:gd name="T7" fmla="*/ 513165 h 784"/>
                <a:gd name="T8" fmla="*/ 1244585 w 763"/>
                <a:gd name="T9" fmla="*/ 471876 h 784"/>
                <a:gd name="T10" fmla="*/ 1299638 w 763"/>
                <a:gd name="T11" fmla="*/ 536759 h 784"/>
                <a:gd name="T12" fmla="*/ 1335029 w 763"/>
                <a:gd name="T13" fmla="*/ 613439 h 784"/>
                <a:gd name="T14" fmla="*/ 1346826 w 763"/>
                <a:gd name="T15" fmla="*/ 572150 h 784"/>
                <a:gd name="T16" fmla="*/ 1358623 w 763"/>
                <a:gd name="T17" fmla="*/ 536759 h 784"/>
                <a:gd name="T18" fmla="*/ 1394014 w 763"/>
                <a:gd name="T19" fmla="*/ 566251 h 784"/>
                <a:gd name="T20" fmla="*/ 1394014 w 763"/>
                <a:gd name="T21" fmla="*/ 648830 h 784"/>
                <a:gd name="T22" fmla="*/ 1382217 w 763"/>
                <a:gd name="T23" fmla="*/ 737306 h 784"/>
                <a:gd name="T24" fmla="*/ 1329130 w 763"/>
                <a:gd name="T25" fmla="*/ 849377 h 784"/>
                <a:gd name="T26" fmla="*/ 1329130 w 763"/>
                <a:gd name="T27" fmla="*/ 937854 h 784"/>
                <a:gd name="T28" fmla="*/ 1376318 w 763"/>
                <a:gd name="T29" fmla="*/ 985041 h 784"/>
                <a:gd name="T30" fmla="*/ 1417608 w 763"/>
                <a:gd name="T31" fmla="*/ 1032229 h 784"/>
                <a:gd name="T32" fmla="*/ 1470694 w 763"/>
                <a:gd name="T33" fmla="*/ 1079417 h 784"/>
                <a:gd name="T34" fmla="*/ 1494288 w 763"/>
                <a:gd name="T35" fmla="*/ 1144300 h 784"/>
                <a:gd name="T36" fmla="*/ 1470694 w 763"/>
                <a:gd name="T37" fmla="*/ 1203284 h 784"/>
                <a:gd name="T38" fmla="*/ 1399912 w 763"/>
                <a:gd name="T39" fmla="*/ 1220979 h 784"/>
                <a:gd name="T40" fmla="*/ 1329130 w 763"/>
                <a:gd name="T41" fmla="*/ 1291761 h 784"/>
                <a:gd name="T42" fmla="*/ 1256382 w 763"/>
                <a:gd name="T43" fmla="*/ 1315355 h 784"/>
                <a:gd name="T44" fmla="*/ 1197397 w 763"/>
                <a:gd name="T45" fmla="*/ 1285862 h 784"/>
                <a:gd name="T46" fmla="*/ 1114818 w 763"/>
                <a:gd name="T47" fmla="*/ 1333050 h 784"/>
                <a:gd name="T48" fmla="*/ 1044036 w 763"/>
                <a:gd name="T49" fmla="*/ 1327152 h 784"/>
                <a:gd name="T50" fmla="*/ 949660 w 763"/>
                <a:gd name="T51" fmla="*/ 1309456 h 784"/>
                <a:gd name="T52" fmla="*/ 937863 w 763"/>
                <a:gd name="T53" fmla="*/ 1368441 h 784"/>
                <a:gd name="T54" fmla="*/ 872979 w 763"/>
                <a:gd name="T55" fmla="*/ 1405798 h 784"/>
                <a:gd name="T56" fmla="*/ 808095 w 763"/>
                <a:gd name="T57" fmla="*/ 1435290 h 784"/>
                <a:gd name="T58" fmla="*/ 713719 w 763"/>
                <a:gd name="T59" fmla="*/ 1494274 h 784"/>
                <a:gd name="T60" fmla="*/ 654734 w 763"/>
                <a:gd name="T61" fmla="*/ 1541462 h 784"/>
                <a:gd name="T62" fmla="*/ 613445 w 763"/>
                <a:gd name="T63" fmla="*/ 1429391 h 784"/>
                <a:gd name="T64" fmla="*/ 554460 w 763"/>
                <a:gd name="T65" fmla="*/ 1429391 h 784"/>
                <a:gd name="T66" fmla="*/ 501373 w 763"/>
                <a:gd name="T67" fmla="*/ 1447087 h 784"/>
                <a:gd name="T68" fmla="*/ 501373 w 763"/>
                <a:gd name="T69" fmla="*/ 1374339 h 784"/>
                <a:gd name="T70" fmla="*/ 442388 w 763"/>
                <a:gd name="T71" fmla="*/ 1333050 h 784"/>
                <a:gd name="T72" fmla="*/ 436490 w 763"/>
                <a:gd name="T73" fmla="*/ 1279964 h 784"/>
                <a:gd name="T74" fmla="*/ 412896 w 763"/>
                <a:gd name="T75" fmla="*/ 1197386 h 784"/>
                <a:gd name="T76" fmla="*/ 377504 w 763"/>
                <a:gd name="T77" fmla="*/ 1079417 h 784"/>
                <a:gd name="T78" fmla="*/ 294925 w 763"/>
                <a:gd name="T79" fmla="*/ 1126604 h 784"/>
                <a:gd name="T80" fmla="*/ 212346 w 763"/>
                <a:gd name="T81" fmla="*/ 1191487 h 784"/>
                <a:gd name="T82" fmla="*/ 176955 w 763"/>
                <a:gd name="T83" fmla="*/ 1108909 h 784"/>
                <a:gd name="T84" fmla="*/ 129767 w 763"/>
                <a:gd name="T85" fmla="*/ 1020432 h 784"/>
                <a:gd name="T86" fmla="*/ 106173 w 763"/>
                <a:gd name="T87" fmla="*/ 949651 h 784"/>
                <a:gd name="T88" fmla="*/ 82579 w 763"/>
                <a:gd name="T89" fmla="*/ 861174 h 784"/>
                <a:gd name="T90" fmla="*/ 41290 w 763"/>
                <a:gd name="T91" fmla="*/ 778596 h 784"/>
                <a:gd name="T92" fmla="*/ 0 w 763"/>
                <a:gd name="T93" fmla="*/ 707814 h 784"/>
                <a:gd name="T94" fmla="*/ 58985 w 763"/>
                <a:gd name="T95" fmla="*/ 660627 h 784"/>
                <a:gd name="T96" fmla="*/ 70782 w 763"/>
                <a:gd name="T97" fmla="*/ 607541 h 784"/>
                <a:gd name="T98" fmla="*/ 123869 w 763"/>
                <a:gd name="T99" fmla="*/ 637033 h 784"/>
                <a:gd name="T100" fmla="*/ 141564 w 763"/>
                <a:gd name="T101" fmla="*/ 684220 h 784"/>
                <a:gd name="T102" fmla="*/ 188752 w 763"/>
                <a:gd name="T103" fmla="*/ 731408 h 784"/>
                <a:gd name="T104" fmla="*/ 259534 w 763"/>
                <a:gd name="T105" fmla="*/ 749103 h 784"/>
                <a:gd name="T106" fmla="*/ 330316 w 763"/>
                <a:gd name="T107" fmla="*/ 760900 h 784"/>
                <a:gd name="T108" fmla="*/ 418794 w 763"/>
                <a:gd name="T109" fmla="*/ 760900 h 784"/>
                <a:gd name="T110" fmla="*/ 460084 w 763"/>
                <a:gd name="T111" fmla="*/ 743205 h 784"/>
                <a:gd name="T112" fmla="*/ 507272 w 763"/>
                <a:gd name="T113" fmla="*/ 696017 h 784"/>
                <a:gd name="T114" fmla="*/ 578054 w 763"/>
                <a:gd name="T115" fmla="*/ 678322 h 784"/>
                <a:gd name="T116" fmla="*/ 631140 w 763"/>
                <a:gd name="T117" fmla="*/ 41289 h 784"/>
                <a:gd name="T118" fmla="*/ 666531 w 763"/>
                <a:gd name="T119" fmla="*/ 94375 h 7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63" h="784">
                  <a:moveTo>
                    <a:pt x="519" y="126"/>
                  </a:moveTo>
                  <a:lnTo>
                    <a:pt x="525" y="126"/>
                  </a:lnTo>
                  <a:lnTo>
                    <a:pt x="525" y="129"/>
                  </a:lnTo>
                  <a:lnTo>
                    <a:pt x="525" y="132"/>
                  </a:lnTo>
                  <a:lnTo>
                    <a:pt x="525" y="135"/>
                  </a:lnTo>
                  <a:lnTo>
                    <a:pt x="525" y="138"/>
                  </a:lnTo>
                  <a:lnTo>
                    <a:pt x="525" y="141"/>
                  </a:lnTo>
                  <a:lnTo>
                    <a:pt x="525" y="144"/>
                  </a:lnTo>
                  <a:lnTo>
                    <a:pt x="525" y="147"/>
                  </a:lnTo>
                  <a:lnTo>
                    <a:pt x="525" y="153"/>
                  </a:lnTo>
                  <a:lnTo>
                    <a:pt x="522" y="159"/>
                  </a:lnTo>
                  <a:lnTo>
                    <a:pt x="525" y="165"/>
                  </a:lnTo>
                  <a:lnTo>
                    <a:pt x="525" y="168"/>
                  </a:lnTo>
                  <a:lnTo>
                    <a:pt x="528" y="168"/>
                  </a:lnTo>
                  <a:lnTo>
                    <a:pt x="531" y="168"/>
                  </a:lnTo>
                  <a:lnTo>
                    <a:pt x="534" y="168"/>
                  </a:lnTo>
                  <a:lnTo>
                    <a:pt x="537" y="168"/>
                  </a:lnTo>
                  <a:lnTo>
                    <a:pt x="537" y="171"/>
                  </a:lnTo>
                  <a:lnTo>
                    <a:pt x="540" y="171"/>
                  </a:lnTo>
                  <a:lnTo>
                    <a:pt x="543" y="171"/>
                  </a:lnTo>
                  <a:lnTo>
                    <a:pt x="543" y="174"/>
                  </a:lnTo>
                  <a:lnTo>
                    <a:pt x="546" y="174"/>
                  </a:lnTo>
                  <a:lnTo>
                    <a:pt x="549" y="174"/>
                  </a:lnTo>
                  <a:lnTo>
                    <a:pt x="549" y="171"/>
                  </a:lnTo>
                  <a:lnTo>
                    <a:pt x="549" y="174"/>
                  </a:lnTo>
                  <a:lnTo>
                    <a:pt x="552" y="174"/>
                  </a:lnTo>
                  <a:lnTo>
                    <a:pt x="552" y="177"/>
                  </a:lnTo>
                  <a:lnTo>
                    <a:pt x="555" y="177"/>
                  </a:lnTo>
                  <a:lnTo>
                    <a:pt x="552" y="180"/>
                  </a:lnTo>
                  <a:lnTo>
                    <a:pt x="552" y="183"/>
                  </a:lnTo>
                  <a:lnTo>
                    <a:pt x="552" y="186"/>
                  </a:lnTo>
                  <a:lnTo>
                    <a:pt x="555" y="189"/>
                  </a:lnTo>
                  <a:lnTo>
                    <a:pt x="549" y="192"/>
                  </a:lnTo>
                  <a:lnTo>
                    <a:pt x="552" y="198"/>
                  </a:lnTo>
                  <a:lnTo>
                    <a:pt x="552" y="201"/>
                  </a:lnTo>
                  <a:lnTo>
                    <a:pt x="555" y="207"/>
                  </a:lnTo>
                  <a:lnTo>
                    <a:pt x="558" y="210"/>
                  </a:lnTo>
                  <a:lnTo>
                    <a:pt x="555" y="210"/>
                  </a:lnTo>
                  <a:lnTo>
                    <a:pt x="549" y="210"/>
                  </a:lnTo>
                  <a:lnTo>
                    <a:pt x="549" y="219"/>
                  </a:lnTo>
                  <a:lnTo>
                    <a:pt x="549" y="222"/>
                  </a:lnTo>
                  <a:lnTo>
                    <a:pt x="549" y="225"/>
                  </a:lnTo>
                  <a:lnTo>
                    <a:pt x="552" y="228"/>
                  </a:lnTo>
                  <a:lnTo>
                    <a:pt x="555" y="228"/>
                  </a:lnTo>
                  <a:lnTo>
                    <a:pt x="558" y="225"/>
                  </a:lnTo>
                  <a:lnTo>
                    <a:pt x="561" y="231"/>
                  </a:lnTo>
                  <a:lnTo>
                    <a:pt x="564" y="234"/>
                  </a:lnTo>
                  <a:lnTo>
                    <a:pt x="567" y="237"/>
                  </a:lnTo>
                  <a:lnTo>
                    <a:pt x="567" y="240"/>
                  </a:lnTo>
                  <a:lnTo>
                    <a:pt x="570" y="240"/>
                  </a:lnTo>
                  <a:lnTo>
                    <a:pt x="573" y="243"/>
                  </a:lnTo>
                  <a:lnTo>
                    <a:pt x="576" y="243"/>
                  </a:lnTo>
                  <a:lnTo>
                    <a:pt x="579" y="243"/>
                  </a:lnTo>
                  <a:lnTo>
                    <a:pt x="582" y="246"/>
                  </a:lnTo>
                  <a:lnTo>
                    <a:pt x="585" y="246"/>
                  </a:lnTo>
                  <a:lnTo>
                    <a:pt x="588" y="246"/>
                  </a:lnTo>
                  <a:lnTo>
                    <a:pt x="588" y="249"/>
                  </a:lnTo>
                  <a:lnTo>
                    <a:pt x="591" y="249"/>
                  </a:lnTo>
                  <a:lnTo>
                    <a:pt x="588" y="252"/>
                  </a:lnTo>
                  <a:lnTo>
                    <a:pt x="591" y="252"/>
                  </a:lnTo>
                  <a:lnTo>
                    <a:pt x="594" y="252"/>
                  </a:lnTo>
                  <a:lnTo>
                    <a:pt x="597" y="252"/>
                  </a:lnTo>
                  <a:lnTo>
                    <a:pt x="600" y="252"/>
                  </a:lnTo>
                  <a:lnTo>
                    <a:pt x="603" y="255"/>
                  </a:lnTo>
                  <a:lnTo>
                    <a:pt x="606" y="255"/>
                  </a:lnTo>
                  <a:lnTo>
                    <a:pt x="609" y="258"/>
                  </a:lnTo>
                  <a:lnTo>
                    <a:pt x="612" y="258"/>
                  </a:lnTo>
                  <a:lnTo>
                    <a:pt x="612" y="261"/>
                  </a:lnTo>
                  <a:lnTo>
                    <a:pt x="615" y="255"/>
                  </a:lnTo>
                  <a:lnTo>
                    <a:pt x="618" y="252"/>
                  </a:lnTo>
                  <a:lnTo>
                    <a:pt x="621" y="255"/>
                  </a:lnTo>
                  <a:lnTo>
                    <a:pt x="621" y="252"/>
                  </a:lnTo>
                  <a:lnTo>
                    <a:pt x="624" y="255"/>
                  </a:lnTo>
                  <a:lnTo>
                    <a:pt x="627" y="255"/>
                  </a:lnTo>
                  <a:lnTo>
                    <a:pt x="627" y="252"/>
                  </a:lnTo>
                  <a:lnTo>
                    <a:pt x="624" y="252"/>
                  </a:lnTo>
                  <a:lnTo>
                    <a:pt x="624" y="249"/>
                  </a:lnTo>
                  <a:lnTo>
                    <a:pt x="624" y="246"/>
                  </a:lnTo>
                  <a:lnTo>
                    <a:pt x="624" y="243"/>
                  </a:lnTo>
                  <a:lnTo>
                    <a:pt x="627" y="246"/>
                  </a:lnTo>
                  <a:lnTo>
                    <a:pt x="630" y="246"/>
                  </a:lnTo>
                  <a:lnTo>
                    <a:pt x="633" y="246"/>
                  </a:lnTo>
                  <a:lnTo>
                    <a:pt x="633" y="243"/>
                  </a:lnTo>
                  <a:lnTo>
                    <a:pt x="630" y="243"/>
                  </a:lnTo>
                  <a:lnTo>
                    <a:pt x="633" y="240"/>
                  </a:lnTo>
                  <a:lnTo>
                    <a:pt x="633" y="237"/>
                  </a:lnTo>
                  <a:lnTo>
                    <a:pt x="639" y="240"/>
                  </a:lnTo>
                  <a:lnTo>
                    <a:pt x="636" y="249"/>
                  </a:lnTo>
                  <a:lnTo>
                    <a:pt x="636" y="252"/>
                  </a:lnTo>
                  <a:lnTo>
                    <a:pt x="636" y="255"/>
                  </a:lnTo>
                  <a:lnTo>
                    <a:pt x="636" y="261"/>
                  </a:lnTo>
                  <a:lnTo>
                    <a:pt x="636" y="264"/>
                  </a:lnTo>
                  <a:lnTo>
                    <a:pt x="643" y="267"/>
                  </a:lnTo>
                  <a:lnTo>
                    <a:pt x="643" y="270"/>
                  </a:lnTo>
                  <a:lnTo>
                    <a:pt x="639" y="273"/>
                  </a:lnTo>
                  <a:lnTo>
                    <a:pt x="643" y="276"/>
                  </a:lnTo>
                  <a:lnTo>
                    <a:pt x="646" y="276"/>
                  </a:lnTo>
                  <a:lnTo>
                    <a:pt x="649" y="276"/>
                  </a:lnTo>
                  <a:lnTo>
                    <a:pt x="652" y="276"/>
                  </a:lnTo>
                  <a:lnTo>
                    <a:pt x="655" y="273"/>
                  </a:lnTo>
                  <a:lnTo>
                    <a:pt x="658" y="273"/>
                  </a:lnTo>
                  <a:lnTo>
                    <a:pt x="661" y="273"/>
                  </a:lnTo>
                  <a:lnTo>
                    <a:pt x="664" y="273"/>
                  </a:lnTo>
                  <a:lnTo>
                    <a:pt x="667" y="273"/>
                  </a:lnTo>
                  <a:lnTo>
                    <a:pt x="670" y="273"/>
                  </a:lnTo>
                  <a:lnTo>
                    <a:pt x="667" y="279"/>
                  </a:lnTo>
                  <a:lnTo>
                    <a:pt x="670" y="282"/>
                  </a:lnTo>
                  <a:lnTo>
                    <a:pt x="670" y="285"/>
                  </a:lnTo>
                  <a:lnTo>
                    <a:pt x="670" y="288"/>
                  </a:lnTo>
                  <a:lnTo>
                    <a:pt x="667" y="288"/>
                  </a:lnTo>
                  <a:lnTo>
                    <a:pt x="664" y="294"/>
                  </a:lnTo>
                  <a:lnTo>
                    <a:pt x="667" y="297"/>
                  </a:lnTo>
                  <a:lnTo>
                    <a:pt x="667" y="294"/>
                  </a:lnTo>
                  <a:lnTo>
                    <a:pt x="673" y="300"/>
                  </a:lnTo>
                  <a:lnTo>
                    <a:pt x="673" y="303"/>
                  </a:lnTo>
                  <a:lnTo>
                    <a:pt x="670" y="306"/>
                  </a:lnTo>
                  <a:lnTo>
                    <a:pt x="673" y="306"/>
                  </a:lnTo>
                  <a:lnTo>
                    <a:pt x="676" y="309"/>
                  </a:lnTo>
                  <a:lnTo>
                    <a:pt x="679" y="312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85" y="306"/>
                  </a:lnTo>
                  <a:lnTo>
                    <a:pt x="685" y="303"/>
                  </a:lnTo>
                  <a:lnTo>
                    <a:pt x="685" y="300"/>
                  </a:lnTo>
                  <a:lnTo>
                    <a:pt x="685" y="297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8" y="291"/>
                  </a:lnTo>
                  <a:lnTo>
                    <a:pt x="688" y="288"/>
                  </a:lnTo>
                  <a:lnTo>
                    <a:pt x="691" y="288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4" y="282"/>
                  </a:lnTo>
                  <a:lnTo>
                    <a:pt x="691" y="282"/>
                  </a:lnTo>
                  <a:lnTo>
                    <a:pt x="694" y="282"/>
                  </a:lnTo>
                  <a:lnTo>
                    <a:pt x="694" y="279"/>
                  </a:lnTo>
                  <a:lnTo>
                    <a:pt x="691" y="279"/>
                  </a:lnTo>
                  <a:lnTo>
                    <a:pt x="694" y="279"/>
                  </a:lnTo>
                  <a:lnTo>
                    <a:pt x="694" y="276"/>
                  </a:lnTo>
                  <a:lnTo>
                    <a:pt x="694" y="273"/>
                  </a:lnTo>
                  <a:lnTo>
                    <a:pt x="691" y="276"/>
                  </a:lnTo>
                  <a:lnTo>
                    <a:pt x="691" y="273"/>
                  </a:lnTo>
                  <a:lnTo>
                    <a:pt x="691" y="270"/>
                  </a:lnTo>
                  <a:lnTo>
                    <a:pt x="691" y="267"/>
                  </a:lnTo>
                  <a:lnTo>
                    <a:pt x="694" y="267"/>
                  </a:lnTo>
                  <a:lnTo>
                    <a:pt x="697" y="267"/>
                  </a:lnTo>
                  <a:lnTo>
                    <a:pt x="697" y="264"/>
                  </a:lnTo>
                  <a:lnTo>
                    <a:pt x="700" y="264"/>
                  </a:lnTo>
                  <a:lnTo>
                    <a:pt x="700" y="267"/>
                  </a:lnTo>
                  <a:lnTo>
                    <a:pt x="700" y="270"/>
                  </a:lnTo>
                  <a:lnTo>
                    <a:pt x="700" y="273"/>
                  </a:lnTo>
                  <a:lnTo>
                    <a:pt x="703" y="273"/>
                  </a:lnTo>
                  <a:lnTo>
                    <a:pt x="706" y="273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3"/>
                  </a:lnTo>
                  <a:lnTo>
                    <a:pt x="718" y="279"/>
                  </a:lnTo>
                  <a:lnTo>
                    <a:pt x="709" y="288"/>
                  </a:lnTo>
                  <a:lnTo>
                    <a:pt x="706" y="291"/>
                  </a:lnTo>
                  <a:lnTo>
                    <a:pt x="703" y="294"/>
                  </a:lnTo>
                  <a:lnTo>
                    <a:pt x="703" y="297"/>
                  </a:lnTo>
                  <a:lnTo>
                    <a:pt x="706" y="300"/>
                  </a:lnTo>
                  <a:lnTo>
                    <a:pt x="706" y="303"/>
                  </a:lnTo>
                  <a:lnTo>
                    <a:pt x="712" y="312"/>
                  </a:lnTo>
                  <a:lnTo>
                    <a:pt x="715" y="312"/>
                  </a:lnTo>
                  <a:lnTo>
                    <a:pt x="715" y="309"/>
                  </a:lnTo>
                  <a:lnTo>
                    <a:pt x="718" y="309"/>
                  </a:lnTo>
                  <a:lnTo>
                    <a:pt x="718" y="318"/>
                  </a:lnTo>
                  <a:lnTo>
                    <a:pt x="715" y="324"/>
                  </a:lnTo>
                  <a:lnTo>
                    <a:pt x="715" y="327"/>
                  </a:lnTo>
                  <a:lnTo>
                    <a:pt x="712" y="324"/>
                  </a:lnTo>
                  <a:lnTo>
                    <a:pt x="712" y="327"/>
                  </a:lnTo>
                  <a:lnTo>
                    <a:pt x="709" y="327"/>
                  </a:lnTo>
                  <a:lnTo>
                    <a:pt x="706" y="327"/>
                  </a:lnTo>
                  <a:lnTo>
                    <a:pt x="709" y="330"/>
                  </a:lnTo>
                  <a:lnTo>
                    <a:pt x="712" y="333"/>
                  </a:lnTo>
                  <a:lnTo>
                    <a:pt x="712" y="336"/>
                  </a:lnTo>
                  <a:lnTo>
                    <a:pt x="709" y="339"/>
                  </a:lnTo>
                  <a:lnTo>
                    <a:pt x="709" y="342"/>
                  </a:lnTo>
                  <a:lnTo>
                    <a:pt x="709" y="345"/>
                  </a:lnTo>
                  <a:lnTo>
                    <a:pt x="706" y="345"/>
                  </a:lnTo>
                  <a:lnTo>
                    <a:pt x="706" y="348"/>
                  </a:lnTo>
                  <a:lnTo>
                    <a:pt x="703" y="351"/>
                  </a:lnTo>
                  <a:lnTo>
                    <a:pt x="706" y="351"/>
                  </a:lnTo>
                  <a:lnTo>
                    <a:pt x="706" y="354"/>
                  </a:lnTo>
                  <a:lnTo>
                    <a:pt x="703" y="363"/>
                  </a:lnTo>
                  <a:lnTo>
                    <a:pt x="709" y="363"/>
                  </a:lnTo>
                  <a:lnTo>
                    <a:pt x="709" y="366"/>
                  </a:lnTo>
                  <a:lnTo>
                    <a:pt x="706" y="366"/>
                  </a:lnTo>
                  <a:lnTo>
                    <a:pt x="706" y="369"/>
                  </a:lnTo>
                  <a:lnTo>
                    <a:pt x="706" y="372"/>
                  </a:lnTo>
                  <a:lnTo>
                    <a:pt x="703" y="375"/>
                  </a:lnTo>
                  <a:lnTo>
                    <a:pt x="700" y="378"/>
                  </a:lnTo>
                  <a:lnTo>
                    <a:pt x="700" y="381"/>
                  </a:lnTo>
                  <a:lnTo>
                    <a:pt x="700" y="384"/>
                  </a:lnTo>
                  <a:lnTo>
                    <a:pt x="697" y="387"/>
                  </a:lnTo>
                  <a:lnTo>
                    <a:pt x="697" y="390"/>
                  </a:lnTo>
                  <a:lnTo>
                    <a:pt x="694" y="393"/>
                  </a:lnTo>
                  <a:lnTo>
                    <a:pt x="694" y="396"/>
                  </a:lnTo>
                  <a:lnTo>
                    <a:pt x="691" y="399"/>
                  </a:lnTo>
                  <a:lnTo>
                    <a:pt x="691" y="402"/>
                  </a:lnTo>
                  <a:lnTo>
                    <a:pt x="688" y="405"/>
                  </a:lnTo>
                  <a:lnTo>
                    <a:pt x="685" y="414"/>
                  </a:lnTo>
                  <a:lnTo>
                    <a:pt x="682" y="417"/>
                  </a:lnTo>
                  <a:lnTo>
                    <a:pt x="682" y="420"/>
                  </a:lnTo>
                  <a:lnTo>
                    <a:pt x="679" y="423"/>
                  </a:lnTo>
                  <a:lnTo>
                    <a:pt x="679" y="426"/>
                  </a:lnTo>
                  <a:lnTo>
                    <a:pt x="676" y="429"/>
                  </a:lnTo>
                  <a:lnTo>
                    <a:pt x="676" y="432"/>
                  </a:lnTo>
                  <a:lnTo>
                    <a:pt x="676" y="435"/>
                  </a:lnTo>
                  <a:lnTo>
                    <a:pt x="673" y="438"/>
                  </a:lnTo>
                  <a:lnTo>
                    <a:pt x="667" y="450"/>
                  </a:lnTo>
                  <a:lnTo>
                    <a:pt x="664" y="456"/>
                  </a:lnTo>
                  <a:lnTo>
                    <a:pt x="661" y="459"/>
                  </a:lnTo>
                  <a:lnTo>
                    <a:pt x="664" y="462"/>
                  </a:lnTo>
                  <a:lnTo>
                    <a:pt x="664" y="465"/>
                  </a:lnTo>
                  <a:lnTo>
                    <a:pt x="664" y="468"/>
                  </a:lnTo>
                  <a:lnTo>
                    <a:pt x="667" y="468"/>
                  </a:lnTo>
                  <a:lnTo>
                    <a:pt x="667" y="471"/>
                  </a:lnTo>
                  <a:lnTo>
                    <a:pt x="667" y="474"/>
                  </a:lnTo>
                  <a:lnTo>
                    <a:pt x="670" y="474"/>
                  </a:lnTo>
                  <a:lnTo>
                    <a:pt x="670" y="477"/>
                  </a:lnTo>
                  <a:lnTo>
                    <a:pt x="670" y="474"/>
                  </a:lnTo>
                  <a:lnTo>
                    <a:pt x="673" y="474"/>
                  </a:lnTo>
                  <a:lnTo>
                    <a:pt x="673" y="477"/>
                  </a:lnTo>
                  <a:lnTo>
                    <a:pt x="676" y="477"/>
                  </a:lnTo>
                  <a:lnTo>
                    <a:pt x="676" y="480"/>
                  </a:lnTo>
                  <a:lnTo>
                    <a:pt x="679" y="480"/>
                  </a:lnTo>
                  <a:lnTo>
                    <a:pt x="679" y="477"/>
                  </a:lnTo>
                  <a:lnTo>
                    <a:pt x="679" y="480"/>
                  </a:lnTo>
                  <a:lnTo>
                    <a:pt x="682" y="483"/>
                  </a:lnTo>
                  <a:lnTo>
                    <a:pt x="685" y="486"/>
                  </a:lnTo>
                  <a:lnTo>
                    <a:pt x="688" y="486"/>
                  </a:lnTo>
                  <a:lnTo>
                    <a:pt x="688" y="483"/>
                  </a:lnTo>
                  <a:lnTo>
                    <a:pt x="688" y="486"/>
                  </a:lnTo>
                  <a:lnTo>
                    <a:pt x="688" y="489"/>
                  </a:lnTo>
                  <a:lnTo>
                    <a:pt x="691" y="492"/>
                  </a:lnTo>
                  <a:lnTo>
                    <a:pt x="694" y="492"/>
                  </a:lnTo>
                  <a:lnTo>
                    <a:pt x="697" y="492"/>
                  </a:lnTo>
                  <a:lnTo>
                    <a:pt x="700" y="492"/>
                  </a:lnTo>
                  <a:lnTo>
                    <a:pt x="700" y="495"/>
                  </a:lnTo>
                  <a:lnTo>
                    <a:pt x="700" y="498"/>
                  </a:lnTo>
                  <a:lnTo>
                    <a:pt x="700" y="501"/>
                  </a:lnTo>
                  <a:lnTo>
                    <a:pt x="703" y="501"/>
                  </a:lnTo>
                  <a:lnTo>
                    <a:pt x="703" y="504"/>
                  </a:lnTo>
                  <a:lnTo>
                    <a:pt x="703" y="507"/>
                  </a:lnTo>
                  <a:lnTo>
                    <a:pt x="706" y="507"/>
                  </a:lnTo>
                  <a:lnTo>
                    <a:pt x="706" y="510"/>
                  </a:lnTo>
                  <a:lnTo>
                    <a:pt x="709" y="510"/>
                  </a:lnTo>
                  <a:lnTo>
                    <a:pt x="709" y="513"/>
                  </a:lnTo>
                  <a:lnTo>
                    <a:pt x="712" y="513"/>
                  </a:lnTo>
                  <a:lnTo>
                    <a:pt x="712" y="516"/>
                  </a:lnTo>
                  <a:lnTo>
                    <a:pt x="715" y="516"/>
                  </a:lnTo>
                  <a:lnTo>
                    <a:pt x="712" y="516"/>
                  </a:lnTo>
                  <a:lnTo>
                    <a:pt x="712" y="519"/>
                  </a:lnTo>
                  <a:lnTo>
                    <a:pt x="715" y="519"/>
                  </a:lnTo>
                  <a:lnTo>
                    <a:pt x="715" y="522"/>
                  </a:lnTo>
                  <a:lnTo>
                    <a:pt x="718" y="522"/>
                  </a:lnTo>
                  <a:lnTo>
                    <a:pt x="721" y="522"/>
                  </a:lnTo>
                  <a:lnTo>
                    <a:pt x="721" y="525"/>
                  </a:lnTo>
                  <a:lnTo>
                    <a:pt x="721" y="528"/>
                  </a:lnTo>
                  <a:lnTo>
                    <a:pt x="724" y="528"/>
                  </a:lnTo>
                  <a:lnTo>
                    <a:pt x="724" y="531"/>
                  </a:lnTo>
                  <a:lnTo>
                    <a:pt x="727" y="531"/>
                  </a:lnTo>
                  <a:lnTo>
                    <a:pt x="727" y="534"/>
                  </a:lnTo>
                  <a:lnTo>
                    <a:pt x="730" y="534"/>
                  </a:lnTo>
                  <a:lnTo>
                    <a:pt x="730" y="537"/>
                  </a:lnTo>
                  <a:lnTo>
                    <a:pt x="730" y="540"/>
                  </a:lnTo>
                  <a:lnTo>
                    <a:pt x="733" y="540"/>
                  </a:lnTo>
                  <a:lnTo>
                    <a:pt x="733" y="543"/>
                  </a:lnTo>
                  <a:lnTo>
                    <a:pt x="736" y="543"/>
                  </a:lnTo>
                  <a:lnTo>
                    <a:pt x="739" y="543"/>
                  </a:lnTo>
                  <a:lnTo>
                    <a:pt x="739" y="546"/>
                  </a:lnTo>
                  <a:lnTo>
                    <a:pt x="742" y="546"/>
                  </a:lnTo>
                  <a:lnTo>
                    <a:pt x="742" y="549"/>
                  </a:lnTo>
                  <a:lnTo>
                    <a:pt x="745" y="549"/>
                  </a:lnTo>
                  <a:lnTo>
                    <a:pt x="748" y="549"/>
                  </a:lnTo>
                  <a:lnTo>
                    <a:pt x="751" y="549"/>
                  </a:lnTo>
                  <a:lnTo>
                    <a:pt x="751" y="552"/>
                  </a:lnTo>
                  <a:lnTo>
                    <a:pt x="754" y="552"/>
                  </a:lnTo>
                  <a:lnTo>
                    <a:pt x="757" y="552"/>
                  </a:lnTo>
                  <a:lnTo>
                    <a:pt x="757" y="555"/>
                  </a:lnTo>
                  <a:lnTo>
                    <a:pt x="757" y="558"/>
                  </a:lnTo>
                  <a:lnTo>
                    <a:pt x="757" y="561"/>
                  </a:lnTo>
                  <a:lnTo>
                    <a:pt x="757" y="564"/>
                  </a:lnTo>
                  <a:lnTo>
                    <a:pt x="757" y="567"/>
                  </a:lnTo>
                  <a:lnTo>
                    <a:pt x="757" y="570"/>
                  </a:lnTo>
                  <a:lnTo>
                    <a:pt x="760" y="570"/>
                  </a:lnTo>
                  <a:lnTo>
                    <a:pt x="763" y="570"/>
                  </a:lnTo>
                  <a:lnTo>
                    <a:pt x="760" y="576"/>
                  </a:lnTo>
                  <a:lnTo>
                    <a:pt x="757" y="576"/>
                  </a:lnTo>
                  <a:lnTo>
                    <a:pt x="757" y="579"/>
                  </a:lnTo>
                  <a:lnTo>
                    <a:pt x="760" y="579"/>
                  </a:lnTo>
                  <a:lnTo>
                    <a:pt x="760" y="582"/>
                  </a:lnTo>
                  <a:lnTo>
                    <a:pt x="763" y="582"/>
                  </a:lnTo>
                  <a:lnTo>
                    <a:pt x="760" y="582"/>
                  </a:lnTo>
                  <a:lnTo>
                    <a:pt x="760" y="585"/>
                  </a:lnTo>
                  <a:lnTo>
                    <a:pt x="760" y="588"/>
                  </a:lnTo>
                  <a:lnTo>
                    <a:pt x="757" y="588"/>
                  </a:lnTo>
                  <a:lnTo>
                    <a:pt x="757" y="591"/>
                  </a:lnTo>
                  <a:lnTo>
                    <a:pt x="760" y="591"/>
                  </a:lnTo>
                  <a:lnTo>
                    <a:pt x="757" y="594"/>
                  </a:lnTo>
                  <a:lnTo>
                    <a:pt x="757" y="597"/>
                  </a:lnTo>
                  <a:lnTo>
                    <a:pt x="754" y="597"/>
                  </a:lnTo>
                  <a:lnTo>
                    <a:pt x="754" y="600"/>
                  </a:lnTo>
                  <a:lnTo>
                    <a:pt x="754" y="603"/>
                  </a:lnTo>
                  <a:lnTo>
                    <a:pt x="751" y="603"/>
                  </a:lnTo>
                  <a:lnTo>
                    <a:pt x="751" y="606"/>
                  </a:lnTo>
                  <a:lnTo>
                    <a:pt x="748" y="606"/>
                  </a:lnTo>
                  <a:lnTo>
                    <a:pt x="748" y="609"/>
                  </a:lnTo>
                  <a:lnTo>
                    <a:pt x="748" y="612"/>
                  </a:lnTo>
                  <a:lnTo>
                    <a:pt x="748" y="615"/>
                  </a:lnTo>
                  <a:lnTo>
                    <a:pt x="742" y="612"/>
                  </a:lnTo>
                  <a:lnTo>
                    <a:pt x="739" y="612"/>
                  </a:lnTo>
                  <a:lnTo>
                    <a:pt x="736" y="609"/>
                  </a:lnTo>
                  <a:lnTo>
                    <a:pt x="733" y="612"/>
                  </a:lnTo>
                  <a:lnTo>
                    <a:pt x="736" y="612"/>
                  </a:lnTo>
                  <a:lnTo>
                    <a:pt x="733" y="612"/>
                  </a:lnTo>
                  <a:lnTo>
                    <a:pt x="733" y="615"/>
                  </a:lnTo>
                  <a:lnTo>
                    <a:pt x="730" y="615"/>
                  </a:lnTo>
                  <a:lnTo>
                    <a:pt x="727" y="615"/>
                  </a:lnTo>
                  <a:lnTo>
                    <a:pt x="724" y="615"/>
                  </a:lnTo>
                  <a:lnTo>
                    <a:pt x="724" y="618"/>
                  </a:lnTo>
                  <a:lnTo>
                    <a:pt x="724" y="615"/>
                  </a:lnTo>
                  <a:lnTo>
                    <a:pt x="721" y="618"/>
                  </a:lnTo>
                  <a:lnTo>
                    <a:pt x="718" y="618"/>
                  </a:lnTo>
                  <a:lnTo>
                    <a:pt x="715" y="618"/>
                  </a:lnTo>
                  <a:lnTo>
                    <a:pt x="712" y="621"/>
                  </a:lnTo>
                  <a:lnTo>
                    <a:pt x="709" y="621"/>
                  </a:lnTo>
                  <a:lnTo>
                    <a:pt x="706" y="624"/>
                  </a:lnTo>
                  <a:lnTo>
                    <a:pt x="706" y="627"/>
                  </a:lnTo>
                  <a:lnTo>
                    <a:pt x="703" y="627"/>
                  </a:lnTo>
                  <a:lnTo>
                    <a:pt x="700" y="630"/>
                  </a:lnTo>
                  <a:lnTo>
                    <a:pt x="694" y="630"/>
                  </a:lnTo>
                  <a:lnTo>
                    <a:pt x="691" y="630"/>
                  </a:lnTo>
                  <a:lnTo>
                    <a:pt x="688" y="627"/>
                  </a:lnTo>
                  <a:lnTo>
                    <a:pt x="682" y="630"/>
                  </a:lnTo>
                  <a:lnTo>
                    <a:pt x="682" y="633"/>
                  </a:lnTo>
                  <a:lnTo>
                    <a:pt x="679" y="639"/>
                  </a:lnTo>
                  <a:lnTo>
                    <a:pt x="676" y="639"/>
                  </a:lnTo>
                  <a:lnTo>
                    <a:pt x="679" y="642"/>
                  </a:lnTo>
                  <a:lnTo>
                    <a:pt x="676" y="645"/>
                  </a:lnTo>
                  <a:lnTo>
                    <a:pt x="676" y="648"/>
                  </a:lnTo>
                  <a:lnTo>
                    <a:pt x="676" y="651"/>
                  </a:lnTo>
                  <a:lnTo>
                    <a:pt x="676" y="657"/>
                  </a:lnTo>
                  <a:lnTo>
                    <a:pt x="676" y="660"/>
                  </a:lnTo>
                  <a:lnTo>
                    <a:pt x="673" y="660"/>
                  </a:lnTo>
                  <a:lnTo>
                    <a:pt x="670" y="660"/>
                  </a:lnTo>
                  <a:lnTo>
                    <a:pt x="667" y="660"/>
                  </a:lnTo>
                  <a:lnTo>
                    <a:pt x="670" y="660"/>
                  </a:lnTo>
                  <a:lnTo>
                    <a:pt x="661" y="660"/>
                  </a:lnTo>
                  <a:lnTo>
                    <a:pt x="661" y="663"/>
                  </a:lnTo>
                  <a:lnTo>
                    <a:pt x="661" y="666"/>
                  </a:lnTo>
                  <a:lnTo>
                    <a:pt x="658" y="666"/>
                  </a:lnTo>
                  <a:lnTo>
                    <a:pt x="655" y="666"/>
                  </a:lnTo>
                  <a:lnTo>
                    <a:pt x="652" y="666"/>
                  </a:lnTo>
                  <a:lnTo>
                    <a:pt x="652" y="663"/>
                  </a:lnTo>
                  <a:lnTo>
                    <a:pt x="646" y="663"/>
                  </a:lnTo>
                  <a:lnTo>
                    <a:pt x="646" y="666"/>
                  </a:lnTo>
                  <a:lnTo>
                    <a:pt x="646" y="669"/>
                  </a:lnTo>
                  <a:lnTo>
                    <a:pt x="643" y="669"/>
                  </a:lnTo>
                  <a:lnTo>
                    <a:pt x="639" y="669"/>
                  </a:lnTo>
                  <a:lnTo>
                    <a:pt x="636" y="666"/>
                  </a:lnTo>
                  <a:lnTo>
                    <a:pt x="636" y="663"/>
                  </a:lnTo>
                  <a:lnTo>
                    <a:pt x="636" y="660"/>
                  </a:lnTo>
                  <a:lnTo>
                    <a:pt x="633" y="660"/>
                  </a:lnTo>
                  <a:lnTo>
                    <a:pt x="630" y="660"/>
                  </a:lnTo>
                  <a:lnTo>
                    <a:pt x="627" y="666"/>
                  </a:lnTo>
                  <a:lnTo>
                    <a:pt x="624" y="669"/>
                  </a:lnTo>
                  <a:lnTo>
                    <a:pt x="624" y="672"/>
                  </a:lnTo>
                  <a:lnTo>
                    <a:pt x="621" y="672"/>
                  </a:lnTo>
                  <a:lnTo>
                    <a:pt x="618" y="669"/>
                  </a:lnTo>
                  <a:lnTo>
                    <a:pt x="618" y="666"/>
                  </a:lnTo>
                  <a:lnTo>
                    <a:pt x="615" y="666"/>
                  </a:lnTo>
                  <a:lnTo>
                    <a:pt x="621" y="663"/>
                  </a:lnTo>
                  <a:lnTo>
                    <a:pt x="618" y="660"/>
                  </a:lnTo>
                  <a:lnTo>
                    <a:pt x="615" y="660"/>
                  </a:lnTo>
                  <a:lnTo>
                    <a:pt x="612" y="660"/>
                  </a:lnTo>
                  <a:lnTo>
                    <a:pt x="609" y="654"/>
                  </a:lnTo>
                  <a:lnTo>
                    <a:pt x="606" y="654"/>
                  </a:lnTo>
                  <a:lnTo>
                    <a:pt x="603" y="657"/>
                  </a:lnTo>
                  <a:lnTo>
                    <a:pt x="600" y="654"/>
                  </a:lnTo>
                  <a:lnTo>
                    <a:pt x="597" y="657"/>
                  </a:lnTo>
                  <a:lnTo>
                    <a:pt x="597" y="660"/>
                  </a:lnTo>
                  <a:lnTo>
                    <a:pt x="594" y="660"/>
                  </a:lnTo>
                  <a:lnTo>
                    <a:pt x="591" y="660"/>
                  </a:lnTo>
                  <a:lnTo>
                    <a:pt x="585" y="657"/>
                  </a:lnTo>
                  <a:lnTo>
                    <a:pt x="582" y="657"/>
                  </a:lnTo>
                  <a:lnTo>
                    <a:pt x="582" y="660"/>
                  </a:lnTo>
                  <a:lnTo>
                    <a:pt x="576" y="660"/>
                  </a:lnTo>
                  <a:lnTo>
                    <a:pt x="573" y="663"/>
                  </a:lnTo>
                  <a:lnTo>
                    <a:pt x="570" y="666"/>
                  </a:lnTo>
                  <a:lnTo>
                    <a:pt x="570" y="669"/>
                  </a:lnTo>
                  <a:lnTo>
                    <a:pt x="570" y="672"/>
                  </a:lnTo>
                  <a:lnTo>
                    <a:pt x="567" y="675"/>
                  </a:lnTo>
                  <a:lnTo>
                    <a:pt x="567" y="678"/>
                  </a:lnTo>
                  <a:lnTo>
                    <a:pt x="564" y="681"/>
                  </a:lnTo>
                  <a:lnTo>
                    <a:pt x="561" y="684"/>
                  </a:lnTo>
                  <a:lnTo>
                    <a:pt x="558" y="684"/>
                  </a:lnTo>
                  <a:lnTo>
                    <a:pt x="558" y="687"/>
                  </a:lnTo>
                  <a:lnTo>
                    <a:pt x="555" y="687"/>
                  </a:lnTo>
                  <a:lnTo>
                    <a:pt x="555" y="684"/>
                  </a:lnTo>
                  <a:lnTo>
                    <a:pt x="552" y="684"/>
                  </a:lnTo>
                  <a:lnTo>
                    <a:pt x="552" y="681"/>
                  </a:lnTo>
                  <a:lnTo>
                    <a:pt x="555" y="678"/>
                  </a:lnTo>
                  <a:lnTo>
                    <a:pt x="552" y="678"/>
                  </a:lnTo>
                  <a:lnTo>
                    <a:pt x="546" y="675"/>
                  </a:lnTo>
                  <a:lnTo>
                    <a:pt x="543" y="675"/>
                  </a:lnTo>
                  <a:lnTo>
                    <a:pt x="540" y="678"/>
                  </a:lnTo>
                  <a:lnTo>
                    <a:pt x="537" y="675"/>
                  </a:lnTo>
                  <a:lnTo>
                    <a:pt x="537" y="672"/>
                  </a:lnTo>
                  <a:lnTo>
                    <a:pt x="534" y="672"/>
                  </a:lnTo>
                  <a:lnTo>
                    <a:pt x="531" y="675"/>
                  </a:lnTo>
                  <a:lnTo>
                    <a:pt x="528" y="672"/>
                  </a:lnTo>
                  <a:lnTo>
                    <a:pt x="525" y="669"/>
                  </a:lnTo>
                  <a:lnTo>
                    <a:pt x="522" y="672"/>
                  </a:lnTo>
                  <a:lnTo>
                    <a:pt x="519" y="672"/>
                  </a:lnTo>
                  <a:lnTo>
                    <a:pt x="516" y="672"/>
                  </a:lnTo>
                  <a:lnTo>
                    <a:pt x="513" y="669"/>
                  </a:lnTo>
                  <a:lnTo>
                    <a:pt x="516" y="663"/>
                  </a:lnTo>
                  <a:lnTo>
                    <a:pt x="513" y="660"/>
                  </a:lnTo>
                  <a:lnTo>
                    <a:pt x="513" y="657"/>
                  </a:lnTo>
                  <a:lnTo>
                    <a:pt x="507" y="657"/>
                  </a:lnTo>
                  <a:lnTo>
                    <a:pt x="501" y="654"/>
                  </a:lnTo>
                  <a:lnTo>
                    <a:pt x="492" y="648"/>
                  </a:lnTo>
                  <a:lnTo>
                    <a:pt x="489" y="648"/>
                  </a:lnTo>
                  <a:lnTo>
                    <a:pt x="486" y="654"/>
                  </a:lnTo>
                  <a:lnTo>
                    <a:pt x="486" y="657"/>
                  </a:lnTo>
                  <a:lnTo>
                    <a:pt x="486" y="660"/>
                  </a:lnTo>
                  <a:lnTo>
                    <a:pt x="483" y="666"/>
                  </a:lnTo>
                  <a:lnTo>
                    <a:pt x="483" y="669"/>
                  </a:lnTo>
                  <a:lnTo>
                    <a:pt x="477" y="669"/>
                  </a:lnTo>
                  <a:lnTo>
                    <a:pt x="480" y="672"/>
                  </a:lnTo>
                  <a:lnTo>
                    <a:pt x="480" y="675"/>
                  </a:lnTo>
                  <a:lnTo>
                    <a:pt x="480" y="678"/>
                  </a:lnTo>
                  <a:lnTo>
                    <a:pt x="477" y="678"/>
                  </a:lnTo>
                  <a:lnTo>
                    <a:pt x="474" y="675"/>
                  </a:lnTo>
                  <a:lnTo>
                    <a:pt x="471" y="675"/>
                  </a:lnTo>
                  <a:lnTo>
                    <a:pt x="471" y="678"/>
                  </a:lnTo>
                  <a:lnTo>
                    <a:pt x="474" y="678"/>
                  </a:lnTo>
                  <a:lnTo>
                    <a:pt x="474" y="681"/>
                  </a:lnTo>
                  <a:lnTo>
                    <a:pt x="471" y="684"/>
                  </a:lnTo>
                  <a:lnTo>
                    <a:pt x="471" y="687"/>
                  </a:lnTo>
                  <a:lnTo>
                    <a:pt x="474" y="690"/>
                  </a:lnTo>
                  <a:lnTo>
                    <a:pt x="471" y="690"/>
                  </a:lnTo>
                  <a:lnTo>
                    <a:pt x="474" y="693"/>
                  </a:lnTo>
                  <a:lnTo>
                    <a:pt x="477" y="696"/>
                  </a:lnTo>
                  <a:lnTo>
                    <a:pt x="474" y="696"/>
                  </a:lnTo>
                  <a:lnTo>
                    <a:pt x="471" y="705"/>
                  </a:lnTo>
                  <a:lnTo>
                    <a:pt x="471" y="699"/>
                  </a:lnTo>
                  <a:lnTo>
                    <a:pt x="465" y="702"/>
                  </a:lnTo>
                  <a:lnTo>
                    <a:pt x="465" y="705"/>
                  </a:lnTo>
                  <a:lnTo>
                    <a:pt x="465" y="709"/>
                  </a:lnTo>
                  <a:lnTo>
                    <a:pt x="462" y="712"/>
                  </a:lnTo>
                  <a:lnTo>
                    <a:pt x="459" y="709"/>
                  </a:lnTo>
                  <a:lnTo>
                    <a:pt x="453" y="705"/>
                  </a:lnTo>
                  <a:lnTo>
                    <a:pt x="453" y="709"/>
                  </a:lnTo>
                  <a:lnTo>
                    <a:pt x="456" y="709"/>
                  </a:lnTo>
                  <a:lnTo>
                    <a:pt x="456" y="712"/>
                  </a:lnTo>
                  <a:lnTo>
                    <a:pt x="456" y="715"/>
                  </a:lnTo>
                  <a:lnTo>
                    <a:pt x="456" y="718"/>
                  </a:lnTo>
                  <a:lnTo>
                    <a:pt x="453" y="718"/>
                  </a:lnTo>
                  <a:lnTo>
                    <a:pt x="447" y="715"/>
                  </a:lnTo>
                  <a:lnTo>
                    <a:pt x="444" y="715"/>
                  </a:lnTo>
                  <a:lnTo>
                    <a:pt x="444" y="712"/>
                  </a:lnTo>
                  <a:lnTo>
                    <a:pt x="441" y="712"/>
                  </a:lnTo>
                  <a:lnTo>
                    <a:pt x="438" y="715"/>
                  </a:lnTo>
                  <a:lnTo>
                    <a:pt x="435" y="712"/>
                  </a:lnTo>
                  <a:lnTo>
                    <a:pt x="432" y="712"/>
                  </a:lnTo>
                  <a:lnTo>
                    <a:pt x="429" y="712"/>
                  </a:lnTo>
                  <a:lnTo>
                    <a:pt x="426" y="712"/>
                  </a:lnTo>
                  <a:lnTo>
                    <a:pt x="426" y="715"/>
                  </a:lnTo>
                  <a:lnTo>
                    <a:pt x="426" y="718"/>
                  </a:lnTo>
                  <a:lnTo>
                    <a:pt x="429" y="721"/>
                  </a:lnTo>
                  <a:lnTo>
                    <a:pt x="426" y="724"/>
                  </a:lnTo>
                  <a:lnTo>
                    <a:pt x="423" y="724"/>
                  </a:lnTo>
                  <a:lnTo>
                    <a:pt x="420" y="724"/>
                  </a:lnTo>
                  <a:lnTo>
                    <a:pt x="417" y="724"/>
                  </a:lnTo>
                  <a:lnTo>
                    <a:pt x="417" y="727"/>
                  </a:lnTo>
                  <a:lnTo>
                    <a:pt x="414" y="727"/>
                  </a:lnTo>
                  <a:lnTo>
                    <a:pt x="411" y="730"/>
                  </a:lnTo>
                  <a:lnTo>
                    <a:pt x="405" y="727"/>
                  </a:lnTo>
                  <a:lnTo>
                    <a:pt x="405" y="730"/>
                  </a:lnTo>
                  <a:lnTo>
                    <a:pt x="405" y="733"/>
                  </a:lnTo>
                  <a:lnTo>
                    <a:pt x="402" y="736"/>
                  </a:lnTo>
                  <a:lnTo>
                    <a:pt x="399" y="736"/>
                  </a:lnTo>
                  <a:lnTo>
                    <a:pt x="396" y="739"/>
                  </a:lnTo>
                  <a:lnTo>
                    <a:pt x="396" y="742"/>
                  </a:lnTo>
                  <a:lnTo>
                    <a:pt x="393" y="748"/>
                  </a:lnTo>
                  <a:lnTo>
                    <a:pt x="393" y="754"/>
                  </a:lnTo>
                  <a:lnTo>
                    <a:pt x="390" y="754"/>
                  </a:lnTo>
                  <a:lnTo>
                    <a:pt x="387" y="754"/>
                  </a:lnTo>
                  <a:lnTo>
                    <a:pt x="384" y="754"/>
                  </a:lnTo>
                  <a:lnTo>
                    <a:pt x="378" y="754"/>
                  </a:lnTo>
                  <a:lnTo>
                    <a:pt x="372" y="754"/>
                  </a:lnTo>
                  <a:lnTo>
                    <a:pt x="369" y="757"/>
                  </a:lnTo>
                  <a:lnTo>
                    <a:pt x="366" y="760"/>
                  </a:lnTo>
                  <a:lnTo>
                    <a:pt x="363" y="760"/>
                  </a:lnTo>
                  <a:lnTo>
                    <a:pt x="363" y="763"/>
                  </a:lnTo>
                  <a:lnTo>
                    <a:pt x="366" y="766"/>
                  </a:lnTo>
                  <a:lnTo>
                    <a:pt x="366" y="769"/>
                  </a:lnTo>
                  <a:lnTo>
                    <a:pt x="366" y="772"/>
                  </a:lnTo>
                  <a:lnTo>
                    <a:pt x="366" y="775"/>
                  </a:lnTo>
                  <a:lnTo>
                    <a:pt x="366" y="778"/>
                  </a:lnTo>
                  <a:lnTo>
                    <a:pt x="363" y="778"/>
                  </a:lnTo>
                  <a:lnTo>
                    <a:pt x="360" y="781"/>
                  </a:lnTo>
                  <a:lnTo>
                    <a:pt x="357" y="784"/>
                  </a:lnTo>
                  <a:lnTo>
                    <a:pt x="351" y="784"/>
                  </a:lnTo>
                  <a:lnTo>
                    <a:pt x="348" y="784"/>
                  </a:lnTo>
                  <a:lnTo>
                    <a:pt x="345" y="784"/>
                  </a:lnTo>
                  <a:lnTo>
                    <a:pt x="345" y="781"/>
                  </a:lnTo>
                  <a:lnTo>
                    <a:pt x="345" y="778"/>
                  </a:lnTo>
                  <a:lnTo>
                    <a:pt x="339" y="781"/>
                  </a:lnTo>
                  <a:lnTo>
                    <a:pt x="339" y="784"/>
                  </a:lnTo>
                  <a:lnTo>
                    <a:pt x="333" y="784"/>
                  </a:lnTo>
                  <a:lnTo>
                    <a:pt x="330" y="781"/>
                  </a:lnTo>
                  <a:lnTo>
                    <a:pt x="327" y="781"/>
                  </a:lnTo>
                  <a:lnTo>
                    <a:pt x="327" y="778"/>
                  </a:lnTo>
                  <a:lnTo>
                    <a:pt x="327" y="775"/>
                  </a:lnTo>
                  <a:lnTo>
                    <a:pt x="321" y="769"/>
                  </a:lnTo>
                  <a:lnTo>
                    <a:pt x="318" y="769"/>
                  </a:lnTo>
                  <a:lnTo>
                    <a:pt x="315" y="769"/>
                  </a:lnTo>
                  <a:lnTo>
                    <a:pt x="312" y="766"/>
                  </a:lnTo>
                  <a:lnTo>
                    <a:pt x="312" y="757"/>
                  </a:lnTo>
                  <a:lnTo>
                    <a:pt x="309" y="754"/>
                  </a:lnTo>
                  <a:lnTo>
                    <a:pt x="309" y="751"/>
                  </a:lnTo>
                  <a:lnTo>
                    <a:pt x="306" y="748"/>
                  </a:lnTo>
                  <a:lnTo>
                    <a:pt x="306" y="745"/>
                  </a:lnTo>
                  <a:lnTo>
                    <a:pt x="306" y="739"/>
                  </a:lnTo>
                  <a:lnTo>
                    <a:pt x="303" y="730"/>
                  </a:lnTo>
                  <a:lnTo>
                    <a:pt x="309" y="733"/>
                  </a:lnTo>
                  <a:lnTo>
                    <a:pt x="312" y="727"/>
                  </a:lnTo>
                  <a:lnTo>
                    <a:pt x="312" y="724"/>
                  </a:lnTo>
                  <a:lnTo>
                    <a:pt x="315" y="721"/>
                  </a:lnTo>
                  <a:lnTo>
                    <a:pt x="318" y="721"/>
                  </a:lnTo>
                  <a:lnTo>
                    <a:pt x="318" y="712"/>
                  </a:lnTo>
                  <a:lnTo>
                    <a:pt x="315" y="712"/>
                  </a:lnTo>
                  <a:lnTo>
                    <a:pt x="312" y="709"/>
                  </a:lnTo>
                  <a:lnTo>
                    <a:pt x="309" y="709"/>
                  </a:lnTo>
                  <a:lnTo>
                    <a:pt x="306" y="712"/>
                  </a:lnTo>
                  <a:lnTo>
                    <a:pt x="306" y="715"/>
                  </a:lnTo>
                  <a:lnTo>
                    <a:pt x="303" y="715"/>
                  </a:lnTo>
                  <a:lnTo>
                    <a:pt x="300" y="718"/>
                  </a:lnTo>
                  <a:lnTo>
                    <a:pt x="300" y="721"/>
                  </a:lnTo>
                  <a:lnTo>
                    <a:pt x="297" y="724"/>
                  </a:lnTo>
                  <a:lnTo>
                    <a:pt x="294" y="724"/>
                  </a:lnTo>
                  <a:lnTo>
                    <a:pt x="291" y="727"/>
                  </a:lnTo>
                  <a:lnTo>
                    <a:pt x="285" y="727"/>
                  </a:lnTo>
                  <a:lnTo>
                    <a:pt x="282" y="727"/>
                  </a:lnTo>
                  <a:lnTo>
                    <a:pt x="279" y="730"/>
                  </a:lnTo>
                  <a:lnTo>
                    <a:pt x="276" y="730"/>
                  </a:lnTo>
                  <a:lnTo>
                    <a:pt x="276" y="727"/>
                  </a:lnTo>
                  <a:lnTo>
                    <a:pt x="273" y="730"/>
                  </a:lnTo>
                  <a:lnTo>
                    <a:pt x="273" y="733"/>
                  </a:lnTo>
                  <a:lnTo>
                    <a:pt x="270" y="736"/>
                  </a:lnTo>
                  <a:lnTo>
                    <a:pt x="267" y="733"/>
                  </a:lnTo>
                  <a:lnTo>
                    <a:pt x="264" y="736"/>
                  </a:lnTo>
                  <a:lnTo>
                    <a:pt x="267" y="739"/>
                  </a:lnTo>
                  <a:lnTo>
                    <a:pt x="264" y="745"/>
                  </a:lnTo>
                  <a:lnTo>
                    <a:pt x="264" y="754"/>
                  </a:lnTo>
                  <a:lnTo>
                    <a:pt x="261" y="754"/>
                  </a:lnTo>
                  <a:lnTo>
                    <a:pt x="258" y="757"/>
                  </a:lnTo>
                  <a:lnTo>
                    <a:pt x="255" y="751"/>
                  </a:lnTo>
                  <a:lnTo>
                    <a:pt x="255" y="745"/>
                  </a:lnTo>
                  <a:lnTo>
                    <a:pt x="255" y="739"/>
                  </a:lnTo>
                  <a:lnTo>
                    <a:pt x="255" y="736"/>
                  </a:lnTo>
                  <a:lnTo>
                    <a:pt x="252" y="733"/>
                  </a:lnTo>
                  <a:lnTo>
                    <a:pt x="252" y="730"/>
                  </a:lnTo>
                  <a:lnTo>
                    <a:pt x="249" y="730"/>
                  </a:lnTo>
                  <a:lnTo>
                    <a:pt x="249" y="727"/>
                  </a:lnTo>
                  <a:lnTo>
                    <a:pt x="249" y="724"/>
                  </a:lnTo>
                  <a:lnTo>
                    <a:pt x="246" y="718"/>
                  </a:lnTo>
                  <a:lnTo>
                    <a:pt x="255" y="715"/>
                  </a:lnTo>
                  <a:lnTo>
                    <a:pt x="255" y="712"/>
                  </a:lnTo>
                  <a:lnTo>
                    <a:pt x="255" y="709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696"/>
                  </a:lnTo>
                  <a:lnTo>
                    <a:pt x="252" y="696"/>
                  </a:lnTo>
                  <a:lnTo>
                    <a:pt x="249" y="693"/>
                  </a:lnTo>
                  <a:lnTo>
                    <a:pt x="246" y="690"/>
                  </a:lnTo>
                  <a:lnTo>
                    <a:pt x="246" y="693"/>
                  </a:lnTo>
                  <a:lnTo>
                    <a:pt x="243" y="693"/>
                  </a:lnTo>
                  <a:lnTo>
                    <a:pt x="240" y="690"/>
                  </a:lnTo>
                  <a:lnTo>
                    <a:pt x="240" y="687"/>
                  </a:lnTo>
                  <a:lnTo>
                    <a:pt x="237" y="687"/>
                  </a:lnTo>
                  <a:lnTo>
                    <a:pt x="234" y="687"/>
                  </a:lnTo>
                  <a:lnTo>
                    <a:pt x="237" y="681"/>
                  </a:lnTo>
                  <a:lnTo>
                    <a:pt x="237" y="675"/>
                  </a:lnTo>
                  <a:lnTo>
                    <a:pt x="237" y="678"/>
                  </a:lnTo>
                  <a:lnTo>
                    <a:pt x="231" y="684"/>
                  </a:lnTo>
                  <a:lnTo>
                    <a:pt x="231" y="681"/>
                  </a:lnTo>
                  <a:lnTo>
                    <a:pt x="228" y="681"/>
                  </a:lnTo>
                  <a:lnTo>
                    <a:pt x="225" y="678"/>
                  </a:lnTo>
                  <a:lnTo>
                    <a:pt x="225" y="681"/>
                  </a:lnTo>
                  <a:lnTo>
                    <a:pt x="222" y="681"/>
                  </a:lnTo>
                  <a:lnTo>
                    <a:pt x="222" y="678"/>
                  </a:lnTo>
                  <a:lnTo>
                    <a:pt x="219" y="678"/>
                  </a:lnTo>
                  <a:lnTo>
                    <a:pt x="216" y="678"/>
                  </a:lnTo>
                  <a:lnTo>
                    <a:pt x="216" y="675"/>
                  </a:lnTo>
                  <a:lnTo>
                    <a:pt x="216" y="672"/>
                  </a:lnTo>
                  <a:lnTo>
                    <a:pt x="219" y="672"/>
                  </a:lnTo>
                  <a:lnTo>
                    <a:pt x="219" y="669"/>
                  </a:lnTo>
                  <a:lnTo>
                    <a:pt x="219" y="666"/>
                  </a:lnTo>
                  <a:lnTo>
                    <a:pt x="222" y="666"/>
                  </a:lnTo>
                  <a:lnTo>
                    <a:pt x="219" y="663"/>
                  </a:lnTo>
                  <a:lnTo>
                    <a:pt x="219" y="660"/>
                  </a:lnTo>
                  <a:lnTo>
                    <a:pt x="219" y="657"/>
                  </a:lnTo>
                  <a:lnTo>
                    <a:pt x="219" y="654"/>
                  </a:lnTo>
                  <a:lnTo>
                    <a:pt x="219" y="651"/>
                  </a:lnTo>
                  <a:lnTo>
                    <a:pt x="222" y="651"/>
                  </a:lnTo>
                  <a:lnTo>
                    <a:pt x="219" y="648"/>
                  </a:lnTo>
                  <a:lnTo>
                    <a:pt x="216" y="648"/>
                  </a:lnTo>
                  <a:lnTo>
                    <a:pt x="219" y="645"/>
                  </a:lnTo>
                  <a:lnTo>
                    <a:pt x="219" y="642"/>
                  </a:lnTo>
                  <a:lnTo>
                    <a:pt x="216" y="642"/>
                  </a:lnTo>
                  <a:lnTo>
                    <a:pt x="213" y="642"/>
                  </a:lnTo>
                  <a:lnTo>
                    <a:pt x="216" y="639"/>
                  </a:lnTo>
                  <a:lnTo>
                    <a:pt x="216" y="636"/>
                  </a:lnTo>
                  <a:lnTo>
                    <a:pt x="216" y="633"/>
                  </a:lnTo>
                  <a:lnTo>
                    <a:pt x="216" y="630"/>
                  </a:lnTo>
                  <a:lnTo>
                    <a:pt x="213" y="627"/>
                  </a:lnTo>
                  <a:lnTo>
                    <a:pt x="210" y="627"/>
                  </a:lnTo>
                  <a:lnTo>
                    <a:pt x="213" y="621"/>
                  </a:lnTo>
                  <a:lnTo>
                    <a:pt x="210" y="621"/>
                  </a:lnTo>
                  <a:lnTo>
                    <a:pt x="210" y="618"/>
                  </a:lnTo>
                  <a:lnTo>
                    <a:pt x="207" y="615"/>
                  </a:lnTo>
                  <a:lnTo>
                    <a:pt x="210" y="609"/>
                  </a:lnTo>
                  <a:lnTo>
                    <a:pt x="210" y="603"/>
                  </a:lnTo>
                  <a:lnTo>
                    <a:pt x="207" y="600"/>
                  </a:lnTo>
                  <a:lnTo>
                    <a:pt x="207" y="597"/>
                  </a:lnTo>
                  <a:lnTo>
                    <a:pt x="204" y="597"/>
                  </a:lnTo>
                  <a:lnTo>
                    <a:pt x="204" y="594"/>
                  </a:lnTo>
                  <a:lnTo>
                    <a:pt x="204" y="591"/>
                  </a:lnTo>
                  <a:lnTo>
                    <a:pt x="207" y="588"/>
                  </a:lnTo>
                  <a:lnTo>
                    <a:pt x="213" y="585"/>
                  </a:lnTo>
                  <a:lnTo>
                    <a:pt x="207" y="582"/>
                  </a:lnTo>
                  <a:lnTo>
                    <a:pt x="204" y="579"/>
                  </a:lnTo>
                  <a:lnTo>
                    <a:pt x="210" y="579"/>
                  </a:lnTo>
                  <a:lnTo>
                    <a:pt x="210" y="573"/>
                  </a:lnTo>
                  <a:lnTo>
                    <a:pt x="210" y="567"/>
                  </a:lnTo>
                  <a:lnTo>
                    <a:pt x="201" y="564"/>
                  </a:lnTo>
                  <a:lnTo>
                    <a:pt x="195" y="558"/>
                  </a:lnTo>
                  <a:lnTo>
                    <a:pt x="195" y="555"/>
                  </a:lnTo>
                  <a:lnTo>
                    <a:pt x="192" y="549"/>
                  </a:lnTo>
                  <a:lnTo>
                    <a:pt x="189" y="549"/>
                  </a:lnTo>
                  <a:lnTo>
                    <a:pt x="183" y="549"/>
                  </a:lnTo>
                  <a:lnTo>
                    <a:pt x="183" y="546"/>
                  </a:lnTo>
                  <a:lnTo>
                    <a:pt x="183" y="543"/>
                  </a:lnTo>
                  <a:lnTo>
                    <a:pt x="180" y="540"/>
                  </a:lnTo>
                  <a:lnTo>
                    <a:pt x="177" y="534"/>
                  </a:lnTo>
                  <a:lnTo>
                    <a:pt x="171" y="537"/>
                  </a:lnTo>
                  <a:lnTo>
                    <a:pt x="171" y="540"/>
                  </a:lnTo>
                  <a:lnTo>
                    <a:pt x="171" y="543"/>
                  </a:lnTo>
                  <a:lnTo>
                    <a:pt x="168" y="543"/>
                  </a:lnTo>
                  <a:lnTo>
                    <a:pt x="165" y="543"/>
                  </a:lnTo>
                  <a:lnTo>
                    <a:pt x="165" y="546"/>
                  </a:lnTo>
                  <a:lnTo>
                    <a:pt x="159" y="552"/>
                  </a:lnTo>
                  <a:lnTo>
                    <a:pt x="159" y="558"/>
                  </a:lnTo>
                  <a:lnTo>
                    <a:pt x="156" y="567"/>
                  </a:lnTo>
                  <a:lnTo>
                    <a:pt x="153" y="570"/>
                  </a:lnTo>
                  <a:lnTo>
                    <a:pt x="150" y="573"/>
                  </a:lnTo>
                  <a:lnTo>
                    <a:pt x="147" y="573"/>
                  </a:lnTo>
                  <a:lnTo>
                    <a:pt x="144" y="576"/>
                  </a:lnTo>
                  <a:lnTo>
                    <a:pt x="138" y="570"/>
                  </a:lnTo>
                  <a:lnTo>
                    <a:pt x="135" y="570"/>
                  </a:lnTo>
                  <a:lnTo>
                    <a:pt x="129" y="570"/>
                  </a:lnTo>
                  <a:lnTo>
                    <a:pt x="129" y="573"/>
                  </a:lnTo>
                  <a:lnTo>
                    <a:pt x="129" y="582"/>
                  </a:lnTo>
                  <a:lnTo>
                    <a:pt x="126" y="582"/>
                  </a:lnTo>
                  <a:lnTo>
                    <a:pt x="123" y="582"/>
                  </a:lnTo>
                  <a:lnTo>
                    <a:pt x="123" y="585"/>
                  </a:lnTo>
                  <a:lnTo>
                    <a:pt x="120" y="585"/>
                  </a:lnTo>
                  <a:lnTo>
                    <a:pt x="120" y="588"/>
                  </a:lnTo>
                  <a:lnTo>
                    <a:pt x="123" y="591"/>
                  </a:lnTo>
                  <a:lnTo>
                    <a:pt x="120" y="594"/>
                  </a:lnTo>
                  <a:lnTo>
                    <a:pt x="114" y="600"/>
                  </a:lnTo>
                  <a:lnTo>
                    <a:pt x="114" y="609"/>
                  </a:lnTo>
                  <a:lnTo>
                    <a:pt x="108" y="606"/>
                  </a:lnTo>
                  <a:lnTo>
                    <a:pt x="108" y="603"/>
                  </a:lnTo>
                  <a:lnTo>
                    <a:pt x="108" y="600"/>
                  </a:lnTo>
                  <a:lnTo>
                    <a:pt x="105" y="600"/>
                  </a:lnTo>
                  <a:lnTo>
                    <a:pt x="105" y="597"/>
                  </a:lnTo>
                  <a:lnTo>
                    <a:pt x="105" y="594"/>
                  </a:lnTo>
                  <a:lnTo>
                    <a:pt x="102" y="594"/>
                  </a:lnTo>
                  <a:lnTo>
                    <a:pt x="102" y="591"/>
                  </a:lnTo>
                  <a:lnTo>
                    <a:pt x="102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96" y="585"/>
                  </a:lnTo>
                  <a:lnTo>
                    <a:pt x="96" y="582"/>
                  </a:lnTo>
                  <a:lnTo>
                    <a:pt x="93" y="576"/>
                  </a:lnTo>
                  <a:lnTo>
                    <a:pt x="93" y="573"/>
                  </a:lnTo>
                  <a:lnTo>
                    <a:pt x="90" y="570"/>
                  </a:lnTo>
                  <a:lnTo>
                    <a:pt x="90" y="567"/>
                  </a:lnTo>
                  <a:lnTo>
                    <a:pt x="90" y="564"/>
                  </a:lnTo>
                  <a:lnTo>
                    <a:pt x="87" y="561"/>
                  </a:lnTo>
                  <a:lnTo>
                    <a:pt x="84" y="561"/>
                  </a:lnTo>
                  <a:lnTo>
                    <a:pt x="84" y="558"/>
                  </a:lnTo>
                  <a:lnTo>
                    <a:pt x="84" y="555"/>
                  </a:lnTo>
                  <a:lnTo>
                    <a:pt x="81" y="555"/>
                  </a:lnTo>
                  <a:lnTo>
                    <a:pt x="81" y="552"/>
                  </a:lnTo>
                  <a:lnTo>
                    <a:pt x="81" y="549"/>
                  </a:lnTo>
                  <a:lnTo>
                    <a:pt x="78" y="546"/>
                  </a:lnTo>
                  <a:lnTo>
                    <a:pt x="78" y="543"/>
                  </a:lnTo>
                  <a:lnTo>
                    <a:pt x="75" y="540"/>
                  </a:lnTo>
                  <a:lnTo>
                    <a:pt x="75" y="537"/>
                  </a:lnTo>
                  <a:lnTo>
                    <a:pt x="72" y="534"/>
                  </a:lnTo>
                  <a:lnTo>
                    <a:pt x="72" y="531"/>
                  </a:lnTo>
                  <a:lnTo>
                    <a:pt x="69" y="528"/>
                  </a:lnTo>
                  <a:lnTo>
                    <a:pt x="69" y="525"/>
                  </a:lnTo>
                  <a:lnTo>
                    <a:pt x="66" y="522"/>
                  </a:lnTo>
                  <a:lnTo>
                    <a:pt x="66" y="519"/>
                  </a:lnTo>
                  <a:lnTo>
                    <a:pt x="66" y="516"/>
                  </a:lnTo>
                  <a:lnTo>
                    <a:pt x="66" y="513"/>
                  </a:lnTo>
                  <a:lnTo>
                    <a:pt x="63" y="513"/>
                  </a:lnTo>
                  <a:lnTo>
                    <a:pt x="63" y="510"/>
                  </a:lnTo>
                  <a:lnTo>
                    <a:pt x="63" y="507"/>
                  </a:lnTo>
                  <a:lnTo>
                    <a:pt x="60" y="507"/>
                  </a:lnTo>
                  <a:lnTo>
                    <a:pt x="60" y="504"/>
                  </a:lnTo>
                  <a:lnTo>
                    <a:pt x="60" y="501"/>
                  </a:lnTo>
                  <a:lnTo>
                    <a:pt x="60" y="498"/>
                  </a:lnTo>
                  <a:lnTo>
                    <a:pt x="60" y="495"/>
                  </a:lnTo>
                  <a:lnTo>
                    <a:pt x="57" y="495"/>
                  </a:lnTo>
                  <a:lnTo>
                    <a:pt x="57" y="492"/>
                  </a:lnTo>
                  <a:lnTo>
                    <a:pt x="60" y="492"/>
                  </a:lnTo>
                  <a:lnTo>
                    <a:pt x="57" y="489"/>
                  </a:lnTo>
                  <a:lnTo>
                    <a:pt x="57" y="486"/>
                  </a:lnTo>
                  <a:lnTo>
                    <a:pt x="54" y="486"/>
                  </a:lnTo>
                  <a:lnTo>
                    <a:pt x="54" y="483"/>
                  </a:lnTo>
                  <a:lnTo>
                    <a:pt x="54" y="480"/>
                  </a:lnTo>
                  <a:lnTo>
                    <a:pt x="54" y="477"/>
                  </a:lnTo>
                  <a:lnTo>
                    <a:pt x="51" y="477"/>
                  </a:lnTo>
                  <a:lnTo>
                    <a:pt x="51" y="474"/>
                  </a:lnTo>
                  <a:lnTo>
                    <a:pt x="51" y="471"/>
                  </a:lnTo>
                  <a:lnTo>
                    <a:pt x="51" y="468"/>
                  </a:lnTo>
                  <a:lnTo>
                    <a:pt x="51" y="465"/>
                  </a:lnTo>
                  <a:lnTo>
                    <a:pt x="51" y="462"/>
                  </a:lnTo>
                  <a:lnTo>
                    <a:pt x="48" y="462"/>
                  </a:lnTo>
                  <a:lnTo>
                    <a:pt x="48" y="459"/>
                  </a:lnTo>
                  <a:lnTo>
                    <a:pt x="48" y="456"/>
                  </a:lnTo>
                  <a:lnTo>
                    <a:pt x="45" y="453"/>
                  </a:lnTo>
                  <a:lnTo>
                    <a:pt x="45" y="450"/>
                  </a:lnTo>
                  <a:lnTo>
                    <a:pt x="45" y="447"/>
                  </a:lnTo>
                  <a:lnTo>
                    <a:pt x="45" y="444"/>
                  </a:lnTo>
                  <a:lnTo>
                    <a:pt x="42" y="441"/>
                  </a:lnTo>
                  <a:lnTo>
                    <a:pt x="42" y="438"/>
                  </a:lnTo>
                  <a:lnTo>
                    <a:pt x="42" y="435"/>
                  </a:lnTo>
                  <a:lnTo>
                    <a:pt x="39" y="432"/>
                  </a:lnTo>
                  <a:lnTo>
                    <a:pt x="39" y="429"/>
                  </a:lnTo>
                  <a:lnTo>
                    <a:pt x="36" y="429"/>
                  </a:lnTo>
                  <a:lnTo>
                    <a:pt x="36" y="426"/>
                  </a:lnTo>
                  <a:lnTo>
                    <a:pt x="36" y="423"/>
                  </a:lnTo>
                  <a:lnTo>
                    <a:pt x="33" y="420"/>
                  </a:lnTo>
                  <a:lnTo>
                    <a:pt x="33" y="417"/>
                  </a:lnTo>
                  <a:lnTo>
                    <a:pt x="33" y="414"/>
                  </a:lnTo>
                  <a:lnTo>
                    <a:pt x="30" y="411"/>
                  </a:lnTo>
                  <a:lnTo>
                    <a:pt x="30" y="408"/>
                  </a:lnTo>
                  <a:lnTo>
                    <a:pt x="30" y="405"/>
                  </a:lnTo>
                  <a:lnTo>
                    <a:pt x="27" y="405"/>
                  </a:lnTo>
                  <a:lnTo>
                    <a:pt x="27" y="402"/>
                  </a:lnTo>
                  <a:lnTo>
                    <a:pt x="24" y="402"/>
                  </a:lnTo>
                  <a:lnTo>
                    <a:pt x="24" y="399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18" y="390"/>
                  </a:lnTo>
                  <a:lnTo>
                    <a:pt x="18" y="387"/>
                  </a:lnTo>
                  <a:lnTo>
                    <a:pt x="15" y="387"/>
                  </a:lnTo>
                  <a:lnTo>
                    <a:pt x="12" y="387"/>
                  </a:lnTo>
                  <a:lnTo>
                    <a:pt x="12" y="384"/>
                  </a:lnTo>
                  <a:lnTo>
                    <a:pt x="12" y="381"/>
                  </a:lnTo>
                  <a:lnTo>
                    <a:pt x="12" y="378"/>
                  </a:lnTo>
                  <a:lnTo>
                    <a:pt x="9" y="378"/>
                  </a:lnTo>
                  <a:lnTo>
                    <a:pt x="9" y="375"/>
                  </a:lnTo>
                  <a:lnTo>
                    <a:pt x="9" y="372"/>
                  </a:lnTo>
                  <a:lnTo>
                    <a:pt x="9" y="369"/>
                  </a:lnTo>
                  <a:lnTo>
                    <a:pt x="6" y="369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0" y="363"/>
                  </a:lnTo>
                  <a:lnTo>
                    <a:pt x="0" y="360"/>
                  </a:lnTo>
                  <a:lnTo>
                    <a:pt x="0" y="357"/>
                  </a:lnTo>
                  <a:lnTo>
                    <a:pt x="3" y="357"/>
                  </a:lnTo>
                  <a:lnTo>
                    <a:pt x="3" y="354"/>
                  </a:lnTo>
                  <a:lnTo>
                    <a:pt x="6" y="354"/>
                  </a:lnTo>
                  <a:lnTo>
                    <a:pt x="9" y="354"/>
                  </a:lnTo>
                  <a:lnTo>
                    <a:pt x="12" y="354"/>
                  </a:lnTo>
                  <a:lnTo>
                    <a:pt x="12" y="351"/>
                  </a:lnTo>
                  <a:lnTo>
                    <a:pt x="15" y="351"/>
                  </a:lnTo>
                  <a:lnTo>
                    <a:pt x="15" y="348"/>
                  </a:lnTo>
                  <a:lnTo>
                    <a:pt x="18" y="348"/>
                  </a:lnTo>
                  <a:lnTo>
                    <a:pt x="21" y="348"/>
                  </a:lnTo>
                  <a:lnTo>
                    <a:pt x="24" y="348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27" y="342"/>
                  </a:lnTo>
                  <a:lnTo>
                    <a:pt x="27" y="339"/>
                  </a:lnTo>
                  <a:lnTo>
                    <a:pt x="30" y="336"/>
                  </a:lnTo>
                  <a:lnTo>
                    <a:pt x="27" y="336"/>
                  </a:lnTo>
                  <a:lnTo>
                    <a:pt x="27" y="333"/>
                  </a:lnTo>
                  <a:lnTo>
                    <a:pt x="24" y="330"/>
                  </a:lnTo>
                  <a:lnTo>
                    <a:pt x="24" y="327"/>
                  </a:lnTo>
                  <a:lnTo>
                    <a:pt x="27" y="327"/>
                  </a:lnTo>
                  <a:lnTo>
                    <a:pt x="30" y="327"/>
                  </a:lnTo>
                  <a:lnTo>
                    <a:pt x="30" y="324"/>
                  </a:lnTo>
                  <a:lnTo>
                    <a:pt x="30" y="321"/>
                  </a:lnTo>
                  <a:lnTo>
                    <a:pt x="30" y="324"/>
                  </a:lnTo>
                  <a:lnTo>
                    <a:pt x="33" y="324"/>
                  </a:lnTo>
                  <a:lnTo>
                    <a:pt x="33" y="321"/>
                  </a:lnTo>
                  <a:lnTo>
                    <a:pt x="30" y="318"/>
                  </a:lnTo>
                  <a:lnTo>
                    <a:pt x="33" y="318"/>
                  </a:lnTo>
                  <a:lnTo>
                    <a:pt x="36" y="318"/>
                  </a:lnTo>
                  <a:lnTo>
                    <a:pt x="36" y="315"/>
                  </a:lnTo>
                  <a:lnTo>
                    <a:pt x="36" y="312"/>
                  </a:lnTo>
                  <a:lnTo>
                    <a:pt x="36" y="309"/>
                  </a:lnTo>
                  <a:lnTo>
                    <a:pt x="39" y="309"/>
                  </a:lnTo>
                  <a:lnTo>
                    <a:pt x="42" y="309"/>
                  </a:lnTo>
                  <a:lnTo>
                    <a:pt x="45" y="309"/>
                  </a:lnTo>
                  <a:lnTo>
                    <a:pt x="48" y="309"/>
                  </a:lnTo>
                  <a:lnTo>
                    <a:pt x="48" y="306"/>
                  </a:lnTo>
                  <a:lnTo>
                    <a:pt x="51" y="306"/>
                  </a:lnTo>
                  <a:lnTo>
                    <a:pt x="54" y="306"/>
                  </a:lnTo>
                  <a:lnTo>
                    <a:pt x="54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60" y="312"/>
                  </a:lnTo>
                  <a:lnTo>
                    <a:pt x="63" y="312"/>
                  </a:lnTo>
                  <a:lnTo>
                    <a:pt x="63" y="315"/>
                  </a:lnTo>
                  <a:lnTo>
                    <a:pt x="60" y="318"/>
                  </a:lnTo>
                  <a:lnTo>
                    <a:pt x="60" y="321"/>
                  </a:lnTo>
                  <a:lnTo>
                    <a:pt x="60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6" y="327"/>
                  </a:lnTo>
                  <a:lnTo>
                    <a:pt x="66" y="324"/>
                  </a:lnTo>
                  <a:lnTo>
                    <a:pt x="69" y="324"/>
                  </a:lnTo>
                  <a:lnTo>
                    <a:pt x="72" y="324"/>
                  </a:lnTo>
                  <a:lnTo>
                    <a:pt x="75" y="324"/>
                  </a:lnTo>
                  <a:lnTo>
                    <a:pt x="75" y="327"/>
                  </a:lnTo>
                  <a:lnTo>
                    <a:pt x="75" y="330"/>
                  </a:lnTo>
                  <a:lnTo>
                    <a:pt x="78" y="330"/>
                  </a:lnTo>
                  <a:lnTo>
                    <a:pt x="78" y="333"/>
                  </a:lnTo>
                  <a:lnTo>
                    <a:pt x="78" y="336"/>
                  </a:lnTo>
                  <a:lnTo>
                    <a:pt x="81" y="336"/>
                  </a:lnTo>
                  <a:lnTo>
                    <a:pt x="81" y="339"/>
                  </a:lnTo>
                  <a:lnTo>
                    <a:pt x="78" y="339"/>
                  </a:lnTo>
                  <a:lnTo>
                    <a:pt x="78" y="342"/>
                  </a:lnTo>
                  <a:lnTo>
                    <a:pt x="75" y="345"/>
                  </a:lnTo>
                  <a:lnTo>
                    <a:pt x="72" y="348"/>
                  </a:lnTo>
                  <a:lnTo>
                    <a:pt x="75" y="351"/>
                  </a:lnTo>
                  <a:lnTo>
                    <a:pt x="78" y="354"/>
                  </a:lnTo>
                  <a:lnTo>
                    <a:pt x="78" y="357"/>
                  </a:lnTo>
                  <a:lnTo>
                    <a:pt x="81" y="357"/>
                  </a:lnTo>
                  <a:lnTo>
                    <a:pt x="81" y="360"/>
                  </a:lnTo>
                  <a:lnTo>
                    <a:pt x="81" y="363"/>
                  </a:lnTo>
                  <a:lnTo>
                    <a:pt x="81" y="366"/>
                  </a:lnTo>
                  <a:lnTo>
                    <a:pt x="81" y="369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84" y="369"/>
                  </a:lnTo>
                  <a:lnTo>
                    <a:pt x="87" y="369"/>
                  </a:lnTo>
                  <a:lnTo>
                    <a:pt x="90" y="369"/>
                  </a:lnTo>
                  <a:lnTo>
                    <a:pt x="93" y="366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72"/>
                  </a:lnTo>
                  <a:lnTo>
                    <a:pt x="96" y="375"/>
                  </a:lnTo>
                  <a:lnTo>
                    <a:pt x="99" y="375"/>
                  </a:lnTo>
                  <a:lnTo>
                    <a:pt x="102" y="375"/>
                  </a:lnTo>
                  <a:lnTo>
                    <a:pt x="105" y="372"/>
                  </a:lnTo>
                  <a:lnTo>
                    <a:pt x="105" y="375"/>
                  </a:lnTo>
                  <a:lnTo>
                    <a:pt x="108" y="375"/>
                  </a:lnTo>
                  <a:lnTo>
                    <a:pt x="108" y="372"/>
                  </a:lnTo>
                  <a:lnTo>
                    <a:pt x="111" y="375"/>
                  </a:lnTo>
                  <a:lnTo>
                    <a:pt x="114" y="375"/>
                  </a:lnTo>
                  <a:lnTo>
                    <a:pt x="117" y="375"/>
                  </a:lnTo>
                  <a:lnTo>
                    <a:pt x="120" y="375"/>
                  </a:lnTo>
                  <a:lnTo>
                    <a:pt x="123" y="375"/>
                  </a:lnTo>
                  <a:lnTo>
                    <a:pt x="123" y="378"/>
                  </a:lnTo>
                  <a:lnTo>
                    <a:pt x="126" y="378"/>
                  </a:lnTo>
                  <a:lnTo>
                    <a:pt x="129" y="378"/>
                  </a:lnTo>
                  <a:lnTo>
                    <a:pt x="129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5" y="387"/>
                  </a:lnTo>
                  <a:lnTo>
                    <a:pt x="135" y="384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41" y="387"/>
                  </a:lnTo>
                  <a:lnTo>
                    <a:pt x="144" y="387"/>
                  </a:lnTo>
                  <a:lnTo>
                    <a:pt x="144" y="390"/>
                  </a:lnTo>
                  <a:lnTo>
                    <a:pt x="147" y="390"/>
                  </a:lnTo>
                  <a:lnTo>
                    <a:pt x="147" y="387"/>
                  </a:lnTo>
                  <a:lnTo>
                    <a:pt x="150" y="387"/>
                  </a:lnTo>
                  <a:lnTo>
                    <a:pt x="153" y="387"/>
                  </a:lnTo>
                  <a:lnTo>
                    <a:pt x="156" y="387"/>
                  </a:lnTo>
                  <a:lnTo>
                    <a:pt x="159" y="387"/>
                  </a:lnTo>
                  <a:lnTo>
                    <a:pt x="162" y="387"/>
                  </a:lnTo>
                  <a:lnTo>
                    <a:pt x="165" y="387"/>
                  </a:lnTo>
                  <a:lnTo>
                    <a:pt x="168" y="387"/>
                  </a:lnTo>
                  <a:lnTo>
                    <a:pt x="171" y="387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7" y="384"/>
                  </a:lnTo>
                  <a:lnTo>
                    <a:pt x="180" y="384"/>
                  </a:lnTo>
                  <a:lnTo>
                    <a:pt x="183" y="384"/>
                  </a:lnTo>
                  <a:lnTo>
                    <a:pt x="186" y="384"/>
                  </a:lnTo>
                  <a:lnTo>
                    <a:pt x="189" y="381"/>
                  </a:lnTo>
                  <a:lnTo>
                    <a:pt x="192" y="381"/>
                  </a:lnTo>
                  <a:lnTo>
                    <a:pt x="195" y="384"/>
                  </a:lnTo>
                  <a:lnTo>
                    <a:pt x="198" y="384"/>
                  </a:lnTo>
                  <a:lnTo>
                    <a:pt x="201" y="384"/>
                  </a:lnTo>
                  <a:lnTo>
                    <a:pt x="204" y="384"/>
                  </a:lnTo>
                  <a:lnTo>
                    <a:pt x="207" y="384"/>
                  </a:lnTo>
                  <a:lnTo>
                    <a:pt x="210" y="384"/>
                  </a:lnTo>
                  <a:lnTo>
                    <a:pt x="210" y="387"/>
                  </a:lnTo>
                  <a:lnTo>
                    <a:pt x="213" y="387"/>
                  </a:lnTo>
                  <a:lnTo>
                    <a:pt x="213" y="390"/>
                  </a:lnTo>
                  <a:lnTo>
                    <a:pt x="216" y="390"/>
                  </a:lnTo>
                  <a:lnTo>
                    <a:pt x="216" y="393"/>
                  </a:lnTo>
                  <a:lnTo>
                    <a:pt x="219" y="393"/>
                  </a:lnTo>
                  <a:lnTo>
                    <a:pt x="222" y="393"/>
                  </a:lnTo>
                  <a:lnTo>
                    <a:pt x="222" y="396"/>
                  </a:lnTo>
                  <a:lnTo>
                    <a:pt x="225" y="396"/>
                  </a:lnTo>
                  <a:lnTo>
                    <a:pt x="225" y="393"/>
                  </a:lnTo>
                  <a:lnTo>
                    <a:pt x="228" y="393"/>
                  </a:lnTo>
                  <a:lnTo>
                    <a:pt x="231" y="393"/>
                  </a:lnTo>
                  <a:lnTo>
                    <a:pt x="231" y="390"/>
                  </a:lnTo>
                  <a:lnTo>
                    <a:pt x="234" y="390"/>
                  </a:lnTo>
                  <a:lnTo>
                    <a:pt x="237" y="390"/>
                  </a:lnTo>
                  <a:lnTo>
                    <a:pt x="237" y="387"/>
                  </a:lnTo>
                  <a:lnTo>
                    <a:pt x="234" y="384"/>
                  </a:lnTo>
                  <a:lnTo>
                    <a:pt x="234" y="381"/>
                  </a:lnTo>
                  <a:lnTo>
                    <a:pt x="234" y="378"/>
                  </a:lnTo>
                  <a:lnTo>
                    <a:pt x="234" y="375"/>
                  </a:lnTo>
                  <a:lnTo>
                    <a:pt x="237" y="372"/>
                  </a:lnTo>
                  <a:lnTo>
                    <a:pt x="240" y="372"/>
                  </a:lnTo>
                  <a:lnTo>
                    <a:pt x="243" y="372"/>
                  </a:lnTo>
                  <a:lnTo>
                    <a:pt x="243" y="375"/>
                  </a:lnTo>
                  <a:lnTo>
                    <a:pt x="243" y="372"/>
                  </a:lnTo>
                  <a:lnTo>
                    <a:pt x="246" y="372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52" y="369"/>
                  </a:lnTo>
                  <a:lnTo>
                    <a:pt x="255" y="369"/>
                  </a:lnTo>
                  <a:lnTo>
                    <a:pt x="255" y="366"/>
                  </a:lnTo>
                  <a:lnTo>
                    <a:pt x="255" y="363"/>
                  </a:lnTo>
                  <a:lnTo>
                    <a:pt x="255" y="360"/>
                  </a:lnTo>
                  <a:lnTo>
                    <a:pt x="258" y="360"/>
                  </a:lnTo>
                  <a:lnTo>
                    <a:pt x="258" y="357"/>
                  </a:lnTo>
                  <a:lnTo>
                    <a:pt x="258" y="354"/>
                  </a:lnTo>
                  <a:lnTo>
                    <a:pt x="261" y="354"/>
                  </a:lnTo>
                  <a:lnTo>
                    <a:pt x="261" y="351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70" y="354"/>
                  </a:lnTo>
                  <a:lnTo>
                    <a:pt x="270" y="351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6" y="348"/>
                  </a:lnTo>
                  <a:lnTo>
                    <a:pt x="276" y="351"/>
                  </a:lnTo>
                  <a:lnTo>
                    <a:pt x="279" y="351"/>
                  </a:lnTo>
                  <a:lnTo>
                    <a:pt x="282" y="351"/>
                  </a:lnTo>
                  <a:lnTo>
                    <a:pt x="282" y="348"/>
                  </a:lnTo>
                  <a:lnTo>
                    <a:pt x="285" y="345"/>
                  </a:lnTo>
                  <a:lnTo>
                    <a:pt x="288" y="345"/>
                  </a:lnTo>
                  <a:lnTo>
                    <a:pt x="291" y="345"/>
                  </a:lnTo>
                  <a:lnTo>
                    <a:pt x="294" y="345"/>
                  </a:lnTo>
                  <a:lnTo>
                    <a:pt x="294" y="342"/>
                  </a:lnTo>
                  <a:lnTo>
                    <a:pt x="297" y="342"/>
                  </a:lnTo>
                  <a:lnTo>
                    <a:pt x="297" y="0"/>
                  </a:lnTo>
                  <a:lnTo>
                    <a:pt x="300" y="3"/>
                  </a:lnTo>
                  <a:lnTo>
                    <a:pt x="300" y="6"/>
                  </a:lnTo>
                  <a:lnTo>
                    <a:pt x="303" y="6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2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4" y="21"/>
                  </a:lnTo>
                  <a:lnTo>
                    <a:pt x="324" y="24"/>
                  </a:lnTo>
                  <a:lnTo>
                    <a:pt x="327" y="24"/>
                  </a:lnTo>
                  <a:lnTo>
                    <a:pt x="330" y="24"/>
                  </a:lnTo>
                  <a:lnTo>
                    <a:pt x="330" y="27"/>
                  </a:lnTo>
                  <a:lnTo>
                    <a:pt x="330" y="30"/>
                  </a:lnTo>
                  <a:lnTo>
                    <a:pt x="333" y="30"/>
                  </a:lnTo>
                  <a:lnTo>
                    <a:pt x="333" y="33"/>
                  </a:lnTo>
                  <a:lnTo>
                    <a:pt x="333" y="36"/>
                  </a:lnTo>
                  <a:lnTo>
                    <a:pt x="336" y="36"/>
                  </a:lnTo>
                  <a:lnTo>
                    <a:pt x="336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6" y="42"/>
                  </a:lnTo>
                  <a:lnTo>
                    <a:pt x="339" y="42"/>
                  </a:lnTo>
                  <a:lnTo>
                    <a:pt x="339" y="45"/>
                  </a:lnTo>
                  <a:lnTo>
                    <a:pt x="339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42" y="51"/>
                  </a:lnTo>
                </a:path>
              </a:pathLst>
            </a:custGeom>
            <a:solidFill>
              <a:srgbClr val="FF0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96" name="Freeform 32">
              <a:extLst>
                <a:ext uri="{FF2B5EF4-FFF2-40B4-BE49-F238E27FC236}">
                  <a16:creationId xmlns:a16="http://schemas.microsoft.com/office/drawing/2014/main" id="{D2C36E72-29BC-4F96-BD43-3CDA717620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21063" y="2778125"/>
              <a:ext cx="347662" cy="288925"/>
            </a:xfrm>
            <a:custGeom>
              <a:avLst/>
              <a:gdLst>
                <a:gd name="T0" fmla="*/ 0 w 177"/>
                <a:gd name="T1" fmla="*/ 11793 h 147"/>
                <a:gd name="T2" fmla="*/ 5893 w 177"/>
                <a:gd name="T3" fmla="*/ 11793 h 147"/>
                <a:gd name="T4" fmla="*/ 11785 w 177"/>
                <a:gd name="T5" fmla="*/ 23586 h 147"/>
                <a:gd name="T6" fmla="*/ 11785 w 177"/>
                <a:gd name="T7" fmla="*/ 23586 h 147"/>
                <a:gd name="T8" fmla="*/ 17678 w 177"/>
                <a:gd name="T9" fmla="*/ 23586 h 147"/>
                <a:gd name="T10" fmla="*/ 17678 w 177"/>
                <a:gd name="T11" fmla="*/ 29482 h 147"/>
                <a:gd name="T12" fmla="*/ 23570 w 177"/>
                <a:gd name="T13" fmla="*/ 41275 h 147"/>
                <a:gd name="T14" fmla="*/ 23570 w 177"/>
                <a:gd name="T15" fmla="*/ 53068 h 147"/>
                <a:gd name="T16" fmla="*/ 23570 w 177"/>
                <a:gd name="T17" fmla="*/ 58964 h 147"/>
                <a:gd name="T18" fmla="*/ 29463 w 177"/>
                <a:gd name="T19" fmla="*/ 70757 h 147"/>
                <a:gd name="T20" fmla="*/ 35355 w 177"/>
                <a:gd name="T21" fmla="*/ 82550 h 147"/>
                <a:gd name="T22" fmla="*/ 41248 w 177"/>
                <a:gd name="T23" fmla="*/ 88446 h 147"/>
                <a:gd name="T24" fmla="*/ 47141 w 177"/>
                <a:gd name="T25" fmla="*/ 100239 h 147"/>
                <a:gd name="T26" fmla="*/ 41248 w 177"/>
                <a:gd name="T27" fmla="*/ 112032 h 147"/>
                <a:gd name="T28" fmla="*/ 47141 w 177"/>
                <a:gd name="T29" fmla="*/ 123825 h 147"/>
                <a:gd name="T30" fmla="*/ 47141 w 177"/>
                <a:gd name="T31" fmla="*/ 141514 h 147"/>
                <a:gd name="T32" fmla="*/ 53033 w 177"/>
                <a:gd name="T33" fmla="*/ 153307 h 147"/>
                <a:gd name="T34" fmla="*/ 47141 w 177"/>
                <a:gd name="T35" fmla="*/ 165100 h 147"/>
                <a:gd name="T36" fmla="*/ 35355 w 177"/>
                <a:gd name="T37" fmla="*/ 176893 h 147"/>
                <a:gd name="T38" fmla="*/ 29463 w 177"/>
                <a:gd name="T39" fmla="*/ 188686 h 147"/>
                <a:gd name="T40" fmla="*/ 23570 w 177"/>
                <a:gd name="T41" fmla="*/ 200479 h 147"/>
                <a:gd name="T42" fmla="*/ 11785 w 177"/>
                <a:gd name="T43" fmla="*/ 212271 h 147"/>
                <a:gd name="T44" fmla="*/ 11785 w 177"/>
                <a:gd name="T45" fmla="*/ 229961 h 147"/>
                <a:gd name="T46" fmla="*/ 17678 w 177"/>
                <a:gd name="T47" fmla="*/ 241754 h 147"/>
                <a:gd name="T48" fmla="*/ 11785 w 177"/>
                <a:gd name="T49" fmla="*/ 253546 h 147"/>
                <a:gd name="T50" fmla="*/ 11785 w 177"/>
                <a:gd name="T51" fmla="*/ 265339 h 147"/>
                <a:gd name="T52" fmla="*/ 23570 w 177"/>
                <a:gd name="T53" fmla="*/ 277132 h 147"/>
                <a:gd name="T54" fmla="*/ 29463 w 177"/>
                <a:gd name="T55" fmla="*/ 288925 h 147"/>
                <a:gd name="T56" fmla="*/ 41248 w 177"/>
                <a:gd name="T57" fmla="*/ 283029 h 147"/>
                <a:gd name="T58" fmla="*/ 47141 w 177"/>
                <a:gd name="T59" fmla="*/ 271236 h 147"/>
                <a:gd name="T60" fmla="*/ 64818 w 177"/>
                <a:gd name="T61" fmla="*/ 271236 h 147"/>
                <a:gd name="T62" fmla="*/ 82496 w 177"/>
                <a:gd name="T63" fmla="*/ 277132 h 147"/>
                <a:gd name="T64" fmla="*/ 94281 w 177"/>
                <a:gd name="T65" fmla="*/ 283029 h 147"/>
                <a:gd name="T66" fmla="*/ 111959 w 177"/>
                <a:gd name="T67" fmla="*/ 277132 h 147"/>
                <a:gd name="T68" fmla="*/ 129637 w 177"/>
                <a:gd name="T69" fmla="*/ 277132 h 147"/>
                <a:gd name="T70" fmla="*/ 147314 w 177"/>
                <a:gd name="T71" fmla="*/ 277132 h 147"/>
                <a:gd name="T72" fmla="*/ 159100 w 177"/>
                <a:gd name="T73" fmla="*/ 283029 h 147"/>
                <a:gd name="T74" fmla="*/ 170885 w 177"/>
                <a:gd name="T75" fmla="*/ 277132 h 147"/>
                <a:gd name="T76" fmla="*/ 182670 w 177"/>
                <a:gd name="T77" fmla="*/ 283029 h 147"/>
                <a:gd name="T78" fmla="*/ 194455 w 177"/>
                <a:gd name="T79" fmla="*/ 277132 h 147"/>
                <a:gd name="T80" fmla="*/ 206240 w 177"/>
                <a:gd name="T81" fmla="*/ 271236 h 147"/>
                <a:gd name="T82" fmla="*/ 206240 w 177"/>
                <a:gd name="T83" fmla="*/ 253546 h 147"/>
                <a:gd name="T84" fmla="*/ 212133 w 177"/>
                <a:gd name="T85" fmla="*/ 247650 h 147"/>
                <a:gd name="T86" fmla="*/ 218025 w 177"/>
                <a:gd name="T87" fmla="*/ 247650 h 147"/>
                <a:gd name="T88" fmla="*/ 235703 w 177"/>
                <a:gd name="T89" fmla="*/ 247650 h 147"/>
                <a:gd name="T90" fmla="*/ 247488 w 177"/>
                <a:gd name="T91" fmla="*/ 241754 h 147"/>
                <a:gd name="T92" fmla="*/ 259273 w 177"/>
                <a:gd name="T93" fmla="*/ 229961 h 147"/>
                <a:gd name="T94" fmla="*/ 265166 w 177"/>
                <a:gd name="T95" fmla="*/ 218168 h 147"/>
                <a:gd name="T96" fmla="*/ 271059 w 177"/>
                <a:gd name="T97" fmla="*/ 212271 h 147"/>
                <a:gd name="T98" fmla="*/ 271059 w 177"/>
                <a:gd name="T99" fmla="*/ 194582 h 147"/>
                <a:gd name="T100" fmla="*/ 288736 w 177"/>
                <a:gd name="T101" fmla="*/ 188686 h 147"/>
                <a:gd name="T102" fmla="*/ 294629 w 177"/>
                <a:gd name="T103" fmla="*/ 188686 h 147"/>
                <a:gd name="T104" fmla="*/ 300521 w 177"/>
                <a:gd name="T105" fmla="*/ 176893 h 147"/>
                <a:gd name="T106" fmla="*/ 306414 w 177"/>
                <a:gd name="T107" fmla="*/ 165100 h 147"/>
                <a:gd name="T108" fmla="*/ 318199 w 177"/>
                <a:gd name="T109" fmla="*/ 159204 h 147"/>
                <a:gd name="T110" fmla="*/ 335877 w 177"/>
                <a:gd name="T111" fmla="*/ 165100 h 147"/>
                <a:gd name="T112" fmla="*/ 335877 w 177"/>
                <a:gd name="T113" fmla="*/ 147411 h 147"/>
                <a:gd name="T114" fmla="*/ 347662 w 177"/>
                <a:gd name="T115" fmla="*/ 147411 h 1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77" h="147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9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9" y="15"/>
                  </a:lnTo>
                  <a:lnTo>
                    <a:pt x="9" y="18"/>
                  </a:lnTo>
                  <a:lnTo>
                    <a:pt x="9" y="21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5" y="27"/>
                  </a:lnTo>
                  <a:lnTo>
                    <a:pt x="12" y="27"/>
                  </a:lnTo>
                  <a:lnTo>
                    <a:pt x="9" y="27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2" y="36"/>
                  </a:lnTo>
                  <a:lnTo>
                    <a:pt x="15" y="36"/>
                  </a:lnTo>
                  <a:lnTo>
                    <a:pt x="15" y="39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1" y="51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1" y="54"/>
                  </a:lnTo>
                  <a:lnTo>
                    <a:pt x="21" y="57"/>
                  </a:lnTo>
                  <a:lnTo>
                    <a:pt x="24" y="57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69"/>
                  </a:lnTo>
                  <a:lnTo>
                    <a:pt x="24" y="72"/>
                  </a:lnTo>
                  <a:lnTo>
                    <a:pt x="24" y="75"/>
                  </a:lnTo>
                  <a:lnTo>
                    <a:pt x="27" y="75"/>
                  </a:lnTo>
                  <a:lnTo>
                    <a:pt x="27" y="78"/>
                  </a:lnTo>
                  <a:lnTo>
                    <a:pt x="24" y="78"/>
                  </a:lnTo>
                  <a:lnTo>
                    <a:pt x="24" y="81"/>
                  </a:lnTo>
                  <a:lnTo>
                    <a:pt x="24" y="84"/>
                  </a:lnTo>
                  <a:lnTo>
                    <a:pt x="21" y="84"/>
                  </a:lnTo>
                  <a:lnTo>
                    <a:pt x="21" y="87"/>
                  </a:lnTo>
                  <a:lnTo>
                    <a:pt x="18" y="90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5" y="96"/>
                  </a:lnTo>
                  <a:lnTo>
                    <a:pt x="15" y="99"/>
                  </a:lnTo>
                  <a:lnTo>
                    <a:pt x="12" y="99"/>
                  </a:lnTo>
                  <a:lnTo>
                    <a:pt x="12" y="102"/>
                  </a:lnTo>
                  <a:lnTo>
                    <a:pt x="9" y="102"/>
                  </a:lnTo>
                  <a:lnTo>
                    <a:pt x="6" y="105"/>
                  </a:lnTo>
                  <a:lnTo>
                    <a:pt x="6" y="108"/>
                  </a:lnTo>
                  <a:lnTo>
                    <a:pt x="6" y="111"/>
                  </a:lnTo>
                  <a:lnTo>
                    <a:pt x="6" y="114"/>
                  </a:lnTo>
                  <a:lnTo>
                    <a:pt x="6" y="117"/>
                  </a:lnTo>
                  <a:lnTo>
                    <a:pt x="9" y="117"/>
                  </a:lnTo>
                  <a:lnTo>
                    <a:pt x="9" y="120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32"/>
                  </a:lnTo>
                  <a:lnTo>
                    <a:pt x="9" y="135"/>
                  </a:lnTo>
                  <a:lnTo>
                    <a:pt x="6" y="135"/>
                  </a:lnTo>
                  <a:lnTo>
                    <a:pt x="9" y="138"/>
                  </a:lnTo>
                  <a:lnTo>
                    <a:pt x="9" y="141"/>
                  </a:lnTo>
                  <a:lnTo>
                    <a:pt x="12" y="141"/>
                  </a:lnTo>
                  <a:lnTo>
                    <a:pt x="12" y="144"/>
                  </a:lnTo>
                  <a:lnTo>
                    <a:pt x="12" y="147"/>
                  </a:lnTo>
                  <a:lnTo>
                    <a:pt x="15" y="147"/>
                  </a:lnTo>
                  <a:lnTo>
                    <a:pt x="15" y="144"/>
                  </a:lnTo>
                  <a:lnTo>
                    <a:pt x="18" y="144"/>
                  </a:lnTo>
                  <a:lnTo>
                    <a:pt x="21" y="144"/>
                  </a:lnTo>
                  <a:lnTo>
                    <a:pt x="21" y="141"/>
                  </a:lnTo>
                  <a:lnTo>
                    <a:pt x="24" y="141"/>
                  </a:lnTo>
                  <a:lnTo>
                    <a:pt x="24" y="138"/>
                  </a:lnTo>
                  <a:lnTo>
                    <a:pt x="27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6" y="138"/>
                  </a:lnTo>
                  <a:lnTo>
                    <a:pt x="39" y="141"/>
                  </a:lnTo>
                  <a:lnTo>
                    <a:pt x="42" y="141"/>
                  </a:lnTo>
                  <a:lnTo>
                    <a:pt x="45" y="144"/>
                  </a:lnTo>
                  <a:lnTo>
                    <a:pt x="45" y="141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4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3" y="141"/>
                  </a:lnTo>
                  <a:lnTo>
                    <a:pt x="66" y="141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81" y="141"/>
                  </a:lnTo>
                  <a:lnTo>
                    <a:pt x="81" y="144"/>
                  </a:lnTo>
                  <a:lnTo>
                    <a:pt x="84" y="144"/>
                  </a:lnTo>
                  <a:lnTo>
                    <a:pt x="84" y="141"/>
                  </a:lnTo>
                  <a:lnTo>
                    <a:pt x="87" y="141"/>
                  </a:lnTo>
                  <a:lnTo>
                    <a:pt x="90" y="141"/>
                  </a:lnTo>
                  <a:lnTo>
                    <a:pt x="90" y="144"/>
                  </a:lnTo>
                  <a:lnTo>
                    <a:pt x="93" y="144"/>
                  </a:lnTo>
                  <a:lnTo>
                    <a:pt x="96" y="144"/>
                  </a:lnTo>
                  <a:lnTo>
                    <a:pt x="99" y="144"/>
                  </a:lnTo>
                  <a:lnTo>
                    <a:pt x="99" y="141"/>
                  </a:lnTo>
                  <a:lnTo>
                    <a:pt x="102" y="141"/>
                  </a:lnTo>
                  <a:lnTo>
                    <a:pt x="102" y="138"/>
                  </a:lnTo>
                  <a:lnTo>
                    <a:pt x="105" y="138"/>
                  </a:lnTo>
                  <a:lnTo>
                    <a:pt x="105" y="135"/>
                  </a:lnTo>
                  <a:lnTo>
                    <a:pt x="105" y="132"/>
                  </a:lnTo>
                  <a:lnTo>
                    <a:pt x="105" y="129"/>
                  </a:lnTo>
                  <a:lnTo>
                    <a:pt x="102" y="129"/>
                  </a:lnTo>
                  <a:lnTo>
                    <a:pt x="105" y="126"/>
                  </a:lnTo>
                  <a:lnTo>
                    <a:pt x="108" y="126"/>
                  </a:lnTo>
                  <a:lnTo>
                    <a:pt x="108" y="123"/>
                  </a:lnTo>
                  <a:lnTo>
                    <a:pt x="108" y="126"/>
                  </a:lnTo>
                  <a:lnTo>
                    <a:pt x="111" y="126"/>
                  </a:lnTo>
                  <a:lnTo>
                    <a:pt x="114" y="126"/>
                  </a:lnTo>
                  <a:lnTo>
                    <a:pt x="117" y="126"/>
                  </a:lnTo>
                  <a:lnTo>
                    <a:pt x="120" y="126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0"/>
                  </a:lnTo>
                  <a:lnTo>
                    <a:pt x="129" y="117"/>
                  </a:lnTo>
                  <a:lnTo>
                    <a:pt x="132" y="117"/>
                  </a:lnTo>
                  <a:lnTo>
                    <a:pt x="132" y="114"/>
                  </a:lnTo>
                  <a:lnTo>
                    <a:pt x="135" y="114"/>
                  </a:lnTo>
                  <a:lnTo>
                    <a:pt x="135" y="111"/>
                  </a:lnTo>
                  <a:lnTo>
                    <a:pt x="138" y="111"/>
                  </a:lnTo>
                  <a:lnTo>
                    <a:pt x="135" y="108"/>
                  </a:lnTo>
                  <a:lnTo>
                    <a:pt x="138" y="108"/>
                  </a:lnTo>
                  <a:lnTo>
                    <a:pt x="138" y="105"/>
                  </a:lnTo>
                  <a:lnTo>
                    <a:pt x="138" y="102"/>
                  </a:lnTo>
                  <a:lnTo>
                    <a:pt x="138" y="99"/>
                  </a:lnTo>
                  <a:lnTo>
                    <a:pt x="141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3"/>
                  </a:lnTo>
                  <a:lnTo>
                    <a:pt x="147" y="96"/>
                  </a:lnTo>
                  <a:lnTo>
                    <a:pt x="150" y="96"/>
                  </a:lnTo>
                  <a:lnTo>
                    <a:pt x="150" y="93"/>
                  </a:lnTo>
                  <a:lnTo>
                    <a:pt x="153" y="93"/>
                  </a:lnTo>
                  <a:lnTo>
                    <a:pt x="153" y="90"/>
                  </a:lnTo>
                  <a:lnTo>
                    <a:pt x="156" y="90"/>
                  </a:lnTo>
                  <a:lnTo>
                    <a:pt x="156" y="87"/>
                  </a:lnTo>
                  <a:lnTo>
                    <a:pt x="156" y="84"/>
                  </a:lnTo>
                  <a:lnTo>
                    <a:pt x="159" y="84"/>
                  </a:lnTo>
                  <a:lnTo>
                    <a:pt x="162" y="84"/>
                  </a:lnTo>
                  <a:lnTo>
                    <a:pt x="162" y="81"/>
                  </a:lnTo>
                  <a:lnTo>
                    <a:pt x="165" y="84"/>
                  </a:lnTo>
                  <a:lnTo>
                    <a:pt x="168" y="84"/>
                  </a:lnTo>
                  <a:lnTo>
                    <a:pt x="171" y="84"/>
                  </a:lnTo>
                  <a:lnTo>
                    <a:pt x="171" y="81"/>
                  </a:lnTo>
                  <a:lnTo>
                    <a:pt x="171" y="78"/>
                  </a:lnTo>
                  <a:lnTo>
                    <a:pt x="171" y="75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5"/>
                  </a:lnTo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97" name="Freeform 33">
              <a:extLst>
                <a:ext uri="{FF2B5EF4-FFF2-40B4-BE49-F238E27FC236}">
                  <a16:creationId xmlns:a16="http://schemas.microsoft.com/office/drawing/2014/main" id="{D3CCC997-8A2F-4A11-9C22-E9A0D0C224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1200" y="2736850"/>
              <a:ext cx="334963" cy="336550"/>
            </a:xfrm>
            <a:custGeom>
              <a:avLst/>
              <a:gdLst>
                <a:gd name="T0" fmla="*/ 270321 w 171"/>
                <a:gd name="T1" fmla="*/ 5904 h 171"/>
                <a:gd name="T2" fmla="*/ 282074 w 171"/>
                <a:gd name="T3" fmla="*/ 11809 h 171"/>
                <a:gd name="T4" fmla="*/ 276198 w 171"/>
                <a:gd name="T5" fmla="*/ 23618 h 171"/>
                <a:gd name="T6" fmla="*/ 258568 w 171"/>
                <a:gd name="T7" fmla="*/ 53139 h 171"/>
                <a:gd name="T8" fmla="*/ 276198 w 171"/>
                <a:gd name="T9" fmla="*/ 64948 h 171"/>
                <a:gd name="T10" fmla="*/ 293827 w 171"/>
                <a:gd name="T11" fmla="*/ 53139 h 171"/>
                <a:gd name="T12" fmla="*/ 323210 w 171"/>
                <a:gd name="T13" fmla="*/ 35426 h 171"/>
                <a:gd name="T14" fmla="*/ 329086 w 171"/>
                <a:gd name="T15" fmla="*/ 59044 h 171"/>
                <a:gd name="T16" fmla="*/ 317333 w 171"/>
                <a:gd name="T17" fmla="*/ 70853 h 171"/>
                <a:gd name="T18" fmla="*/ 299704 w 171"/>
                <a:gd name="T19" fmla="*/ 82661 h 171"/>
                <a:gd name="T20" fmla="*/ 293827 w 171"/>
                <a:gd name="T21" fmla="*/ 106279 h 171"/>
                <a:gd name="T22" fmla="*/ 287951 w 171"/>
                <a:gd name="T23" fmla="*/ 135801 h 171"/>
                <a:gd name="T24" fmla="*/ 276198 w 171"/>
                <a:gd name="T25" fmla="*/ 165323 h 171"/>
                <a:gd name="T26" fmla="*/ 258568 w 171"/>
                <a:gd name="T27" fmla="*/ 165323 h 171"/>
                <a:gd name="T28" fmla="*/ 223309 w 171"/>
                <a:gd name="T29" fmla="*/ 171227 h 171"/>
                <a:gd name="T30" fmla="*/ 217432 w 171"/>
                <a:gd name="T31" fmla="*/ 188940 h 171"/>
                <a:gd name="T32" fmla="*/ 235062 w 171"/>
                <a:gd name="T33" fmla="*/ 212558 h 171"/>
                <a:gd name="T34" fmla="*/ 258568 w 171"/>
                <a:gd name="T35" fmla="*/ 224367 h 171"/>
                <a:gd name="T36" fmla="*/ 270321 w 171"/>
                <a:gd name="T37" fmla="*/ 242080 h 171"/>
                <a:gd name="T38" fmla="*/ 258568 w 171"/>
                <a:gd name="T39" fmla="*/ 247984 h 171"/>
                <a:gd name="T40" fmla="*/ 240938 w 171"/>
                <a:gd name="T41" fmla="*/ 259793 h 171"/>
                <a:gd name="T42" fmla="*/ 223309 w 171"/>
                <a:gd name="T43" fmla="*/ 259793 h 171"/>
                <a:gd name="T44" fmla="*/ 217432 w 171"/>
                <a:gd name="T45" fmla="*/ 277506 h 171"/>
                <a:gd name="T46" fmla="*/ 193926 w 171"/>
                <a:gd name="T47" fmla="*/ 295219 h 171"/>
                <a:gd name="T48" fmla="*/ 188049 w 171"/>
                <a:gd name="T49" fmla="*/ 307028 h 171"/>
                <a:gd name="T50" fmla="*/ 188049 w 171"/>
                <a:gd name="T51" fmla="*/ 318837 h 171"/>
                <a:gd name="T52" fmla="*/ 170420 w 171"/>
                <a:gd name="T53" fmla="*/ 324741 h 171"/>
                <a:gd name="T54" fmla="*/ 170420 w 171"/>
                <a:gd name="T55" fmla="*/ 330646 h 171"/>
                <a:gd name="T56" fmla="*/ 158667 w 171"/>
                <a:gd name="T57" fmla="*/ 324741 h 171"/>
                <a:gd name="T58" fmla="*/ 152790 w 171"/>
                <a:gd name="T59" fmla="*/ 324741 h 171"/>
                <a:gd name="T60" fmla="*/ 135161 w 171"/>
                <a:gd name="T61" fmla="*/ 312932 h 171"/>
                <a:gd name="T62" fmla="*/ 135161 w 171"/>
                <a:gd name="T63" fmla="*/ 295219 h 171"/>
                <a:gd name="T64" fmla="*/ 117531 w 171"/>
                <a:gd name="T65" fmla="*/ 301124 h 171"/>
                <a:gd name="T66" fmla="*/ 94025 w 171"/>
                <a:gd name="T67" fmla="*/ 307028 h 171"/>
                <a:gd name="T68" fmla="*/ 76395 w 171"/>
                <a:gd name="T69" fmla="*/ 307028 h 171"/>
                <a:gd name="T70" fmla="*/ 64642 w 171"/>
                <a:gd name="T71" fmla="*/ 295219 h 171"/>
                <a:gd name="T72" fmla="*/ 58765 w 171"/>
                <a:gd name="T73" fmla="*/ 271602 h 171"/>
                <a:gd name="T74" fmla="*/ 70519 w 171"/>
                <a:gd name="T75" fmla="*/ 253889 h 171"/>
                <a:gd name="T76" fmla="*/ 58765 w 171"/>
                <a:gd name="T77" fmla="*/ 242080 h 171"/>
                <a:gd name="T78" fmla="*/ 35259 w 171"/>
                <a:gd name="T79" fmla="*/ 242080 h 171"/>
                <a:gd name="T80" fmla="*/ 11753 w 171"/>
                <a:gd name="T81" fmla="*/ 253889 h 171"/>
                <a:gd name="T82" fmla="*/ 5877 w 171"/>
                <a:gd name="T83" fmla="*/ 224367 h 171"/>
                <a:gd name="T84" fmla="*/ 17630 w 171"/>
                <a:gd name="T85" fmla="*/ 194845 h 171"/>
                <a:gd name="T86" fmla="*/ 35259 w 171"/>
                <a:gd name="T87" fmla="*/ 183036 h 171"/>
                <a:gd name="T88" fmla="*/ 47012 w 171"/>
                <a:gd name="T89" fmla="*/ 147610 h 171"/>
                <a:gd name="T90" fmla="*/ 64642 w 171"/>
                <a:gd name="T91" fmla="*/ 135801 h 171"/>
                <a:gd name="T92" fmla="*/ 82272 w 171"/>
                <a:gd name="T93" fmla="*/ 141705 h 171"/>
                <a:gd name="T94" fmla="*/ 99901 w 171"/>
                <a:gd name="T95" fmla="*/ 141705 h 171"/>
                <a:gd name="T96" fmla="*/ 117531 w 171"/>
                <a:gd name="T97" fmla="*/ 141705 h 171"/>
                <a:gd name="T98" fmla="*/ 123407 w 171"/>
                <a:gd name="T99" fmla="*/ 123992 h 171"/>
                <a:gd name="T100" fmla="*/ 123407 w 171"/>
                <a:gd name="T101" fmla="*/ 100375 h 171"/>
                <a:gd name="T102" fmla="*/ 141037 w 171"/>
                <a:gd name="T103" fmla="*/ 88566 h 171"/>
                <a:gd name="T104" fmla="*/ 146914 w 171"/>
                <a:gd name="T105" fmla="*/ 64948 h 171"/>
                <a:gd name="T106" fmla="*/ 152790 w 171"/>
                <a:gd name="T107" fmla="*/ 53139 h 171"/>
                <a:gd name="T108" fmla="*/ 152790 w 171"/>
                <a:gd name="T109" fmla="*/ 64948 h 171"/>
                <a:gd name="T110" fmla="*/ 176296 w 171"/>
                <a:gd name="T111" fmla="*/ 53139 h 171"/>
                <a:gd name="T112" fmla="*/ 193926 w 171"/>
                <a:gd name="T113" fmla="*/ 35426 h 171"/>
                <a:gd name="T114" fmla="*/ 217432 w 171"/>
                <a:gd name="T115" fmla="*/ 29522 h 171"/>
                <a:gd name="T116" fmla="*/ 240938 w 171"/>
                <a:gd name="T117" fmla="*/ 23618 h 171"/>
                <a:gd name="T118" fmla="*/ 246815 w 171"/>
                <a:gd name="T119" fmla="*/ 23618 h 171"/>
                <a:gd name="T120" fmla="*/ 240938 w 171"/>
                <a:gd name="T121" fmla="*/ 5904 h 1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1" h="171">
                  <a:moveTo>
                    <a:pt x="123" y="3"/>
                  </a:moveTo>
                  <a:lnTo>
                    <a:pt x="126" y="3"/>
                  </a:lnTo>
                  <a:lnTo>
                    <a:pt x="132" y="0"/>
                  </a:lnTo>
                  <a:lnTo>
                    <a:pt x="135" y="0"/>
                  </a:lnTo>
                  <a:lnTo>
                    <a:pt x="138" y="3"/>
                  </a:lnTo>
                  <a:lnTo>
                    <a:pt x="138" y="6"/>
                  </a:lnTo>
                  <a:lnTo>
                    <a:pt x="141" y="6"/>
                  </a:lnTo>
                  <a:lnTo>
                    <a:pt x="144" y="3"/>
                  </a:lnTo>
                  <a:lnTo>
                    <a:pt x="141" y="6"/>
                  </a:lnTo>
                  <a:lnTo>
                    <a:pt x="144" y="6"/>
                  </a:lnTo>
                  <a:lnTo>
                    <a:pt x="141" y="9"/>
                  </a:lnTo>
                  <a:lnTo>
                    <a:pt x="138" y="6"/>
                  </a:lnTo>
                  <a:lnTo>
                    <a:pt x="138" y="9"/>
                  </a:lnTo>
                  <a:lnTo>
                    <a:pt x="141" y="9"/>
                  </a:lnTo>
                  <a:lnTo>
                    <a:pt x="141" y="12"/>
                  </a:lnTo>
                  <a:lnTo>
                    <a:pt x="141" y="15"/>
                  </a:lnTo>
                  <a:lnTo>
                    <a:pt x="138" y="18"/>
                  </a:lnTo>
                  <a:lnTo>
                    <a:pt x="135" y="21"/>
                  </a:lnTo>
                  <a:lnTo>
                    <a:pt x="132" y="24"/>
                  </a:lnTo>
                  <a:lnTo>
                    <a:pt x="132" y="27"/>
                  </a:lnTo>
                  <a:lnTo>
                    <a:pt x="135" y="27"/>
                  </a:lnTo>
                  <a:lnTo>
                    <a:pt x="135" y="30"/>
                  </a:lnTo>
                  <a:lnTo>
                    <a:pt x="135" y="33"/>
                  </a:lnTo>
                  <a:lnTo>
                    <a:pt x="138" y="33"/>
                  </a:lnTo>
                  <a:lnTo>
                    <a:pt x="141" y="33"/>
                  </a:lnTo>
                  <a:lnTo>
                    <a:pt x="141" y="30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50" y="27"/>
                  </a:lnTo>
                  <a:lnTo>
                    <a:pt x="150" y="24"/>
                  </a:lnTo>
                  <a:lnTo>
                    <a:pt x="153" y="24"/>
                  </a:lnTo>
                  <a:lnTo>
                    <a:pt x="156" y="21"/>
                  </a:lnTo>
                  <a:lnTo>
                    <a:pt x="162" y="21"/>
                  </a:lnTo>
                  <a:lnTo>
                    <a:pt x="165" y="18"/>
                  </a:lnTo>
                  <a:lnTo>
                    <a:pt x="165" y="21"/>
                  </a:lnTo>
                  <a:lnTo>
                    <a:pt x="168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2" y="33"/>
                  </a:lnTo>
                  <a:lnTo>
                    <a:pt x="165" y="36"/>
                  </a:lnTo>
                  <a:lnTo>
                    <a:pt x="162" y="36"/>
                  </a:lnTo>
                  <a:lnTo>
                    <a:pt x="159" y="36"/>
                  </a:lnTo>
                  <a:lnTo>
                    <a:pt x="159" y="39"/>
                  </a:lnTo>
                  <a:lnTo>
                    <a:pt x="159" y="42"/>
                  </a:lnTo>
                  <a:lnTo>
                    <a:pt x="156" y="42"/>
                  </a:lnTo>
                  <a:lnTo>
                    <a:pt x="153" y="42"/>
                  </a:lnTo>
                  <a:lnTo>
                    <a:pt x="156" y="45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53" y="51"/>
                  </a:lnTo>
                  <a:lnTo>
                    <a:pt x="150" y="54"/>
                  </a:lnTo>
                  <a:lnTo>
                    <a:pt x="147" y="57"/>
                  </a:lnTo>
                  <a:lnTo>
                    <a:pt x="150" y="60"/>
                  </a:lnTo>
                  <a:lnTo>
                    <a:pt x="147" y="63"/>
                  </a:lnTo>
                  <a:lnTo>
                    <a:pt x="147" y="66"/>
                  </a:lnTo>
                  <a:lnTo>
                    <a:pt x="147" y="69"/>
                  </a:lnTo>
                  <a:lnTo>
                    <a:pt x="147" y="72"/>
                  </a:lnTo>
                  <a:lnTo>
                    <a:pt x="141" y="72"/>
                  </a:lnTo>
                  <a:lnTo>
                    <a:pt x="141" y="78"/>
                  </a:lnTo>
                  <a:lnTo>
                    <a:pt x="141" y="81"/>
                  </a:lnTo>
                  <a:lnTo>
                    <a:pt x="141" y="84"/>
                  </a:lnTo>
                  <a:lnTo>
                    <a:pt x="138" y="84"/>
                  </a:lnTo>
                  <a:lnTo>
                    <a:pt x="135" y="84"/>
                  </a:lnTo>
                  <a:lnTo>
                    <a:pt x="132" y="84"/>
                  </a:lnTo>
                  <a:lnTo>
                    <a:pt x="132" y="81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0" y="81"/>
                  </a:lnTo>
                  <a:lnTo>
                    <a:pt x="117" y="84"/>
                  </a:lnTo>
                  <a:lnTo>
                    <a:pt x="117" y="90"/>
                  </a:lnTo>
                  <a:lnTo>
                    <a:pt x="114" y="87"/>
                  </a:lnTo>
                  <a:lnTo>
                    <a:pt x="111" y="90"/>
                  </a:lnTo>
                  <a:lnTo>
                    <a:pt x="108" y="90"/>
                  </a:lnTo>
                  <a:lnTo>
                    <a:pt x="108" y="93"/>
                  </a:lnTo>
                  <a:lnTo>
                    <a:pt x="108" y="96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17" y="105"/>
                  </a:lnTo>
                  <a:lnTo>
                    <a:pt x="120" y="108"/>
                  </a:lnTo>
                  <a:lnTo>
                    <a:pt x="120" y="111"/>
                  </a:lnTo>
                  <a:lnTo>
                    <a:pt x="123" y="114"/>
                  </a:lnTo>
                  <a:lnTo>
                    <a:pt x="126" y="117"/>
                  </a:lnTo>
                  <a:lnTo>
                    <a:pt x="129" y="114"/>
                  </a:lnTo>
                  <a:lnTo>
                    <a:pt x="132" y="114"/>
                  </a:lnTo>
                  <a:lnTo>
                    <a:pt x="135" y="111"/>
                  </a:lnTo>
                  <a:lnTo>
                    <a:pt x="135" y="117"/>
                  </a:lnTo>
                  <a:lnTo>
                    <a:pt x="138" y="117"/>
                  </a:lnTo>
                  <a:lnTo>
                    <a:pt x="141" y="120"/>
                  </a:lnTo>
                  <a:lnTo>
                    <a:pt x="138" y="123"/>
                  </a:lnTo>
                  <a:lnTo>
                    <a:pt x="135" y="123"/>
                  </a:lnTo>
                  <a:lnTo>
                    <a:pt x="132" y="123"/>
                  </a:lnTo>
                  <a:lnTo>
                    <a:pt x="132" y="126"/>
                  </a:lnTo>
                  <a:lnTo>
                    <a:pt x="135" y="126"/>
                  </a:lnTo>
                  <a:lnTo>
                    <a:pt x="132" y="126"/>
                  </a:lnTo>
                  <a:lnTo>
                    <a:pt x="132" y="129"/>
                  </a:lnTo>
                  <a:lnTo>
                    <a:pt x="132" y="132"/>
                  </a:lnTo>
                  <a:lnTo>
                    <a:pt x="129" y="132"/>
                  </a:lnTo>
                  <a:lnTo>
                    <a:pt x="126" y="132"/>
                  </a:lnTo>
                  <a:lnTo>
                    <a:pt x="123" y="132"/>
                  </a:lnTo>
                  <a:lnTo>
                    <a:pt x="120" y="132"/>
                  </a:lnTo>
                  <a:lnTo>
                    <a:pt x="120" y="135"/>
                  </a:lnTo>
                  <a:lnTo>
                    <a:pt x="117" y="135"/>
                  </a:lnTo>
                  <a:lnTo>
                    <a:pt x="117" y="132"/>
                  </a:lnTo>
                  <a:lnTo>
                    <a:pt x="114" y="132"/>
                  </a:lnTo>
                  <a:lnTo>
                    <a:pt x="117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11" y="141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05" y="144"/>
                  </a:lnTo>
                  <a:lnTo>
                    <a:pt x="102" y="144"/>
                  </a:lnTo>
                  <a:lnTo>
                    <a:pt x="99" y="150"/>
                  </a:lnTo>
                  <a:lnTo>
                    <a:pt x="102" y="150"/>
                  </a:lnTo>
                  <a:lnTo>
                    <a:pt x="102" y="153"/>
                  </a:lnTo>
                  <a:lnTo>
                    <a:pt x="102" y="156"/>
                  </a:lnTo>
                  <a:lnTo>
                    <a:pt x="99" y="156"/>
                  </a:lnTo>
                  <a:lnTo>
                    <a:pt x="96" y="156"/>
                  </a:lnTo>
                  <a:lnTo>
                    <a:pt x="93" y="159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71"/>
                  </a:lnTo>
                  <a:lnTo>
                    <a:pt x="87" y="168"/>
                  </a:lnTo>
                  <a:lnTo>
                    <a:pt x="84" y="168"/>
                  </a:lnTo>
                  <a:lnTo>
                    <a:pt x="84" y="165"/>
                  </a:lnTo>
                  <a:lnTo>
                    <a:pt x="84" y="162"/>
                  </a:lnTo>
                  <a:lnTo>
                    <a:pt x="81" y="162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78" y="168"/>
                  </a:lnTo>
                  <a:lnTo>
                    <a:pt x="78" y="165"/>
                  </a:lnTo>
                  <a:lnTo>
                    <a:pt x="78" y="162"/>
                  </a:lnTo>
                  <a:lnTo>
                    <a:pt x="75" y="162"/>
                  </a:lnTo>
                  <a:lnTo>
                    <a:pt x="72" y="162"/>
                  </a:lnTo>
                  <a:lnTo>
                    <a:pt x="72" y="159"/>
                  </a:lnTo>
                  <a:lnTo>
                    <a:pt x="69" y="159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6" y="153"/>
                  </a:lnTo>
                  <a:lnTo>
                    <a:pt x="66" y="150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3" y="147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60" y="153"/>
                  </a:lnTo>
                  <a:lnTo>
                    <a:pt x="57" y="153"/>
                  </a:lnTo>
                  <a:lnTo>
                    <a:pt x="54" y="153"/>
                  </a:lnTo>
                  <a:lnTo>
                    <a:pt x="51" y="153"/>
                  </a:lnTo>
                  <a:lnTo>
                    <a:pt x="48" y="153"/>
                  </a:lnTo>
                  <a:lnTo>
                    <a:pt x="48" y="156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45" y="156"/>
                  </a:lnTo>
                  <a:lnTo>
                    <a:pt x="42" y="156"/>
                  </a:lnTo>
                  <a:lnTo>
                    <a:pt x="39" y="156"/>
                  </a:lnTo>
                  <a:lnTo>
                    <a:pt x="36" y="156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47"/>
                  </a:lnTo>
                  <a:lnTo>
                    <a:pt x="33" y="150"/>
                  </a:lnTo>
                  <a:lnTo>
                    <a:pt x="33" y="147"/>
                  </a:lnTo>
                  <a:lnTo>
                    <a:pt x="30" y="144"/>
                  </a:lnTo>
                  <a:lnTo>
                    <a:pt x="33" y="141"/>
                  </a:lnTo>
                  <a:lnTo>
                    <a:pt x="33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3" y="135"/>
                  </a:lnTo>
                  <a:lnTo>
                    <a:pt x="36" y="135"/>
                  </a:lnTo>
                  <a:lnTo>
                    <a:pt x="33" y="132"/>
                  </a:lnTo>
                  <a:lnTo>
                    <a:pt x="36" y="129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6"/>
                  </a:lnTo>
                  <a:lnTo>
                    <a:pt x="30" y="126"/>
                  </a:lnTo>
                  <a:lnTo>
                    <a:pt x="3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9" y="129"/>
                  </a:lnTo>
                  <a:lnTo>
                    <a:pt x="6" y="129"/>
                  </a:lnTo>
                  <a:lnTo>
                    <a:pt x="3" y="132"/>
                  </a:lnTo>
                  <a:lnTo>
                    <a:pt x="3" y="126"/>
                  </a:lnTo>
                  <a:lnTo>
                    <a:pt x="0" y="120"/>
                  </a:lnTo>
                  <a:lnTo>
                    <a:pt x="3" y="117"/>
                  </a:lnTo>
                  <a:lnTo>
                    <a:pt x="3" y="114"/>
                  </a:lnTo>
                  <a:lnTo>
                    <a:pt x="6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9" y="105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5" y="99"/>
                  </a:lnTo>
                  <a:lnTo>
                    <a:pt x="15" y="96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21" y="87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5"/>
                  </a:lnTo>
                  <a:lnTo>
                    <a:pt x="24" y="75"/>
                  </a:lnTo>
                  <a:lnTo>
                    <a:pt x="21" y="72"/>
                  </a:lnTo>
                  <a:lnTo>
                    <a:pt x="24" y="72"/>
                  </a:lnTo>
                  <a:lnTo>
                    <a:pt x="27" y="72"/>
                  </a:lnTo>
                  <a:lnTo>
                    <a:pt x="30" y="69"/>
                  </a:lnTo>
                  <a:lnTo>
                    <a:pt x="33" y="69"/>
                  </a:lnTo>
                  <a:lnTo>
                    <a:pt x="33" y="66"/>
                  </a:lnTo>
                  <a:lnTo>
                    <a:pt x="36" y="66"/>
                  </a:lnTo>
                  <a:lnTo>
                    <a:pt x="39" y="66"/>
                  </a:lnTo>
                  <a:lnTo>
                    <a:pt x="39" y="69"/>
                  </a:lnTo>
                  <a:lnTo>
                    <a:pt x="42" y="72"/>
                  </a:lnTo>
                  <a:lnTo>
                    <a:pt x="45" y="69"/>
                  </a:lnTo>
                  <a:lnTo>
                    <a:pt x="45" y="72"/>
                  </a:lnTo>
                  <a:lnTo>
                    <a:pt x="45" y="75"/>
                  </a:lnTo>
                  <a:lnTo>
                    <a:pt x="48" y="75"/>
                  </a:lnTo>
                  <a:lnTo>
                    <a:pt x="51" y="72"/>
                  </a:lnTo>
                  <a:lnTo>
                    <a:pt x="54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60" y="69"/>
                  </a:lnTo>
                  <a:lnTo>
                    <a:pt x="60" y="72"/>
                  </a:lnTo>
                  <a:lnTo>
                    <a:pt x="60" y="69"/>
                  </a:lnTo>
                  <a:lnTo>
                    <a:pt x="63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3" y="63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57"/>
                  </a:lnTo>
                  <a:lnTo>
                    <a:pt x="63" y="54"/>
                  </a:lnTo>
                  <a:lnTo>
                    <a:pt x="63" y="51"/>
                  </a:lnTo>
                  <a:lnTo>
                    <a:pt x="66" y="51"/>
                  </a:lnTo>
                  <a:lnTo>
                    <a:pt x="66" y="48"/>
                  </a:lnTo>
                  <a:lnTo>
                    <a:pt x="69" y="48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2"/>
                  </a:lnTo>
                  <a:lnTo>
                    <a:pt x="75" y="42"/>
                  </a:lnTo>
                  <a:lnTo>
                    <a:pt x="75" y="39"/>
                  </a:lnTo>
                  <a:lnTo>
                    <a:pt x="75" y="36"/>
                  </a:lnTo>
                  <a:lnTo>
                    <a:pt x="75" y="33"/>
                  </a:lnTo>
                  <a:lnTo>
                    <a:pt x="72" y="30"/>
                  </a:lnTo>
                  <a:lnTo>
                    <a:pt x="72" y="27"/>
                  </a:lnTo>
                  <a:lnTo>
                    <a:pt x="75" y="27"/>
                  </a:lnTo>
                  <a:lnTo>
                    <a:pt x="78" y="24"/>
                  </a:lnTo>
                  <a:lnTo>
                    <a:pt x="78" y="27"/>
                  </a:lnTo>
                  <a:lnTo>
                    <a:pt x="81" y="24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8" y="30"/>
                  </a:lnTo>
                  <a:lnTo>
                    <a:pt x="78" y="33"/>
                  </a:lnTo>
                  <a:lnTo>
                    <a:pt x="81" y="30"/>
                  </a:lnTo>
                  <a:lnTo>
                    <a:pt x="84" y="30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3" y="27"/>
                  </a:lnTo>
                  <a:lnTo>
                    <a:pt x="93" y="21"/>
                  </a:lnTo>
                  <a:lnTo>
                    <a:pt x="93" y="18"/>
                  </a:lnTo>
                  <a:lnTo>
                    <a:pt x="96" y="18"/>
                  </a:lnTo>
                  <a:lnTo>
                    <a:pt x="99" y="18"/>
                  </a:lnTo>
                  <a:lnTo>
                    <a:pt x="99" y="21"/>
                  </a:lnTo>
                  <a:lnTo>
                    <a:pt x="105" y="21"/>
                  </a:lnTo>
                  <a:lnTo>
                    <a:pt x="105" y="18"/>
                  </a:lnTo>
                  <a:lnTo>
                    <a:pt x="111" y="18"/>
                  </a:lnTo>
                  <a:lnTo>
                    <a:pt x="111" y="15"/>
                  </a:lnTo>
                  <a:lnTo>
                    <a:pt x="114" y="15"/>
                  </a:lnTo>
                  <a:lnTo>
                    <a:pt x="117" y="15"/>
                  </a:lnTo>
                  <a:lnTo>
                    <a:pt x="120" y="18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6" y="9"/>
                  </a:lnTo>
                  <a:lnTo>
                    <a:pt x="123" y="12"/>
                  </a:lnTo>
                  <a:lnTo>
                    <a:pt x="120" y="9"/>
                  </a:lnTo>
                  <a:lnTo>
                    <a:pt x="120" y="6"/>
                  </a:lnTo>
                  <a:lnTo>
                    <a:pt x="123" y="3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98" name="Freeform 34">
              <a:extLst>
                <a:ext uri="{FF2B5EF4-FFF2-40B4-BE49-F238E27FC236}">
                  <a16:creationId xmlns:a16="http://schemas.microsoft.com/office/drawing/2014/main" id="{E61AAFFB-18D1-4EC3-93BD-2920338DCE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16513" y="2849563"/>
              <a:ext cx="217487" cy="295275"/>
            </a:xfrm>
            <a:custGeom>
              <a:avLst/>
              <a:gdLst>
                <a:gd name="T0" fmla="*/ 193975 w 111"/>
                <a:gd name="T1" fmla="*/ 47244 h 150"/>
                <a:gd name="T2" fmla="*/ 211609 w 111"/>
                <a:gd name="T3" fmla="*/ 53150 h 150"/>
                <a:gd name="T4" fmla="*/ 211609 w 111"/>
                <a:gd name="T5" fmla="*/ 70866 h 150"/>
                <a:gd name="T6" fmla="*/ 211609 w 111"/>
                <a:gd name="T7" fmla="*/ 88583 h 150"/>
                <a:gd name="T8" fmla="*/ 211609 w 111"/>
                <a:gd name="T9" fmla="*/ 106299 h 150"/>
                <a:gd name="T10" fmla="*/ 211609 w 111"/>
                <a:gd name="T11" fmla="*/ 124016 h 150"/>
                <a:gd name="T12" fmla="*/ 217487 w 111"/>
                <a:gd name="T13" fmla="*/ 141732 h 150"/>
                <a:gd name="T14" fmla="*/ 217487 w 111"/>
                <a:gd name="T15" fmla="*/ 165354 h 150"/>
                <a:gd name="T16" fmla="*/ 217487 w 111"/>
                <a:gd name="T17" fmla="*/ 183071 h 150"/>
                <a:gd name="T18" fmla="*/ 217487 w 111"/>
                <a:gd name="T19" fmla="*/ 200787 h 150"/>
                <a:gd name="T20" fmla="*/ 211609 w 111"/>
                <a:gd name="T21" fmla="*/ 200787 h 150"/>
                <a:gd name="T22" fmla="*/ 199853 w 111"/>
                <a:gd name="T23" fmla="*/ 206693 h 150"/>
                <a:gd name="T24" fmla="*/ 193975 w 111"/>
                <a:gd name="T25" fmla="*/ 230315 h 150"/>
                <a:gd name="T26" fmla="*/ 193975 w 111"/>
                <a:gd name="T27" fmla="*/ 248031 h 150"/>
                <a:gd name="T28" fmla="*/ 193975 w 111"/>
                <a:gd name="T29" fmla="*/ 265748 h 150"/>
                <a:gd name="T30" fmla="*/ 193975 w 111"/>
                <a:gd name="T31" fmla="*/ 283464 h 150"/>
                <a:gd name="T32" fmla="*/ 182219 w 111"/>
                <a:gd name="T33" fmla="*/ 295275 h 150"/>
                <a:gd name="T34" fmla="*/ 158707 w 111"/>
                <a:gd name="T35" fmla="*/ 295275 h 150"/>
                <a:gd name="T36" fmla="*/ 141073 w 111"/>
                <a:gd name="T37" fmla="*/ 295275 h 150"/>
                <a:gd name="T38" fmla="*/ 123439 w 111"/>
                <a:gd name="T39" fmla="*/ 295275 h 150"/>
                <a:gd name="T40" fmla="*/ 105804 w 111"/>
                <a:gd name="T41" fmla="*/ 295275 h 150"/>
                <a:gd name="T42" fmla="*/ 82292 w 111"/>
                <a:gd name="T43" fmla="*/ 283464 h 150"/>
                <a:gd name="T44" fmla="*/ 64658 w 111"/>
                <a:gd name="T45" fmla="*/ 277559 h 150"/>
                <a:gd name="T46" fmla="*/ 52902 w 111"/>
                <a:gd name="T47" fmla="*/ 271653 h 150"/>
                <a:gd name="T48" fmla="*/ 47024 w 111"/>
                <a:gd name="T49" fmla="*/ 259842 h 150"/>
                <a:gd name="T50" fmla="*/ 35268 w 111"/>
                <a:gd name="T51" fmla="*/ 253937 h 150"/>
                <a:gd name="T52" fmla="*/ 29390 w 111"/>
                <a:gd name="T53" fmla="*/ 242126 h 150"/>
                <a:gd name="T54" fmla="*/ 29390 w 111"/>
                <a:gd name="T55" fmla="*/ 224409 h 150"/>
                <a:gd name="T56" fmla="*/ 23512 w 111"/>
                <a:gd name="T57" fmla="*/ 212598 h 150"/>
                <a:gd name="T58" fmla="*/ 11756 w 111"/>
                <a:gd name="T59" fmla="*/ 200787 h 150"/>
                <a:gd name="T60" fmla="*/ 5878 w 111"/>
                <a:gd name="T61" fmla="*/ 200787 h 150"/>
                <a:gd name="T62" fmla="*/ 0 w 111"/>
                <a:gd name="T63" fmla="*/ 200787 h 150"/>
                <a:gd name="T64" fmla="*/ 0 w 111"/>
                <a:gd name="T65" fmla="*/ 183071 h 150"/>
                <a:gd name="T66" fmla="*/ 0 w 111"/>
                <a:gd name="T67" fmla="*/ 159449 h 150"/>
                <a:gd name="T68" fmla="*/ 0 w 111"/>
                <a:gd name="T69" fmla="*/ 135827 h 150"/>
                <a:gd name="T70" fmla="*/ 11756 w 111"/>
                <a:gd name="T71" fmla="*/ 112205 h 150"/>
                <a:gd name="T72" fmla="*/ 29390 w 111"/>
                <a:gd name="T73" fmla="*/ 100394 h 150"/>
                <a:gd name="T74" fmla="*/ 35268 w 111"/>
                <a:gd name="T75" fmla="*/ 88583 h 150"/>
                <a:gd name="T76" fmla="*/ 41146 w 111"/>
                <a:gd name="T77" fmla="*/ 76772 h 150"/>
                <a:gd name="T78" fmla="*/ 47024 w 111"/>
                <a:gd name="T79" fmla="*/ 64961 h 150"/>
                <a:gd name="T80" fmla="*/ 52902 w 111"/>
                <a:gd name="T81" fmla="*/ 47244 h 150"/>
                <a:gd name="T82" fmla="*/ 76414 w 111"/>
                <a:gd name="T83" fmla="*/ 17717 h 150"/>
                <a:gd name="T84" fmla="*/ 105804 w 111"/>
                <a:gd name="T85" fmla="*/ 5906 h 150"/>
                <a:gd name="T86" fmla="*/ 141073 w 111"/>
                <a:gd name="T87" fmla="*/ 29528 h 150"/>
                <a:gd name="T88" fmla="*/ 158707 w 111"/>
                <a:gd name="T89" fmla="*/ 41339 h 150"/>
                <a:gd name="T90" fmla="*/ 188097 w 111"/>
                <a:gd name="T91" fmla="*/ 47244 h 1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11" h="150">
                  <a:moveTo>
                    <a:pt x="96" y="24"/>
                  </a:moveTo>
                  <a:lnTo>
                    <a:pt x="99" y="21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105" y="27"/>
                  </a:lnTo>
                  <a:lnTo>
                    <a:pt x="108" y="27"/>
                  </a:lnTo>
                  <a:lnTo>
                    <a:pt x="108" y="30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5"/>
                  </a:lnTo>
                  <a:lnTo>
                    <a:pt x="108" y="48"/>
                  </a:lnTo>
                  <a:lnTo>
                    <a:pt x="108" y="51"/>
                  </a:lnTo>
                  <a:lnTo>
                    <a:pt x="108" y="54"/>
                  </a:lnTo>
                  <a:lnTo>
                    <a:pt x="108" y="57"/>
                  </a:lnTo>
                  <a:lnTo>
                    <a:pt x="108" y="60"/>
                  </a:lnTo>
                  <a:lnTo>
                    <a:pt x="108" y="63"/>
                  </a:lnTo>
                  <a:lnTo>
                    <a:pt x="108" y="66"/>
                  </a:lnTo>
                  <a:lnTo>
                    <a:pt x="108" y="69"/>
                  </a:lnTo>
                  <a:lnTo>
                    <a:pt x="111" y="72"/>
                  </a:lnTo>
                  <a:lnTo>
                    <a:pt x="111" y="75"/>
                  </a:lnTo>
                  <a:lnTo>
                    <a:pt x="111" y="81"/>
                  </a:lnTo>
                  <a:lnTo>
                    <a:pt x="111" y="84"/>
                  </a:lnTo>
                  <a:lnTo>
                    <a:pt x="111" y="87"/>
                  </a:lnTo>
                  <a:lnTo>
                    <a:pt x="111" y="90"/>
                  </a:lnTo>
                  <a:lnTo>
                    <a:pt x="111" y="93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08" y="105"/>
                  </a:lnTo>
                  <a:lnTo>
                    <a:pt x="108" y="102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2" y="108"/>
                  </a:lnTo>
                  <a:lnTo>
                    <a:pt x="99" y="114"/>
                  </a:lnTo>
                  <a:lnTo>
                    <a:pt x="99" y="117"/>
                  </a:lnTo>
                  <a:lnTo>
                    <a:pt x="99" y="120"/>
                  </a:lnTo>
                  <a:lnTo>
                    <a:pt x="99" y="123"/>
                  </a:lnTo>
                  <a:lnTo>
                    <a:pt x="99" y="126"/>
                  </a:lnTo>
                  <a:lnTo>
                    <a:pt x="99" y="129"/>
                  </a:lnTo>
                  <a:lnTo>
                    <a:pt x="99" y="132"/>
                  </a:lnTo>
                  <a:lnTo>
                    <a:pt x="99" y="135"/>
                  </a:lnTo>
                  <a:lnTo>
                    <a:pt x="99" y="138"/>
                  </a:lnTo>
                  <a:lnTo>
                    <a:pt x="99" y="141"/>
                  </a:lnTo>
                  <a:lnTo>
                    <a:pt x="99" y="144"/>
                  </a:lnTo>
                  <a:lnTo>
                    <a:pt x="99" y="147"/>
                  </a:lnTo>
                  <a:lnTo>
                    <a:pt x="99" y="150"/>
                  </a:lnTo>
                  <a:lnTo>
                    <a:pt x="93" y="150"/>
                  </a:lnTo>
                  <a:lnTo>
                    <a:pt x="87" y="150"/>
                  </a:lnTo>
                  <a:lnTo>
                    <a:pt x="84" y="150"/>
                  </a:lnTo>
                  <a:lnTo>
                    <a:pt x="81" y="150"/>
                  </a:lnTo>
                  <a:lnTo>
                    <a:pt x="78" y="150"/>
                  </a:lnTo>
                  <a:lnTo>
                    <a:pt x="75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6" y="150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57" y="150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5" y="147"/>
                  </a:lnTo>
                  <a:lnTo>
                    <a:pt x="42" y="144"/>
                  </a:lnTo>
                  <a:lnTo>
                    <a:pt x="39" y="144"/>
                  </a:lnTo>
                  <a:lnTo>
                    <a:pt x="36" y="141"/>
                  </a:lnTo>
                  <a:lnTo>
                    <a:pt x="33" y="141"/>
                  </a:lnTo>
                  <a:lnTo>
                    <a:pt x="30" y="141"/>
                  </a:lnTo>
                  <a:lnTo>
                    <a:pt x="30" y="138"/>
                  </a:lnTo>
                  <a:lnTo>
                    <a:pt x="27" y="138"/>
                  </a:lnTo>
                  <a:lnTo>
                    <a:pt x="27" y="135"/>
                  </a:lnTo>
                  <a:lnTo>
                    <a:pt x="24" y="135"/>
                  </a:lnTo>
                  <a:lnTo>
                    <a:pt x="24" y="132"/>
                  </a:lnTo>
                  <a:lnTo>
                    <a:pt x="21" y="132"/>
                  </a:lnTo>
                  <a:lnTo>
                    <a:pt x="21" y="129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6"/>
                  </a:lnTo>
                  <a:lnTo>
                    <a:pt x="15" y="123"/>
                  </a:lnTo>
                  <a:lnTo>
                    <a:pt x="12" y="120"/>
                  </a:lnTo>
                  <a:lnTo>
                    <a:pt x="15" y="117"/>
                  </a:lnTo>
                  <a:lnTo>
                    <a:pt x="15" y="114"/>
                  </a:lnTo>
                  <a:lnTo>
                    <a:pt x="15" y="111"/>
                  </a:lnTo>
                  <a:lnTo>
                    <a:pt x="12" y="111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6" y="102"/>
                  </a:lnTo>
                  <a:lnTo>
                    <a:pt x="3" y="102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3" y="66"/>
                  </a:lnTo>
                  <a:lnTo>
                    <a:pt x="3" y="63"/>
                  </a:lnTo>
                  <a:lnTo>
                    <a:pt x="6" y="57"/>
                  </a:lnTo>
                  <a:lnTo>
                    <a:pt x="9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18" y="45"/>
                  </a:lnTo>
                  <a:lnTo>
                    <a:pt x="18" y="42"/>
                  </a:lnTo>
                  <a:lnTo>
                    <a:pt x="18" y="39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1" y="33"/>
                  </a:lnTo>
                  <a:lnTo>
                    <a:pt x="24" y="33"/>
                  </a:lnTo>
                  <a:lnTo>
                    <a:pt x="24" y="30"/>
                  </a:lnTo>
                  <a:lnTo>
                    <a:pt x="24" y="27"/>
                  </a:lnTo>
                  <a:lnTo>
                    <a:pt x="27" y="24"/>
                  </a:lnTo>
                  <a:lnTo>
                    <a:pt x="27" y="18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42" y="3"/>
                  </a:lnTo>
                  <a:lnTo>
                    <a:pt x="51" y="0"/>
                  </a:lnTo>
                  <a:lnTo>
                    <a:pt x="54" y="3"/>
                  </a:lnTo>
                  <a:lnTo>
                    <a:pt x="57" y="6"/>
                  </a:lnTo>
                  <a:lnTo>
                    <a:pt x="63" y="9"/>
                  </a:lnTo>
                  <a:lnTo>
                    <a:pt x="72" y="15"/>
                  </a:lnTo>
                  <a:lnTo>
                    <a:pt x="75" y="15"/>
                  </a:lnTo>
                  <a:lnTo>
                    <a:pt x="78" y="21"/>
                  </a:lnTo>
                  <a:lnTo>
                    <a:pt x="81" y="21"/>
                  </a:lnTo>
                  <a:lnTo>
                    <a:pt x="87" y="24"/>
                  </a:lnTo>
                  <a:lnTo>
                    <a:pt x="90" y="27"/>
                  </a:lnTo>
                  <a:lnTo>
                    <a:pt x="96" y="24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99" name="Freeform 35">
              <a:extLst>
                <a:ext uri="{FF2B5EF4-FFF2-40B4-BE49-F238E27FC236}">
                  <a16:creationId xmlns:a16="http://schemas.microsoft.com/office/drawing/2014/main" id="{FE3C8620-6ACF-4A47-90C8-E0E6856A38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48125" y="3025775"/>
              <a:ext cx="895350" cy="755650"/>
            </a:xfrm>
            <a:custGeom>
              <a:avLst/>
              <a:gdLst>
                <a:gd name="T0" fmla="*/ 583156 w 456"/>
                <a:gd name="T1" fmla="*/ 11807 h 384"/>
                <a:gd name="T2" fmla="*/ 612608 w 456"/>
                <a:gd name="T3" fmla="*/ 29518 h 384"/>
                <a:gd name="T4" fmla="*/ 642060 w 456"/>
                <a:gd name="T5" fmla="*/ 41325 h 384"/>
                <a:gd name="T6" fmla="*/ 671513 w 456"/>
                <a:gd name="T7" fmla="*/ 59035 h 384"/>
                <a:gd name="T8" fmla="*/ 695074 w 456"/>
                <a:gd name="T9" fmla="*/ 70842 h 384"/>
                <a:gd name="T10" fmla="*/ 718636 w 456"/>
                <a:gd name="T11" fmla="*/ 53132 h 384"/>
                <a:gd name="T12" fmla="*/ 748088 w 456"/>
                <a:gd name="T13" fmla="*/ 64939 h 384"/>
                <a:gd name="T14" fmla="*/ 777541 w 456"/>
                <a:gd name="T15" fmla="*/ 76746 h 384"/>
                <a:gd name="T16" fmla="*/ 812884 w 456"/>
                <a:gd name="T17" fmla="*/ 94456 h 384"/>
                <a:gd name="T18" fmla="*/ 854117 w 456"/>
                <a:gd name="T19" fmla="*/ 129877 h 384"/>
                <a:gd name="T20" fmla="*/ 883569 w 456"/>
                <a:gd name="T21" fmla="*/ 141684 h 384"/>
                <a:gd name="T22" fmla="*/ 889460 w 456"/>
                <a:gd name="T23" fmla="*/ 177105 h 384"/>
                <a:gd name="T24" fmla="*/ 883569 w 456"/>
                <a:gd name="T25" fmla="*/ 218430 h 384"/>
                <a:gd name="T26" fmla="*/ 871788 w 456"/>
                <a:gd name="T27" fmla="*/ 283369 h 384"/>
                <a:gd name="T28" fmla="*/ 830555 w 456"/>
                <a:gd name="T29" fmla="*/ 312886 h 384"/>
                <a:gd name="T30" fmla="*/ 801103 w 456"/>
                <a:gd name="T31" fmla="*/ 348307 h 384"/>
                <a:gd name="T32" fmla="*/ 759869 w 456"/>
                <a:gd name="T33" fmla="*/ 360114 h 384"/>
                <a:gd name="T34" fmla="*/ 724527 w 456"/>
                <a:gd name="T35" fmla="*/ 377825 h 384"/>
                <a:gd name="T36" fmla="*/ 671513 w 456"/>
                <a:gd name="T37" fmla="*/ 366018 h 384"/>
                <a:gd name="T38" fmla="*/ 624389 w 456"/>
                <a:gd name="T39" fmla="*/ 389632 h 384"/>
                <a:gd name="T40" fmla="*/ 600827 w 456"/>
                <a:gd name="T41" fmla="*/ 407343 h 384"/>
                <a:gd name="T42" fmla="*/ 577265 w 456"/>
                <a:gd name="T43" fmla="*/ 413246 h 384"/>
                <a:gd name="T44" fmla="*/ 553703 w 456"/>
                <a:gd name="T45" fmla="*/ 430957 h 384"/>
                <a:gd name="T46" fmla="*/ 541922 w 456"/>
                <a:gd name="T47" fmla="*/ 460474 h 384"/>
                <a:gd name="T48" fmla="*/ 518361 w 456"/>
                <a:gd name="T49" fmla="*/ 489992 h 384"/>
                <a:gd name="T50" fmla="*/ 488908 w 456"/>
                <a:gd name="T51" fmla="*/ 525413 h 384"/>
                <a:gd name="T52" fmla="*/ 459456 w 456"/>
                <a:gd name="T53" fmla="*/ 549027 h 384"/>
                <a:gd name="T54" fmla="*/ 453565 w 456"/>
                <a:gd name="T55" fmla="*/ 572641 h 384"/>
                <a:gd name="T56" fmla="*/ 488908 w 456"/>
                <a:gd name="T57" fmla="*/ 631676 h 384"/>
                <a:gd name="T58" fmla="*/ 500689 w 456"/>
                <a:gd name="T59" fmla="*/ 673001 h 384"/>
                <a:gd name="T60" fmla="*/ 500689 w 456"/>
                <a:gd name="T61" fmla="*/ 690711 h 384"/>
                <a:gd name="T62" fmla="*/ 500689 w 456"/>
                <a:gd name="T63" fmla="*/ 708422 h 384"/>
                <a:gd name="T64" fmla="*/ 471237 w 456"/>
                <a:gd name="T65" fmla="*/ 720229 h 384"/>
                <a:gd name="T66" fmla="*/ 447675 w 456"/>
                <a:gd name="T67" fmla="*/ 737939 h 384"/>
                <a:gd name="T68" fmla="*/ 394661 w 456"/>
                <a:gd name="T69" fmla="*/ 749746 h 384"/>
                <a:gd name="T70" fmla="*/ 353428 w 456"/>
                <a:gd name="T71" fmla="*/ 732036 h 384"/>
                <a:gd name="T72" fmla="*/ 318085 w 456"/>
                <a:gd name="T73" fmla="*/ 726132 h 384"/>
                <a:gd name="T74" fmla="*/ 282742 w 456"/>
                <a:gd name="T75" fmla="*/ 720229 h 384"/>
                <a:gd name="T76" fmla="*/ 253290 w 456"/>
                <a:gd name="T77" fmla="*/ 743843 h 384"/>
                <a:gd name="T78" fmla="*/ 212057 w 456"/>
                <a:gd name="T79" fmla="*/ 743843 h 384"/>
                <a:gd name="T80" fmla="*/ 159042 w 456"/>
                <a:gd name="T81" fmla="*/ 726132 h 384"/>
                <a:gd name="T82" fmla="*/ 117809 w 456"/>
                <a:gd name="T83" fmla="*/ 690711 h 384"/>
                <a:gd name="T84" fmla="*/ 88357 w 456"/>
                <a:gd name="T85" fmla="*/ 655290 h 384"/>
                <a:gd name="T86" fmla="*/ 53014 w 456"/>
                <a:gd name="T87" fmla="*/ 608062 h 384"/>
                <a:gd name="T88" fmla="*/ 17671 w 456"/>
                <a:gd name="T89" fmla="*/ 590352 h 384"/>
                <a:gd name="T90" fmla="*/ 29452 w 456"/>
                <a:gd name="T91" fmla="*/ 501799 h 384"/>
                <a:gd name="T92" fmla="*/ 70686 w 456"/>
                <a:gd name="T93" fmla="*/ 413246 h 384"/>
                <a:gd name="T94" fmla="*/ 82466 w 456"/>
                <a:gd name="T95" fmla="*/ 342404 h 384"/>
                <a:gd name="T96" fmla="*/ 106028 w 456"/>
                <a:gd name="T97" fmla="*/ 295176 h 384"/>
                <a:gd name="T98" fmla="*/ 135481 w 456"/>
                <a:gd name="T99" fmla="*/ 230237 h 384"/>
                <a:gd name="T100" fmla="*/ 170823 w 456"/>
                <a:gd name="T101" fmla="*/ 200720 h 384"/>
                <a:gd name="T102" fmla="*/ 223838 w 456"/>
                <a:gd name="T103" fmla="*/ 177105 h 384"/>
                <a:gd name="T104" fmla="*/ 276852 w 456"/>
                <a:gd name="T105" fmla="*/ 177105 h 384"/>
                <a:gd name="T106" fmla="*/ 294523 w 456"/>
                <a:gd name="T107" fmla="*/ 165298 h 384"/>
                <a:gd name="T108" fmla="*/ 329866 w 456"/>
                <a:gd name="T109" fmla="*/ 135781 h 384"/>
                <a:gd name="T110" fmla="*/ 347537 w 456"/>
                <a:gd name="T111" fmla="*/ 118070 h 384"/>
                <a:gd name="T112" fmla="*/ 353428 w 456"/>
                <a:gd name="T113" fmla="*/ 82649 h 384"/>
                <a:gd name="T114" fmla="*/ 394661 w 456"/>
                <a:gd name="T115" fmla="*/ 53132 h 384"/>
                <a:gd name="T116" fmla="*/ 430004 w 456"/>
                <a:gd name="T117" fmla="*/ 47228 h 384"/>
                <a:gd name="T118" fmla="*/ 471237 w 456"/>
                <a:gd name="T119" fmla="*/ 47228 h 384"/>
                <a:gd name="T120" fmla="*/ 500689 w 456"/>
                <a:gd name="T121" fmla="*/ 41325 h 384"/>
                <a:gd name="T122" fmla="*/ 536032 w 456"/>
                <a:gd name="T123" fmla="*/ 11807 h 38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6" h="384">
                  <a:moveTo>
                    <a:pt x="273" y="6"/>
                  </a:moveTo>
                  <a:lnTo>
                    <a:pt x="276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82" y="9"/>
                  </a:lnTo>
                  <a:lnTo>
                    <a:pt x="285" y="9"/>
                  </a:lnTo>
                  <a:lnTo>
                    <a:pt x="288" y="9"/>
                  </a:lnTo>
                  <a:lnTo>
                    <a:pt x="288" y="12"/>
                  </a:lnTo>
                  <a:lnTo>
                    <a:pt x="288" y="9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3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09" y="9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27" y="24"/>
                  </a:lnTo>
                  <a:lnTo>
                    <a:pt x="327" y="21"/>
                  </a:lnTo>
                  <a:lnTo>
                    <a:pt x="327" y="18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4"/>
                  </a:lnTo>
                  <a:lnTo>
                    <a:pt x="336" y="24"/>
                  </a:lnTo>
                  <a:lnTo>
                    <a:pt x="336" y="27"/>
                  </a:lnTo>
                  <a:lnTo>
                    <a:pt x="336" y="24"/>
                  </a:lnTo>
                  <a:lnTo>
                    <a:pt x="339" y="24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5" y="27"/>
                  </a:lnTo>
                  <a:lnTo>
                    <a:pt x="348" y="30"/>
                  </a:lnTo>
                  <a:lnTo>
                    <a:pt x="348" y="27"/>
                  </a:lnTo>
                  <a:lnTo>
                    <a:pt x="351" y="27"/>
                  </a:lnTo>
                  <a:lnTo>
                    <a:pt x="351" y="30"/>
                  </a:lnTo>
                  <a:lnTo>
                    <a:pt x="351" y="33"/>
                  </a:lnTo>
                  <a:lnTo>
                    <a:pt x="354" y="33"/>
                  </a:lnTo>
                  <a:lnTo>
                    <a:pt x="354" y="36"/>
                  </a:lnTo>
                  <a:lnTo>
                    <a:pt x="351" y="36"/>
                  </a:lnTo>
                  <a:lnTo>
                    <a:pt x="354" y="36"/>
                  </a:lnTo>
                  <a:lnTo>
                    <a:pt x="354" y="33"/>
                  </a:lnTo>
                  <a:lnTo>
                    <a:pt x="357" y="33"/>
                  </a:lnTo>
                  <a:lnTo>
                    <a:pt x="360" y="33"/>
                  </a:lnTo>
                  <a:lnTo>
                    <a:pt x="360" y="30"/>
                  </a:lnTo>
                  <a:lnTo>
                    <a:pt x="360" y="33"/>
                  </a:lnTo>
                  <a:lnTo>
                    <a:pt x="363" y="33"/>
                  </a:lnTo>
                  <a:lnTo>
                    <a:pt x="363" y="30"/>
                  </a:lnTo>
                  <a:lnTo>
                    <a:pt x="360" y="30"/>
                  </a:lnTo>
                  <a:lnTo>
                    <a:pt x="360" y="27"/>
                  </a:lnTo>
                  <a:lnTo>
                    <a:pt x="363" y="27"/>
                  </a:lnTo>
                  <a:lnTo>
                    <a:pt x="366" y="27"/>
                  </a:lnTo>
                  <a:lnTo>
                    <a:pt x="369" y="27"/>
                  </a:lnTo>
                  <a:lnTo>
                    <a:pt x="369" y="30"/>
                  </a:lnTo>
                  <a:lnTo>
                    <a:pt x="372" y="30"/>
                  </a:lnTo>
                  <a:lnTo>
                    <a:pt x="372" y="33"/>
                  </a:lnTo>
                  <a:lnTo>
                    <a:pt x="375" y="33"/>
                  </a:lnTo>
                  <a:lnTo>
                    <a:pt x="375" y="30"/>
                  </a:lnTo>
                  <a:lnTo>
                    <a:pt x="375" y="33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1" y="36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1" y="33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7" y="30"/>
                  </a:lnTo>
                  <a:lnTo>
                    <a:pt x="390" y="30"/>
                  </a:lnTo>
                  <a:lnTo>
                    <a:pt x="393" y="30"/>
                  </a:lnTo>
                  <a:lnTo>
                    <a:pt x="393" y="33"/>
                  </a:lnTo>
                  <a:lnTo>
                    <a:pt x="396" y="33"/>
                  </a:lnTo>
                  <a:lnTo>
                    <a:pt x="396" y="30"/>
                  </a:lnTo>
                  <a:lnTo>
                    <a:pt x="396" y="33"/>
                  </a:lnTo>
                  <a:lnTo>
                    <a:pt x="396" y="36"/>
                  </a:lnTo>
                  <a:lnTo>
                    <a:pt x="399" y="36"/>
                  </a:lnTo>
                  <a:lnTo>
                    <a:pt x="396" y="36"/>
                  </a:lnTo>
                  <a:lnTo>
                    <a:pt x="396" y="39"/>
                  </a:lnTo>
                  <a:lnTo>
                    <a:pt x="399" y="39"/>
                  </a:lnTo>
                  <a:lnTo>
                    <a:pt x="399" y="42"/>
                  </a:lnTo>
                  <a:lnTo>
                    <a:pt x="399" y="45"/>
                  </a:lnTo>
                  <a:lnTo>
                    <a:pt x="402" y="45"/>
                  </a:lnTo>
                  <a:lnTo>
                    <a:pt x="402" y="48"/>
                  </a:lnTo>
                  <a:lnTo>
                    <a:pt x="402" y="45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08" y="45"/>
                  </a:lnTo>
                  <a:lnTo>
                    <a:pt x="411" y="45"/>
                  </a:lnTo>
                  <a:lnTo>
                    <a:pt x="411" y="48"/>
                  </a:lnTo>
                  <a:lnTo>
                    <a:pt x="414" y="48"/>
                  </a:lnTo>
                  <a:lnTo>
                    <a:pt x="417" y="48"/>
                  </a:lnTo>
                  <a:lnTo>
                    <a:pt x="417" y="51"/>
                  </a:lnTo>
                  <a:lnTo>
                    <a:pt x="420" y="51"/>
                  </a:lnTo>
                  <a:lnTo>
                    <a:pt x="420" y="54"/>
                  </a:lnTo>
                  <a:lnTo>
                    <a:pt x="423" y="54"/>
                  </a:lnTo>
                  <a:lnTo>
                    <a:pt x="426" y="54"/>
                  </a:lnTo>
                  <a:lnTo>
                    <a:pt x="429" y="54"/>
                  </a:lnTo>
                  <a:lnTo>
                    <a:pt x="429" y="57"/>
                  </a:lnTo>
                  <a:lnTo>
                    <a:pt x="432" y="57"/>
                  </a:lnTo>
                  <a:lnTo>
                    <a:pt x="432" y="60"/>
                  </a:lnTo>
                  <a:lnTo>
                    <a:pt x="432" y="63"/>
                  </a:lnTo>
                  <a:lnTo>
                    <a:pt x="435" y="63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35" y="66"/>
                  </a:lnTo>
                  <a:lnTo>
                    <a:pt x="438" y="66"/>
                  </a:lnTo>
                  <a:lnTo>
                    <a:pt x="438" y="69"/>
                  </a:lnTo>
                  <a:lnTo>
                    <a:pt x="438" y="72"/>
                  </a:lnTo>
                  <a:lnTo>
                    <a:pt x="441" y="72"/>
                  </a:lnTo>
                  <a:lnTo>
                    <a:pt x="441" y="75"/>
                  </a:lnTo>
                  <a:lnTo>
                    <a:pt x="441" y="78"/>
                  </a:lnTo>
                  <a:lnTo>
                    <a:pt x="444" y="78"/>
                  </a:lnTo>
                  <a:lnTo>
                    <a:pt x="447" y="78"/>
                  </a:lnTo>
                  <a:lnTo>
                    <a:pt x="450" y="78"/>
                  </a:lnTo>
                  <a:lnTo>
                    <a:pt x="450" y="75"/>
                  </a:lnTo>
                  <a:lnTo>
                    <a:pt x="450" y="72"/>
                  </a:lnTo>
                  <a:lnTo>
                    <a:pt x="453" y="72"/>
                  </a:lnTo>
                  <a:lnTo>
                    <a:pt x="456" y="72"/>
                  </a:lnTo>
                  <a:lnTo>
                    <a:pt x="453" y="72"/>
                  </a:lnTo>
                  <a:lnTo>
                    <a:pt x="453" y="75"/>
                  </a:lnTo>
                  <a:lnTo>
                    <a:pt x="450" y="75"/>
                  </a:lnTo>
                  <a:lnTo>
                    <a:pt x="453" y="75"/>
                  </a:lnTo>
                  <a:lnTo>
                    <a:pt x="450" y="78"/>
                  </a:lnTo>
                  <a:lnTo>
                    <a:pt x="453" y="81"/>
                  </a:lnTo>
                  <a:lnTo>
                    <a:pt x="456" y="81"/>
                  </a:lnTo>
                  <a:lnTo>
                    <a:pt x="456" y="84"/>
                  </a:lnTo>
                  <a:lnTo>
                    <a:pt x="456" y="87"/>
                  </a:lnTo>
                  <a:lnTo>
                    <a:pt x="453" y="87"/>
                  </a:lnTo>
                  <a:lnTo>
                    <a:pt x="453" y="90"/>
                  </a:lnTo>
                  <a:lnTo>
                    <a:pt x="450" y="90"/>
                  </a:lnTo>
                  <a:lnTo>
                    <a:pt x="447" y="90"/>
                  </a:lnTo>
                  <a:lnTo>
                    <a:pt x="447" y="93"/>
                  </a:lnTo>
                  <a:lnTo>
                    <a:pt x="450" y="96"/>
                  </a:lnTo>
                  <a:lnTo>
                    <a:pt x="450" y="99"/>
                  </a:lnTo>
                  <a:lnTo>
                    <a:pt x="450" y="102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3" y="108"/>
                  </a:lnTo>
                  <a:lnTo>
                    <a:pt x="450" y="108"/>
                  </a:lnTo>
                  <a:lnTo>
                    <a:pt x="450" y="111"/>
                  </a:lnTo>
                  <a:lnTo>
                    <a:pt x="450" y="114"/>
                  </a:lnTo>
                  <a:lnTo>
                    <a:pt x="450" y="117"/>
                  </a:lnTo>
                  <a:lnTo>
                    <a:pt x="447" y="117"/>
                  </a:lnTo>
                  <a:lnTo>
                    <a:pt x="447" y="120"/>
                  </a:lnTo>
                  <a:lnTo>
                    <a:pt x="447" y="123"/>
                  </a:lnTo>
                  <a:lnTo>
                    <a:pt x="444" y="123"/>
                  </a:lnTo>
                  <a:lnTo>
                    <a:pt x="444" y="126"/>
                  </a:lnTo>
                  <a:lnTo>
                    <a:pt x="444" y="129"/>
                  </a:lnTo>
                  <a:lnTo>
                    <a:pt x="447" y="132"/>
                  </a:lnTo>
                  <a:lnTo>
                    <a:pt x="447" y="135"/>
                  </a:lnTo>
                  <a:lnTo>
                    <a:pt x="447" y="138"/>
                  </a:lnTo>
                  <a:lnTo>
                    <a:pt x="447" y="141"/>
                  </a:lnTo>
                  <a:lnTo>
                    <a:pt x="444" y="144"/>
                  </a:lnTo>
                  <a:lnTo>
                    <a:pt x="444" y="147"/>
                  </a:lnTo>
                  <a:lnTo>
                    <a:pt x="441" y="147"/>
                  </a:lnTo>
                  <a:lnTo>
                    <a:pt x="441" y="150"/>
                  </a:lnTo>
                  <a:lnTo>
                    <a:pt x="438" y="150"/>
                  </a:lnTo>
                  <a:lnTo>
                    <a:pt x="435" y="150"/>
                  </a:lnTo>
                  <a:lnTo>
                    <a:pt x="432" y="150"/>
                  </a:lnTo>
                  <a:lnTo>
                    <a:pt x="432" y="153"/>
                  </a:lnTo>
                  <a:lnTo>
                    <a:pt x="429" y="153"/>
                  </a:lnTo>
                  <a:lnTo>
                    <a:pt x="429" y="156"/>
                  </a:lnTo>
                  <a:lnTo>
                    <a:pt x="426" y="156"/>
                  </a:lnTo>
                  <a:lnTo>
                    <a:pt x="426" y="159"/>
                  </a:lnTo>
                  <a:lnTo>
                    <a:pt x="426" y="162"/>
                  </a:lnTo>
                  <a:lnTo>
                    <a:pt x="423" y="159"/>
                  </a:lnTo>
                  <a:lnTo>
                    <a:pt x="423" y="162"/>
                  </a:lnTo>
                  <a:lnTo>
                    <a:pt x="420" y="162"/>
                  </a:lnTo>
                  <a:lnTo>
                    <a:pt x="417" y="165"/>
                  </a:lnTo>
                  <a:lnTo>
                    <a:pt x="420" y="165"/>
                  </a:lnTo>
                  <a:lnTo>
                    <a:pt x="417" y="165"/>
                  </a:lnTo>
                  <a:lnTo>
                    <a:pt x="417" y="168"/>
                  </a:lnTo>
                  <a:lnTo>
                    <a:pt x="414" y="165"/>
                  </a:lnTo>
                  <a:lnTo>
                    <a:pt x="411" y="165"/>
                  </a:lnTo>
                  <a:lnTo>
                    <a:pt x="411" y="168"/>
                  </a:lnTo>
                  <a:lnTo>
                    <a:pt x="408" y="171"/>
                  </a:lnTo>
                  <a:lnTo>
                    <a:pt x="408" y="174"/>
                  </a:lnTo>
                  <a:lnTo>
                    <a:pt x="411" y="174"/>
                  </a:lnTo>
                  <a:lnTo>
                    <a:pt x="408" y="177"/>
                  </a:lnTo>
                  <a:lnTo>
                    <a:pt x="405" y="177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2" y="180"/>
                  </a:lnTo>
                  <a:lnTo>
                    <a:pt x="402" y="177"/>
                  </a:lnTo>
                  <a:lnTo>
                    <a:pt x="399" y="177"/>
                  </a:lnTo>
                  <a:lnTo>
                    <a:pt x="396" y="177"/>
                  </a:lnTo>
                  <a:lnTo>
                    <a:pt x="393" y="177"/>
                  </a:lnTo>
                  <a:lnTo>
                    <a:pt x="393" y="180"/>
                  </a:lnTo>
                  <a:lnTo>
                    <a:pt x="390" y="180"/>
                  </a:lnTo>
                  <a:lnTo>
                    <a:pt x="387" y="183"/>
                  </a:lnTo>
                  <a:lnTo>
                    <a:pt x="390" y="183"/>
                  </a:lnTo>
                  <a:lnTo>
                    <a:pt x="387" y="183"/>
                  </a:lnTo>
                  <a:lnTo>
                    <a:pt x="387" y="186"/>
                  </a:lnTo>
                  <a:lnTo>
                    <a:pt x="384" y="189"/>
                  </a:lnTo>
                  <a:lnTo>
                    <a:pt x="384" y="192"/>
                  </a:lnTo>
                  <a:lnTo>
                    <a:pt x="381" y="195"/>
                  </a:lnTo>
                  <a:lnTo>
                    <a:pt x="381" y="198"/>
                  </a:lnTo>
                  <a:lnTo>
                    <a:pt x="378" y="198"/>
                  </a:lnTo>
                  <a:lnTo>
                    <a:pt x="375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2" y="192"/>
                  </a:lnTo>
                  <a:lnTo>
                    <a:pt x="372" y="189"/>
                  </a:lnTo>
                  <a:lnTo>
                    <a:pt x="369" y="189"/>
                  </a:lnTo>
                  <a:lnTo>
                    <a:pt x="369" y="192"/>
                  </a:lnTo>
                  <a:lnTo>
                    <a:pt x="369" y="189"/>
                  </a:lnTo>
                  <a:lnTo>
                    <a:pt x="366" y="189"/>
                  </a:lnTo>
                  <a:lnTo>
                    <a:pt x="366" y="186"/>
                  </a:lnTo>
                  <a:lnTo>
                    <a:pt x="366" y="183"/>
                  </a:lnTo>
                  <a:lnTo>
                    <a:pt x="366" y="180"/>
                  </a:lnTo>
                  <a:lnTo>
                    <a:pt x="363" y="180"/>
                  </a:lnTo>
                  <a:lnTo>
                    <a:pt x="360" y="180"/>
                  </a:lnTo>
                  <a:lnTo>
                    <a:pt x="360" y="183"/>
                  </a:lnTo>
                  <a:lnTo>
                    <a:pt x="357" y="183"/>
                  </a:lnTo>
                  <a:lnTo>
                    <a:pt x="354" y="183"/>
                  </a:lnTo>
                  <a:lnTo>
                    <a:pt x="351" y="183"/>
                  </a:lnTo>
                  <a:lnTo>
                    <a:pt x="348" y="183"/>
                  </a:lnTo>
                  <a:lnTo>
                    <a:pt x="342" y="186"/>
                  </a:lnTo>
                  <a:lnTo>
                    <a:pt x="342" y="183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9" y="189"/>
                  </a:lnTo>
                  <a:lnTo>
                    <a:pt x="336" y="192"/>
                  </a:lnTo>
                  <a:lnTo>
                    <a:pt x="333" y="192"/>
                  </a:lnTo>
                  <a:lnTo>
                    <a:pt x="330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5"/>
                  </a:lnTo>
                  <a:lnTo>
                    <a:pt x="318" y="195"/>
                  </a:lnTo>
                  <a:lnTo>
                    <a:pt x="318" y="198"/>
                  </a:lnTo>
                  <a:lnTo>
                    <a:pt x="315" y="198"/>
                  </a:lnTo>
                  <a:lnTo>
                    <a:pt x="315" y="201"/>
                  </a:lnTo>
                  <a:lnTo>
                    <a:pt x="315" y="204"/>
                  </a:lnTo>
                  <a:lnTo>
                    <a:pt x="312" y="204"/>
                  </a:lnTo>
                  <a:lnTo>
                    <a:pt x="312" y="207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6" y="207"/>
                  </a:lnTo>
                  <a:lnTo>
                    <a:pt x="306" y="210"/>
                  </a:lnTo>
                  <a:lnTo>
                    <a:pt x="306" y="207"/>
                  </a:lnTo>
                  <a:lnTo>
                    <a:pt x="303" y="207"/>
                  </a:lnTo>
                  <a:lnTo>
                    <a:pt x="300" y="207"/>
                  </a:lnTo>
                  <a:lnTo>
                    <a:pt x="300" y="210"/>
                  </a:lnTo>
                  <a:lnTo>
                    <a:pt x="297" y="210"/>
                  </a:lnTo>
                  <a:lnTo>
                    <a:pt x="300" y="210"/>
                  </a:lnTo>
                  <a:lnTo>
                    <a:pt x="300" y="213"/>
                  </a:lnTo>
                  <a:lnTo>
                    <a:pt x="297" y="213"/>
                  </a:lnTo>
                  <a:lnTo>
                    <a:pt x="297" y="210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1" y="213"/>
                  </a:lnTo>
                  <a:lnTo>
                    <a:pt x="291" y="210"/>
                  </a:lnTo>
                  <a:lnTo>
                    <a:pt x="288" y="210"/>
                  </a:lnTo>
                  <a:lnTo>
                    <a:pt x="288" y="213"/>
                  </a:lnTo>
                  <a:lnTo>
                    <a:pt x="288" y="216"/>
                  </a:lnTo>
                  <a:lnTo>
                    <a:pt x="288" y="213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9"/>
                  </a:lnTo>
                  <a:lnTo>
                    <a:pt x="282" y="219"/>
                  </a:lnTo>
                  <a:lnTo>
                    <a:pt x="285" y="219"/>
                  </a:lnTo>
                  <a:lnTo>
                    <a:pt x="285" y="222"/>
                  </a:lnTo>
                  <a:lnTo>
                    <a:pt x="282" y="222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9" y="228"/>
                  </a:lnTo>
                  <a:lnTo>
                    <a:pt x="282" y="228"/>
                  </a:lnTo>
                  <a:lnTo>
                    <a:pt x="279" y="228"/>
                  </a:lnTo>
                  <a:lnTo>
                    <a:pt x="276" y="228"/>
                  </a:lnTo>
                  <a:lnTo>
                    <a:pt x="279" y="228"/>
                  </a:lnTo>
                  <a:lnTo>
                    <a:pt x="279" y="231"/>
                  </a:lnTo>
                  <a:lnTo>
                    <a:pt x="276" y="231"/>
                  </a:lnTo>
                  <a:lnTo>
                    <a:pt x="276" y="234"/>
                  </a:lnTo>
                  <a:lnTo>
                    <a:pt x="273" y="234"/>
                  </a:lnTo>
                  <a:lnTo>
                    <a:pt x="276" y="234"/>
                  </a:lnTo>
                  <a:lnTo>
                    <a:pt x="276" y="237"/>
                  </a:lnTo>
                  <a:lnTo>
                    <a:pt x="273" y="237"/>
                  </a:lnTo>
                  <a:lnTo>
                    <a:pt x="270" y="237"/>
                  </a:lnTo>
                  <a:lnTo>
                    <a:pt x="270" y="240"/>
                  </a:lnTo>
                  <a:lnTo>
                    <a:pt x="267" y="240"/>
                  </a:lnTo>
                  <a:lnTo>
                    <a:pt x="267" y="243"/>
                  </a:lnTo>
                  <a:lnTo>
                    <a:pt x="270" y="243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1" y="249"/>
                  </a:lnTo>
                  <a:lnTo>
                    <a:pt x="264" y="249"/>
                  </a:lnTo>
                  <a:lnTo>
                    <a:pt x="264" y="252"/>
                  </a:lnTo>
                  <a:lnTo>
                    <a:pt x="261" y="252"/>
                  </a:lnTo>
                  <a:lnTo>
                    <a:pt x="261" y="255"/>
                  </a:lnTo>
                  <a:lnTo>
                    <a:pt x="258" y="255"/>
                  </a:lnTo>
                  <a:lnTo>
                    <a:pt x="258" y="258"/>
                  </a:lnTo>
                  <a:lnTo>
                    <a:pt x="258" y="261"/>
                  </a:lnTo>
                  <a:lnTo>
                    <a:pt x="255" y="261"/>
                  </a:lnTo>
                  <a:lnTo>
                    <a:pt x="255" y="264"/>
                  </a:lnTo>
                  <a:lnTo>
                    <a:pt x="255" y="267"/>
                  </a:lnTo>
                  <a:lnTo>
                    <a:pt x="252" y="267"/>
                  </a:lnTo>
                  <a:lnTo>
                    <a:pt x="249" y="267"/>
                  </a:lnTo>
                  <a:lnTo>
                    <a:pt x="249" y="270"/>
                  </a:lnTo>
                  <a:lnTo>
                    <a:pt x="249" y="273"/>
                  </a:lnTo>
                  <a:lnTo>
                    <a:pt x="249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6"/>
                  </a:lnTo>
                  <a:lnTo>
                    <a:pt x="237" y="276"/>
                  </a:lnTo>
                  <a:lnTo>
                    <a:pt x="237" y="273"/>
                  </a:lnTo>
                  <a:lnTo>
                    <a:pt x="237" y="276"/>
                  </a:lnTo>
                  <a:lnTo>
                    <a:pt x="234" y="276"/>
                  </a:lnTo>
                  <a:lnTo>
                    <a:pt x="234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28" y="282"/>
                  </a:lnTo>
                  <a:lnTo>
                    <a:pt x="228" y="279"/>
                  </a:lnTo>
                  <a:lnTo>
                    <a:pt x="225" y="279"/>
                  </a:lnTo>
                  <a:lnTo>
                    <a:pt x="225" y="282"/>
                  </a:lnTo>
                  <a:lnTo>
                    <a:pt x="225" y="285"/>
                  </a:lnTo>
                  <a:lnTo>
                    <a:pt x="228" y="285"/>
                  </a:lnTo>
                  <a:lnTo>
                    <a:pt x="228" y="288"/>
                  </a:lnTo>
                  <a:lnTo>
                    <a:pt x="231" y="288"/>
                  </a:lnTo>
                  <a:lnTo>
                    <a:pt x="231" y="291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7" y="300"/>
                  </a:lnTo>
                  <a:lnTo>
                    <a:pt x="237" y="303"/>
                  </a:lnTo>
                  <a:lnTo>
                    <a:pt x="237" y="306"/>
                  </a:lnTo>
                  <a:lnTo>
                    <a:pt x="240" y="306"/>
                  </a:lnTo>
                  <a:lnTo>
                    <a:pt x="240" y="309"/>
                  </a:lnTo>
                  <a:lnTo>
                    <a:pt x="240" y="312"/>
                  </a:lnTo>
                  <a:lnTo>
                    <a:pt x="243" y="315"/>
                  </a:lnTo>
                  <a:lnTo>
                    <a:pt x="243" y="318"/>
                  </a:lnTo>
                  <a:lnTo>
                    <a:pt x="246" y="318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4"/>
                  </a:lnTo>
                  <a:lnTo>
                    <a:pt x="249" y="327"/>
                  </a:lnTo>
                  <a:lnTo>
                    <a:pt x="249" y="330"/>
                  </a:lnTo>
                  <a:lnTo>
                    <a:pt x="252" y="330"/>
                  </a:lnTo>
                  <a:lnTo>
                    <a:pt x="255" y="330"/>
                  </a:lnTo>
                  <a:lnTo>
                    <a:pt x="258" y="330"/>
                  </a:lnTo>
                  <a:lnTo>
                    <a:pt x="258" y="333"/>
                  </a:lnTo>
                  <a:lnTo>
                    <a:pt x="255" y="333"/>
                  </a:lnTo>
                  <a:lnTo>
                    <a:pt x="255" y="336"/>
                  </a:lnTo>
                  <a:lnTo>
                    <a:pt x="255" y="339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2" y="348"/>
                  </a:lnTo>
                  <a:lnTo>
                    <a:pt x="255" y="348"/>
                  </a:lnTo>
                  <a:lnTo>
                    <a:pt x="255" y="351"/>
                  </a:lnTo>
                  <a:lnTo>
                    <a:pt x="255" y="354"/>
                  </a:lnTo>
                  <a:lnTo>
                    <a:pt x="255" y="351"/>
                  </a:lnTo>
                  <a:lnTo>
                    <a:pt x="258" y="351"/>
                  </a:lnTo>
                  <a:lnTo>
                    <a:pt x="258" y="354"/>
                  </a:lnTo>
                  <a:lnTo>
                    <a:pt x="255" y="354"/>
                  </a:lnTo>
                  <a:lnTo>
                    <a:pt x="255" y="357"/>
                  </a:lnTo>
                  <a:lnTo>
                    <a:pt x="252" y="357"/>
                  </a:lnTo>
                  <a:lnTo>
                    <a:pt x="252" y="354"/>
                  </a:lnTo>
                  <a:lnTo>
                    <a:pt x="252" y="357"/>
                  </a:lnTo>
                  <a:lnTo>
                    <a:pt x="252" y="360"/>
                  </a:lnTo>
                  <a:lnTo>
                    <a:pt x="252" y="357"/>
                  </a:lnTo>
                  <a:lnTo>
                    <a:pt x="255" y="357"/>
                  </a:lnTo>
                  <a:lnTo>
                    <a:pt x="255" y="360"/>
                  </a:lnTo>
                  <a:lnTo>
                    <a:pt x="252" y="360"/>
                  </a:lnTo>
                  <a:lnTo>
                    <a:pt x="249" y="360"/>
                  </a:lnTo>
                  <a:lnTo>
                    <a:pt x="249" y="363"/>
                  </a:lnTo>
                  <a:lnTo>
                    <a:pt x="252" y="363"/>
                  </a:lnTo>
                  <a:lnTo>
                    <a:pt x="249" y="363"/>
                  </a:lnTo>
                  <a:lnTo>
                    <a:pt x="249" y="366"/>
                  </a:lnTo>
                  <a:lnTo>
                    <a:pt x="246" y="366"/>
                  </a:lnTo>
                  <a:lnTo>
                    <a:pt x="246" y="363"/>
                  </a:lnTo>
                  <a:lnTo>
                    <a:pt x="243" y="363"/>
                  </a:lnTo>
                  <a:lnTo>
                    <a:pt x="243" y="366"/>
                  </a:lnTo>
                  <a:lnTo>
                    <a:pt x="243" y="363"/>
                  </a:lnTo>
                  <a:lnTo>
                    <a:pt x="240" y="363"/>
                  </a:lnTo>
                  <a:lnTo>
                    <a:pt x="240" y="366"/>
                  </a:lnTo>
                  <a:lnTo>
                    <a:pt x="240" y="369"/>
                  </a:lnTo>
                  <a:lnTo>
                    <a:pt x="240" y="366"/>
                  </a:lnTo>
                  <a:lnTo>
                    <a:pt x="237" y="366"/>
                  </a:lnTo>
                  <a:lnTo>
                    <a:pt x="234" y="366"/>
                  </a:lnTo>
                  <a:lnTo>
                    <a:pt x="234" y="369"/>
                  </a:lnTo>
                  <a:lnTo>
                    <a:pt x="234" y="372"/>
                  </a:lnTo>
                  <a:lnTo>
                    <a:pt x="231" y="372"/>
                  </a:lnTo>
                  <a:lnTo>
                    <a:pt x="231" y="369"/>
                  </a:lnTo>
                  <a:lnTo>
                    <a:pt x="228" y="369"/>
                  </a:lnTo>
                  <a:lnTo>
                    <a:pt x="225" y="369"/>
                  </a:lnTo>
                  <a:lnTo>
                    <a:pt x="225" y="372"/>
                  </a:lnTo>
                  <a:lnTo>
                    <a:pt x="228" y="372"/>
                  </a:lnTo>
                  <a:lnTo>
                    <a:pt x="228" y="375"/>
                  </a:lnTo>
                  <a:lnTo>
                    <a:pt x="225" y="375"/>
                  </a:lnTo>
                  <a:lnTo>
                    <a:pt x="222" y="375"/>
                  </a:lnTo>
                  <a:lnTo>
                    <a:pt x="219" y="375"/>
                  </a:lnTo>
                  <a:lnTo>
                    <a:pt x="219" y="378"/>
                  </a:lnTo>
                  <a:lnTo>
                    <a:pt x="219" y="381"/>
                  </a:lnTo>
                  <a:lnTo>
                    <a:pt x="216" y="381"/>
                  </a:lnTo>
                  <a:lnTo>
                    <a:pt x="213" y="381"/>
                  </a:lnTo>
                  <a:lnTo>
                    <a:pt x="213" y="384"/>
                  </a:lnTo>
                  <a:lnTo>
                    <a:pt x="210" y="384"/>
                  </a:lnTo>
                  <a:lnTo>
                    <a:pt x="210" y="381"/>
                  </a:lnTo>
                  <a:lnTo>
                    <a:pt x="207" y="378"/>
                  </a:lnTo>
                  <a:lnTo>
                    <a:pt x="204" y="381"/>
                  </a:lnTo>
                  <a:lnTo>
                    <a:pt x="201" y="381"/>
                  </a:lnTo>
                  <a:lnTo>
                    <a:pt x="201" y="384"/>
                  </a:lnTo>
                  <a:lnTo>
                    <a:pt x="198" y="384"/>
                  </a:lnTo>
                  <a:lnTo>
                    <a:pt x="198" y="381"/>
                  </a:lnTo>
                  <a:lnTo>
                    <a:pt x="195" y="381"/>
                  </a:lnTo>
                  <a:lnTo>
                    <a:pt x="195" y="384"/>
                  </a:lnTo>
                  <a:lnTo>
                    <a:pt x="192" y="384"/>
                  </a:lnTo>
                  <a:lnTo>
                    <a:pt x="192" y="381"/>
                  </a:lnTo>
                  <a:lnTo>
                    <a:pt x="189" y="381"/>
                  </a:lnTo>
                  <a:lnTo>
                    <a:pt x="186" y="381"/>
                  </a:lnTo>
                  <a:lnTo>
                    <a:pt x="183" y="378"/>
                  </a:lnTo>
                  <a:lnTo>
                    <a:pt x="180" y="378"/>
                  </a:lnTo>
                  <a:lnTo>
                    <a:pt x="180" y="375"/>
                  </a:lnTo>
                  <a:lnTo>
                    <a:pt x="180" y="372"/>
                  </a:lnTo>
                  <a:lnTo>
                    <a:pt x="177" y="372"/>
                  </a:lnTo>
                  <a:lnTo>
                    <a:pt x="174" y="372"/>
                  </a:lnTo>
                  <a:lnTo>
                    <a:pt x="171" y="372"/>
                  </a:lnTo>
                  <a:lnTo>
                    <a:pt x="171" y="375"/>
                  </a:lnTo>
                  <a:lnTo>
                    <a:pt x="168" y="375"/>
                  </a:lnTo>
                  <a:lnTo>
                    <a:pt x="168" y="372"/>
                  </a:lnTo>
                  <a:lnTo>
                    <a:pt x="165" y="372"/>
                  </a:lnTo>
                  <a:lnTo>
                    <a:pt x="165" y="375"/>
                  </a:lnTo>
                  <a:lnTo>
                    <a:pt x="162" y="375"/>
                  </a:lnTo>
                  <a:lnTo>
                    <a:pt x="162" y="372"/>
                  </a:lnTo>
                  <a:lnTo>
                    <a:pt x="165" y="372"/>
                  </a:lnTo>
                  <a:lnTo>
                    <a:pt x="162" y="372"/>
                  </a:lnTo>
                  <a:lnTo>
                    <a:pt x="162" y="369"/>
                  </a:lnTo>
                  <a:lnTo>
                    <a:pt x="159" y="369"/>
                  </a:lnTo>
                  <a:lnTo>
                    <a:pt x="156" y="369"/>
                  </a:lnTo>
                  <a:lnTo>
                    <a:pt x="156" y="366"/>
                  </a:lnTo>
                  <a:lnTo>
                    <a:pt x="156" y="363"/>
                  </a:lnTo>
                  <a:lnTo>
                    <a:pt x="153" y="363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53" y="366"/>
                  </a:lnTo>
                  <a:lnTo>
                    <a:pt x="153" y="369"/>
                  </a:lnTo>
                  <a:lnTo>
                    <a:pt x="150" y="369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4" y="366"/>
                  </a:lnTo>
                  <a:lnTo>
                    <a:pt x="144" y="369"/>
                  </a:lnTo>
                  <a:lnTo>
                    <a:pt x="141" y="369"/>
                  </a:lnTo>
                  <a:lnTo>
                    <a:pt x="138" y="369"/>
                  </a:lnTo>
                  <a:lnTo>
                    <a:pt x="135" y="369"/>
                  </a:lnTo>
                  <a:lnTo>
                    <a:pt x="135" y="372"/>
                  </a:lnTo>
                  <a:lnTo>
                    <a:pt x="132" y="372"/>
                  </a:lnTo>
                  <a:lnTo>
                    <a:pt x="132" y="369"/>
                  </a:lnTo>
                  <a:lnTo>
                    <a:pt x="129" y="369"/>
                  </a:lnTo>
                  <a:lnTo>
                    <a:pt x="129" y="372"/>
                  </a:lnTo>
                  <a:lnTo>
                    <a:pt x="129" y="375"/>
                  </a:lnTo>
                  <a:lnTo>
                    <a:pt x="132" y="375"/>
                  </a:lnTo>
                  <a:lnTo>
                    <a:pt x="129" y="375"/>
                  </a:lnTo>
                  <a:lnTo>
                    <a:pt x="129" y="378"/>
                  </a:lnTo>
                  <a:lnTo>
                    <a:pt x="126" y="378"/>
                  </a:lnTo>
                  <a:lnTo>
                    <a:pt x="123" y="378"/>
                  </a:lnTo>
                  <a:lnTo>
                    <a:pt x="123" y="381"/>
                  </a:lnTo>
                  <a:lnTo>
                    <a:pt x="120" y="381"/>
                  </a:lnTo>
                  <a:lnTo>
                    <a:pt x="120" y="384"/>
                  </a:lnTo>
                  <a:lnTo>
                    <a:pt x="117" y="384"/>
                  </a:lnTo>
                  <a:lnTo>
                    <a:pt x="114" y="384"/>
                  </a:lnTo>
                  <a:lnTo>
                    <a:pt x="114" y="381"/>
                  </a:lnTo>
                  <a:lnTo>
                    <a:pt x="114" y="378"/>
                  </a:lnTo>
                  <a:lnTo>
                    <a:pt x="111" y="378"/>
                  </a:lnTo>
                  <a:lnTo>
                    <a:pt x="111" y="381"/>
                  </a:lnTo>
                  <a:lnTo>
                    <a:pt x="108" y="381"/>
                  </a:lnTo>
                  <a:lnTo>
                    <a:pt x="108" y="378"/>
                  </a:lnTo>
                  <a:lnTo>
                    <a:pt x="108" y="375"/>
                  </a:lnTo>
                  <a:lnTo>
                    <a:pt x="105" y="375"/>
                  </a:lnTo>
                  <a:lnTo>
                    <a:pt x="102" y="375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75"/>
                  </a:lnTo>
                  <a:lnTo>
                    <a:pt x="93" y="375"/>
                  </a:lnTo>
                  <a:lnTo>
                    <a:pt x="90" y="375"/>
                  </a:lnTo>
                  <a:lnTo>
                    <a:pt x="90" y="372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78" y="369"/>
                  </a:lnTo>
                  <a:lnTo>
                    <a:pt x="78" y="366"/>
                  </a:lnTo>
                  <a:lnTo>
                    <a:pt x="75" y="366"/>
                  </a:lnTo>
                  <a:lnTo>
                    <a:pt x="72" y="366"/>
                  </a:lnTo>
                  <a:lnTo>
                    <a:pt x="72" y="363"/>
                  </a:lnTo>
                  <a:lnTo>
                    <a:pt x="69" y="363"/>
                  </a:lnTo>
                  <a:lnTo>
                    <a:pt x="69" y="360"/>
                  </a:lnTo>
                  <a:lnTo>
                    <a:pt x="69" y="357"/>
                  </a:lnTo>
                  <a:lnTo>
                    <a:pt x="66" y="357"/>
                  </a:lnTo>
                  <a:lnTo>
                    <a:pt x="66" y="354"/>
                  </a:lnTo>
                  <a:lnTo>
                    <a:pt x="63" y="354"/>
                  </a:lnTo>
                  <a:lnTo>
                    <a:pt x="63" y="351"/>
                  </a:lnTo>
                  <a:lnTo>
                    <a:pt x="60" y="351"/>
                  </a:lnTo>
                  <a:lnTo>
                    <a:pt x="60" y="348"/>
                  </a:lnTo>
                  <a:lnTo>
                    <a:pt x="60" y="345"/>
                  </a:lnTo>
                  <a:lnTo>
                    <a:pt x="57" y="345"/>
                  </a:lnTo>
                  <a:lnTo>
                    <a:pt x="54" y="345"/>
                  </a:lnTo>
                  <a:lnTo>
                    <a:pt x="54" y="342"/>
                  </a:lnTo>
                  <a:lnTo>
                    <a:pt x="51" y="342"/>
                  </a:lnTo>
                  <a:lnTo>
                    <a:pt x="51" y="339"/>
                  </a:lnTo>
                  <a:lnTo>
                    <a:pt x="54" y="339"/>
                  </a:lnTo>
                  <a:lnTo>
                    <a:pt x="51" y="339"/>
                  </a:lnTo>
                  <a:lnTo>
                    <a:pt x="51" y="336"/>
                  </a:lnTo>
                  <a:lnTo>
                    <a:pt x="48" y="336"/>
                  </a:lnTo>
                  <a:lnTo>
                    <a:pt x="48" y="333"/>
                  </a:lnTo>
                  <a:lnTo>
                    <a:pt x="45" y="333"/>
                  </a:lnTo>
                  <a:lnTo>
                    <a:pt x="45" y="330"/>
                  </a:lnTo>
                  <a:lnTo>
                    <a:pt x="42" y="330"/>
                  </a:lnTo>
                  <a:lnTo>
                    <a:pt x="42" y="327"/>
                  </a:lnTo>
                  <a:lnTo>
                    <a:pt x="42" y="324"/>
                  </a:lnTo>
                  <a:lnTo>
                    <a:pt x="39" y="324"/>
                  </a:lnTo>
                  <a:lnTo>
                    <a:pt x="39" y="321"/>
                  </a:lnTo>
                  <a:lnTo>
                    <a:pt x="39" y="318"/>
                  </a:lnTo>
                  <a:lnTo>
                    <a:pt x="39" y="315"/>
                  </a:lnTo>
                  <a:lnTo>
                    <a:pt x="36" y="315"/>
                  </a:lnTo>
                  <a:lnTo>
                    <a:pt x="33" y="315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7" y="306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1" y="306"/>
                  </a:lnTo>
                  <a:lnTo>
                    <a:pt x="18" y="303"/>
                  </a:lnTo>
                  <a:lnTo>
                    <a:pt x="18" y="300"/>
                  </a:lnTo>
                  <a:lnTo>
                    <a:pt x="18" y="303"/>
                  </a:lnTo>
                  <a:lnTo>
                    <a:pt x="15" y="303"/>
                  </a:lnTo>
                  <a:lnTo>
                    <a:pt x="15" y="300"/>
                  </a:lnTo>
                  <a:lnTo>
                    <a:pt x="12" y="300"/>
                  </a:lnTo>
                  <a:lnTo>
                    <a:pt x="12" y="297"/>
                  </a:lnTo>
                  <a:lnTo>
                    <a:pt x="9" y="297"/>
                  </a:lnTo>
                  <a:lnTo>
                    <a:pt x="9" y="300"/>
                  </a:lnTo>
                  <a:lnTo>
                    <a:pt x="9" y="297"/>
                  </a:lnTo>
                  <a:lnTo>
                    <a:pt x="6" y="297"/>
                  </a:lnTo>
                  <a:lnTo>
                    <a:pt x="6" y="294"/>
                  </a:lnTo>
                  <a:lnTo>
                    <a:pt x="6" y="291"/>
                  </a:lnTo>
                  <a:lnTo>
                    <a:pt x="3" y="291"/>
                  </a:lnTo>
                  <a:lnTo>
                    <a:pt x="3" y="288"/>
                  </a:lnTo>
                  <a:lnTo>
                    <a:pt x="3" y="285"/>
                  </a:lnTo>
                  <a:lnTo>
                    <a:pt x="0" y="282"/>
                  </a:lnTo>
                  <a:lnTo>
                    <a:pt x="3" y="279"/>
                  </a:lnTo>
                  <a:lnTo>
                    <a:pt x="6" y="273"/>
                  </a:lnTo>
                  <a:lnTo>
                    <a:pt x="12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5" y="252"/>
                  </a:lnTo>
                  <a:lnTo>
                    <a:pt x="18" y="249"/>
                  </a:lnTo>
                  <a:lnTo>
                    <a:pt x="18" y="246"/>
                  </a:lnTo>
                  <a:lnTo>
                    <a:pt x="21" y="243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7" y="228"/>
                  </a:lnTo>
                  <a:lnTo>
                    <a:pt x="30" y="225"/>
                  </a:lnTo>
                  <a:lnTo>
                    <a:pt x="30" y="222"/>
                  </a:lnTo>
                  <a:lnTo>
                    <a:pt x="33" y="219"/>
                  </a:lnTo>
                  <a:lnTo>
                    <a:pt x="33" y="216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9" y="207"/>
                  </a:lnTo>
                  <a:lnTo>
                    <a:pt x="39" y="204"/>
                  </a:lnTo>
                  <a:lnTo>
                    <a:pt x="39" y="201"/>
                  </a:lnTo>
                  <a:lnTo>
                    <a:pt x="42" y="198"/>
                  </a:lnTo>
                  <a:lnTo>
                    <a:pt x="45" y="195"/>
                  </a:lnTo>
                  <a:lnTo>
                    <a:pt x="45" y="192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48" y="186"/>
                  </a:lnTo>
                  <a:lnTo>
                    <a:pt x="42" y="186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5" y="168"/>
                  </a:lnTo>
                  <a:lnTo>
                    <a:pt x="48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51" y="159"/>
                  </a:lnTo>
                  <a:lnTo>
                    <a:pt x="51" y="156"/>
                  </a:lnTo>
                  <a:lnTo>
                    <a:pt x="48" y="153"/>
                  </a:lnTo>
                  <a:lnTo>
                    <a:pt x="45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7" y="141"/>
                  </a:lnTo>
                  <a:lnTo>
                    <a:pt x="57" y="132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3" y="126"/>
                  </a:lnTo>
                  <a:lnTo>
                    <a:pt x="66" y="126"/>
                  </a:lnTo>
                  <a:lnTo>
                    <a:pt x="63" y="123"/>
                  </a:lnTo>
                  <a:lnTo>
                    <a:pt x="66" y="123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5" y="114"/>
                  </a:lnTo>
                  <a:lnTo>
                    <a:pt x="78" y="114"/>
                  </a:lnTo>
                  <a:lnTo>
                    <a:pt x="78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8" y="108"/>
                  </a:lnTo>
                  <a:lnTo>
                    <a:pt x="78" y="105"/>
                  </a:lnTo>
                  <a:lnTo>
                    <a:pt x="81" y="105"/>
                  </a:lnTo>
                  <a:lnTo>
                    <a:pt x="84" y="105"/>
                  </a:lnTo>
                  <a:lnTo>
                    <a:pt x="84" y="102"/>
                  </a:lnTo>
                  <a:lnTo>
                    <a:pt x="87" y="102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5" y="96"/>
                  </a:lnTo>
                  <a:lnTo>
                    <a:pt x="105" y="93"/>
                  </a:lnTo>
                  <a:lnTo>
                    <a:pt x="108" y="93"/>
                  </a:lnTo>
                  <a:lnTo>
                    <a:pt x="111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87"/>
                  </a:lnTo>
                  <a:lnTo>
                    <a:pt x="120" y="87"/>
                  </a:lnTo>
                  <a:lnTo>
                    <a:pt x="123" y="84"/>
                  </a:lnTo>
                  <a:lnTo>
                    <a:pt x="126" y="84"/>
                  </a:lnTo>
                  <a:lnTo>
                    <a:pt x="126" y="87"/>
                  </a:lnTo>
                  <a:lnTo>
                    <a:pt x="129" y="90"/>
                  </a:lnTo>
                  <a:lnTo>
                    <a:pt x="132" y="90"/>
                  </a:lnTo>
                  <a:lnTo>
                    <a:pt x="132" y="87"/>
                  </a:lnTo>
                  <a:lnTo>
                    <a:pt x="135" y="87"/>
                  </a:lnTo>
                  <a:lnTo>
                    <a:pt x="135" y="90"/>
                  </a:lnTo>
                  <a:lnTo>
                    <a:pt x="138" y="90"/>
                  </a:lnTo>
                  <a:lnTo>
                    <a:pt x="141" y="90"/>
                  </a:lnTo>
                  <a:lnTo>
                    <a:pt x="141" y="93"/>
                  </a:lnTo>
                  <a:lnTo>
                    <a:pt x="141" y="96"/>
                  </a:lnTo>
                  <a:lnTo>
                    <a:pt x="141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4" y="96"/>
                  </a:lnTo>
                  <a:lnTo>
                    <a:pt x="144" y="93"/>
                  </a:lnTo>
                  <a:lnTo>
                    <a:pt x="147" y="93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59" y="72"/>
                  </a:lnTo>
                  <a:lnTo>
                    <a:pt x="162" y="72"/>
                  </a:lnTo>
                  <a:lnTo>
                    <a:pt x="162" y="69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9"/>
                  </a:lnTo>
                  <a:lnTo>
                    <a:pt x="177" y="69"/>
                  </a:lnTo>
                  <a:lnTo>
                    <a:pt x="177" y="66"/>
                  </a:lnTo>
                  <a:lnTo>
                    <a:pt x="180" y="66"/>
                  </a:lnTo>
                  <a:lnTo>
                    <a:pt x="183" y="69"/>
                  </a:lnTo>
                  <a:lnTo>
                    <a:pt x="183" y="66"/>
                  </a:lnTo>
                  <a:lnTo>
                    <a:pt x="180" y="66"/>
                  </a:lnTo>
                  <a:lnTo>
                    <a:pt x="177" y="66"/>
                  </a:lnTo>
                  <a:lnTo>
                    <a:pt x="177" y="63"/>
                  </a:lnTo>
                  <a:lnTo>
                    <a:pt x="177" y="60"/>
                  </a:lnTo>
                  <a:lnTo>
                    <a:pt x="180" y="60"/>
                  </a:lnTo>
                  <a:lnTo>
                    <a:pt x="180" y="57"/>
                  </a:lnTo>
                  <a:lnTo>
                    <a:pt x="183" y="57"/>
                  </a:lnTo>
                  <a:lnTo>
                    <a:pt x="183" y="54"/>
                  </a:lnTo>
                  <a:lnTo>
                    <a:pt x="180" y="54"/>
                  </a:lnTo>
                  <a:lnTo>
                    <a:pt x="180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74" y="48"/>
                  </a:lnTo>
                  <a:lnTo>
                    <a:pt x="174" y="45"/>
                  </a:lnTo>
                  <a:lnTo>
                    <a:pt x="177" y="45"/>
                  </a:lnTo>
                  <a:lnTo>
                    <a:pt x="180" y="45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89" y="36"/>
                  </a:lnTo>
                  <a:lnTo>
                    <a:pt x="189" y="33"/>
                  </a:lnTo>
                  <a:lnTo>
                    <a:pt x="192" y="33"/>
                  </a:lnTo>
                  <a:lnTo>
                    <a:pt x="192" y="30"/>
                  </a:lnTo>
                  <a:lnTo>
                    <a:pt x="195" y="30"/>
                  </a:lnTo>
                  <a:lnTo>
                    <a:pt x="198" y="30"/>
                  </a:lnTo>
                  <a:lnTo>
                    <a:pt x="198" y="33"/>
                  </a:lnTo>
                  <a:lnTo>
                    <a:pt x="198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4" y="24"/>
                  </a:lnTo>
                  <a:lnTo>
                    <a:pt x="207" y="24"/>
                  </a:lnTo>
                  <a:lnTo>
                    <a:pt x="207" y="27"/>
                  </a:lnTo>
                  <a:lnTo>
                    <a:pt x="210" y="27"/>
                  </a:lnTo>
                  <a:lnTo>
                    <a:pt x="210" y="24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6" y="27"/>
                  </a:lnTo>
                  <a:lnTo>
                    <a:pt x="216" y="24"/>
                  </a:lnTo>
                  <a:lnTo>
                    <a:pt x="219" y="24"/>
                  </a:lnTo>
                  <a:lnTo>
                    <a:pt x="216" y="24"/>
                  </a:lnTo>
                  <a:lnTo>
                    <a:pt x="216" y="21"/>
                  </a:lnTo>
                  <a:lnTo>
                    <a:pt x="219" y="21"/>
                  </a:lnTo>
                  <a:lnTo>
                    <a:pt x="219" y="18"/>
                  </a:lnTo>
                  <a:lnTo>
                    <a:pt x="219" y="21"/>
                  </a:lnTo>
                  <a:lnTo>
                    <a:pt x="222" y="21"/>
                  </a:lnTo>
                  <a:lnTo>
                    <a:pt x="222" y="24"/>
                  </a:lnTo>
                  <a:lnTo>
                    <a:pt x="225" y="24"/>
                  </a:lnTo>
                  <a:lnTo>
                    <a:pt x="228" y="24"/>
                  </a:lnTo>
                  <a:lnTo>
                    <a:pt x="231" y="24"/>
                  </a:lnTo>
                  <a:lnTo>
                    <a:pt x="234" y="24"/>
                  </a:lnTo>
                  <a:lnTo>
                    <a:pt x="237" y="24"/>
                  </a:lnTo>
                  <a:lnTo>
                    <a:pt x="240" y="24"/>
                  </a:lnTo>
                  <a:lnTo>
                    <a:pt x="240" y="27"/>
                  </a:lnTo>
                  <a:lnTo>
                    <a:pt x="237" y="27"/>
                  </a:lnTo>
                  <a:lnTo>
                    <a:pt x="240" y="27"/>
                  </a:lnTo>
                  <a:lnTo>
                    <a:pt x="240" y="30"/>
                  </a:lnTo>
                  <a:lnTo>
                    <a:pt x="240" y="27"/>
                  </a:lnTo>
                  <a:lnTo>
                    <a:pt x="243" y="27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1"/>
                  </a:lnTo>
                  <a:lnTo>
                    <a:pt x="249" y="18"/>
                  </a:lnTo>
                  <a:lnTo>
                    <a:pt x="252" y="18"/>
                  </a:lnTo>
                  <a:lnTo>
                    <a:pt x="255" y="18"/>
                  </a:lnTo>
                  <a:lnTo>
                    <a:pt x="255" y="21"/>
                  </a:lnTo>
                  <a:lnTo>
                    <a:pt x="258" y="21"/>
                  </a:lnTo>
                  <a:lnTo>
                    <a:pt x="258" y="24"/>
                  </a:lnTo>
                  <a:lnTo>
                    <a:pt x="261" y="24"/>
                  </a:lnTo>
                  <a:lnTo>
                    <a:pt x="261" y="21"/>
                  </a:lnTo>
                  <a:lnTo>
                    <a:pt x="264" y="21"/>
                  </a:lnTo>
                  <a:lnTo>
                    <a:pt x="264" y="18"/>
                  </a:lnTo>
                  <a:lnTo>
                    <a:pt x="264" y="15"/>
                  </a:lnTo>
                  <a:lnTo>
                    <a:pt x="267" y="15"/>
                  </a:lnTo>
                  <a:lnTo>
                    <a:pt x="267" y="12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3" y="9"/>
                  </a:lnTo>
                  <a:lnTo>
                    <a:pt x="273" y="6"/>
                  </a:lnTo>
                  <a:close/>
                </a:path>
              </a:pathLst>
            </a:custGeom>
            <a:solidFill>
              <a:srgbClr val="F79646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00" name="Freeform 36">
              <a:extLst>
                <a:ext uri="{FF2B5EF4-FFF2-40B4-BE49-F238E27FC236}">
                  <a16:creationId xmlns:a16="http://schemas.microsoft.com/office/drawing/2014/main" id="{F3D1C917-E2FB-49E1-8C35-E1EF82CB75D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778375" y="3049588"/>
              <a:ext cx="679450" cy="808037"/>
            </a:xfrm>
            <a:custGeom>
              <a:avLst/>
              <a:gdLst>
                <a:gd name="T0" fmla="*/ 478569 w 345"/>
                <a:gd name="T1" fmla="*/ 94369 h 411"/>
                <a:gd name="T2" fmla="*/ 531743 w 345"/>
                <a:gd name="T3" fmla="*/ 70777 h 411"/>
                <a:gd name="T4" fmla="*/ 537652 w 345"/>
                <a:gd name="T5" fmla="*/ 0 h 411"/>
                <a:gd name="T6" fmla="*/ 584918 w 345"/>
                <a:gd name="T7" fmla="*/ 11796 h 411"/>
                <a:gd name="T8" fmla="*/ 679450 w 345"/>
                <a:gd name="T9" fmla="*/ 17694 h 411"/>
                <a:gd name="T10" fmla="*/ 667633 w 345"/>
                <a:gd name="T11" fmla="*/ 76675 h 411"/>
                <a:gd name="T12" fmla="*/ 644000 w 345"/>
                <a:gd name="T13" fmla="*/ 129758 h 411"/>
                <a:gd name="T14" fmla="*/ 632184 w 345"/>
                <a:gd name="T15" fmla="*/ 194637 h 411"/>
                <a:gd name="T16" fmla="*/ 620367 w 345"/>
                <a:gd name="T17" fmla="*/ 253617 h 411"/>
                <a:gd name="T18" fmla="*/ 602643 w 345"/>
                <a:gd name="T19" fmla="*/ 306700 h 411"/>
                <a:gd name="T20" fmla="*/ 567193 w 345"/>
                <a:gd name="T21" fmla="*/ 353885 h 411"/>
                <a:gd name="T22" fmla="*/ 543560 w 345"/>
                <a:gd name="T23" fmla="*/ 383375 h 411"/>
                <a:gd name="T24" fmla="*/ 484477 w 345"/>
                <a:gd name="T25" fmla="*/ 412866 h 411"/>
                <a:gd name="T26" fmla="*/ 449028 w 345"/>
                <a:gd name="T27" fmla="*/ 454152 h 411"/>
                <a:gd name="T28" fmla="*/ 407670 w 345"/>
                <a:gd name="T29" fmla="*/ 501337 h 411"/>
                <a:gd name="T30" fmla="*/ 372220 w 345"/>
                <a:gd name="T31" fmla="*/ 566216 h 411"/>
                <a:gd name="T32" fmla="*/ 348587 w 345"/>
                <a:gd name="T33" fmla="*/ 613400 h 411"/>
                <a:gd name="T34" fmla="*/ 324954 w 345"/>
                <a:gd name="T35" fmla="*/ 666483 h 411"/>
                <a:gd name="T36" fmla="*/ 289505 w 345"/>
                <a:gd name="T37" fmla="*/ 719566 h 411"/>
                <a:gd name="T38" fmla="*/ 259963 w 345"/>
                <a:gd name="T39" fmla="*/ 766750 h 411"/>
                <a:gd name="T40" fmla="*/ 236330 w 345"/>
                <a:gd name="T41" fmla="*/ 802139 h 411"/>
                <a:gd name="T42" fmla="*/ 230422 w 345"/>
                <a:gd name="T43" fmla="*/ 778547 h 411"/>
                <a:gd name="T44" fmla="*/ 206789 w 345"/>
                <a:gd name="T45" fmla="*/ 760852 h 411"/>
                <a:gd name="T46" fmla="*/ 189064 w 345"/>
                <a:gd name="T47" fmla="*/ 749056 h 411"/>
                <a:gd name="T48" fmla="*/ 171340 w 345"/>
                <a:gd name="T49" fmla="*/ 737260 h 411"/>
                <a:gd name="T50" fmla="*/ 153615 w 345"/>
                <a:gd name="T51" fmla="*/ 731362 h 411"/>
                <a:gd name="T52" fmla="*/ 106349 w 345"/>
                <a:gd name="T53" fmla="*/ 719566 h 411"/>
                <a:gd name="T54" fmla="*/ 64991 w 345"/>
                <a:gd name="T55" fmla="*/ 713668 h 411"/>
                <a:gd name="T56" fmla="*/ 29541 w 345"/>
                <a:gd name="T57" fmla="*/ 707770 h 411"/>
                <a:gd name="T58" fmla="*/ 0 w 345"/>
                <a:gd name="T59" fmla="*/ 666483 h 411"/>
                <a:gd name="T60" fmla="*/ 35450 w 345"/>
                <a:gd name="T61" fmla="*/ 642891 h 411"/>
                <a:gd name="T62" fmla="*/ 59083 w 345"/>
                <a:gd name="T63" fmla="*/ 619298 h 411"/>
                <a:gd name="T64" fmla="*/ 59083 w 345"/>
                <a:gd name="T65" fmla="*/ 583910 h 411"/>
                <a:gd name="T66" fmla="*/ 59083 w 345"/>
                <a:gd name="T67" fmla="*/ 548521 h 411"/>
                <a:gd name="T68" fmla="*/ 88624 w 345"/>
                <a:gd name="T69" fmla="*/ 519031 h 411"/>
                <a:gd name="T70" fmla="*/ 106349 w 345"/>
                <a:gd name="T71" fmla="*/ 489541 h 411"/>
                <a:gd name="T72" fmla="*/ 94532 w 345"/>
                <a:gd name="T73" fmla="*/ 448254 h 411"/>
                <a:gd name="T74" fmla="*/ 64991 w 345"/>
                <a:gd name="T75" fmla="*/ 412866 h 411"/>
                <a:gd name="T76" fmla="*/ 35450 w 345"/>
                <a:gd name="T77" fmla="*/ 389273 h 411"/>
                <a:gd name="T78" fmla="*/ 23633 w 345"/>
                <a:gd name="T79" fmla="*/ 347987 h 411"/>
                <a:gd name="T80" fmla="*/ 59083 w 345"/>
                <a:gd name="T81" fmla="*/ 330292 h 411"/>
                <a:gd name="T82" fmla="*/ 88624 w 345"/>
                <a:gd name="T83" fmla="*/ 306700 h 411"/>
                <a:gd name="T84" fmla="*/ 112257 w 345"/>
                <a:gd name="T85" fmla="*/ 277210 h 411"/>
                <a:gd name="T86" fmla="*/ 147707 w 345"/>
                <a:gd name="T87" fmla="*/ 241821 h 411"/>
                <a:gd name="T88" fmla="*/ 153615 w 345"/>
                <a:gd name="T89" fmla="*/ 188739 h 411"/>
                <a:gd name="T90" fmla="*/ 153615 w 345"/>
                <a:gd name="T91" fmla="*/ 153350 h 411"/>
                <a:gd name="T92" fmla="*/ 159523 w 345"/>
                <a:gd name="T93" fmla="*/ 117962 h 411"/>
                <a:gd name="T94" fmla="*/ 194973 w 345"/>
                <a:gd name="T95" fmla="*/ 106165 h 411"/>
                <a:gd name="T96" fmla="*/ 242239 w 345"/>
                <a:gd name="T97" fmla="*/ 106165 h 411"/>
                <a:gd name="T98" fmla="*/ 283597 w 345"/>
                <a:gd name="T99" fmla="*/ 94369 h 411"/>
                <a:gd name="T100" fmla="*/ 354496 w 345"/>
                <a:gd name="T101" fmla="*/ 100267 h 411"/>
                <a:gd name="T102" fmla="*/ 384037 w 345"/>
                <a:gd name="T103" fmla="*/ 100267 h 411"/>
                <a:gd name="T104" fmla="*/ 112257 w 345"/>
                <a:gd name="T105" fmla="*/ 601604 h 411"/>
                <a:gd name="T106" fmla="*/ 124073 w 345"/>
                <a:gd name="T107" fmla="*/ 642891 h 411"/>
                <a:gd name="T108" fmla="*/ 141798 w 345"/>
                <a:gd name="T109" fmla="*/ 690075 h 411"/>
                <a:gd name="T110" fmla="*/ 165431 w 345"/>
                <a:gd name="T111" fmla="*/ 695973 h 411"/>
                <a:gd name="T112" fmla="*/ 200881 w 345"/>
                <a:gd name="T113" fmla="*/ 707770 h 411"/>
                <a:gd name="T114" fmla="*/ 224514 w 345"/>
                <a:gd name="T115" fmla="*/ 678279 h 411"/>
                <a:gd name="T116" fmla="*/ 206789 w 345"/>
                <a:gd name="T117" fmla="*/ 666483 h 411"/>
                <a:gd name="T118" fmla="*/ 183156 w 345"/>
                <a:gd name="T119" fmla="*/ 631095 h 411"/>
                <a:gd name="T120" fmla="*/ 159523 w 345"/>
                <a:gd name="T121" fmla="*/ 613400 h 411"/>
                <a:gd name="T122" fmla="*/ 118165 w 345"/>
                <a:gd name="T123" fmla="*/ 589808 h 4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5" h="411">
                  <a:moveTo>
                    <a:pt x="210" y="42"/>
                  </a:moveTo>
                  <a:lnTo>
                    <a:pt x="213" y="42"/>
                  </a:lnTo>
                  <a:lnTo>
                    <a:pt x="216" y="45"/>
                  </a:lnTo>
                  <a:lnTo>
                    <a:pt x="219" y="45"/>
                  </a:lnTo>
                  <a:lnTo>
                    <a:pt x="225" y="48"/>
                  </a:lnTo>
                  <a:lnTo>
                    <a:pt x="228" y="48"/>
                  </a:lnTo>
                  <a:lnTo>
                    <a:pt x="231" y="48"/>
                  </a:lnTo>
                  <a:lnTo>
                    <a:pt x="234" y="48"/>
                  </a:lnTo>
                  <a:lnTo>
                    <a:pt x="237" y="48"/>
                  </a:lnTo>
                  <a:lnTo>
                    <a:pt x="240" y="48"/>
                  </a:lnTo>
                  <a:lnTo>
                    <a:pt x="243" y="48"/>
                  </a:lnTo>
                  <a:lnTo>
                    <a:pt x="246" y="48"/>
                  </a:lnTo>
                  <a:lnTo>
                    <a:pt x="249" y="48"/>
                  </a:lnTo>
                  <a:lnTo>
                    <a:pt x="252" y="48"/>
                  </a:lnTo>
                  <a:lnTo>
                    <a:pt x="255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45"/>
                  </a:lnTo>
                  <a:lnTo>
                    <a:pt x="270" y="42"/>
                  </a:lnTo>
                  <a:lnTo>
                    <a:pt x="270" y="39"/>
                  </a:lnTo>
                  <a:lnTo>
                    <a:pt x="270" y="36"/>
                  </a:lnTo>
                  <a:lnTo>
                    <a:pt x="270" y="33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70" y="21"/>
                  </a:lnTo>
                  <a:lnTo>
                    <a:pt x="270" y="18"/>
                  </a:lnTo>
                  <a:lnTo>
                    <a:pt x="270" y="15"/>
                  </a:lnTo>
                  <a:lnTo>
                    <a:pt x="270" y="12"/>
                  </a:lnTo>
                  <a:lnTo>
                    <a:pt x="273" y="6"/>
                  </a:lnTo>
                  <a:lnTo>
                    <a:pt x="273" y="3"/>
                  </a:lnTo>
                  <a:lnTo>
                    <a:pt x="273" y="0"/>
                  </a:lnTo>
                  <a:lnTo>
                    <a:pt x="276" y="0"/>
                  </a:lnTo>
                  <a:lnTo>
                    <a:pt x="279" y="0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4" y="3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15" y="6"/>
                  </a:lnTo>
                  <a:lnTo>
                    <a:pt x="321" y="6"/>
                  </a:lnTo>
                  <a:lnTo>
                    <a:pt x="330" y="6"/>
                  </a:lnTo>
                  <a:lnTo>
                    <a:pt x="333" y="6"/>
                  </a:lnTo>
                  <a:lnTo>
                    <a:pt x="339" y="6"/>
                  </a:lnTo>
                  <a:lnTo>
                    <a:pt x="342" y="6"/>
                  </a:lnTo>
                  <a:lnTo>
                    <a:pt x="345" y="6"/>
                  </a:lnTo>
                  <a:lnTo>
                    <a:pt x="345" y="9"/>
                  </a:lnTo>
                  <a:lnTo>
                    <a:pt x="345" y="12"/>
                  </a:lnTo>
                  <a:lnTo>
                    <a:pt x="345" y="15"/>
                  </a:lnTo>
                  <a:lnTo>
                    <a:pt x="345" y="18"/>
                  </a:lnTo>
                  <a:lnTo>
                    <a:pt x="345" y="21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39" y="33"/>
                  </a:lnTo>
                  <a:lnTo>
                    <a:pt x="339" y="36"/>
                  </a:lnTo>
                  <a:lnTo>
                    <a:pt x="339" y="39"/>
                  </a:lnTo>
                  <a:lnTo>
                    <a:pt x="339" y="42"/>
                  </a:lnTo>
                  <a:lnTo>
                    <a:pt x="336" y="42"/>
                  </a:lnTo>
                  <a:lnTo>
                    <a:pt x="336" y="45"/>
                  </a:lnTo>
                  <a:lnTo>
                    <a:pt x="336" y="48"/>
                  </a:lnTo>
                  <a:lnTo>
                    <a:pt x="333" y="51"/>
                  </a:lnTo>
                  <a:lnTo>
                    <a:pt x="333" y="54"/>
                  </a:lnTo>
                  <a:lnTo>
                    <a:pt x="333" y="57"/>
                  </a:lnTo>
                  <a:lnTo>
                    <a:pt x="330" y="57"/>
                  </a:lnTo>
                  <a:lnTo>
                    <a:pt x="330" y="60"/>
                  </a:lnTo>
                  <a:lnTo>
                    <a:pt x="330" y="63"/>
                  </a:lnTo>
                  <a:lnTo>
                    <a:pt x="327" y="66"/>
                  </a:lnTo>
                  <a:lnTo>
                    <a:pt x="327" y="69"/>
                  </a:lnTo>
                  <a:lnTo>
                    <a:pt x="327" y="72"/>
                  </a:lnTo>
                  <a:lnTo>
                    <a:pt x="327" y="75"/>
                  </a:lnTo>
                  <a:lnTo>
                    <a:pt x="327" y="78"/>
                  </a:lnTo>
                  <a:lnTo>
                    <a:pt x="324" y="81"/>
                  </a:lnTo>
                  <a:lnTo>
                    <a:pt x="324" y="84"/>
                  </a:lnTo>
                  <a:lnTo>
                    <a:pt x="324" y="87"/>
                  </a:lnTo>
                  <a:lnTo>
                    <a:pt x="324" y="90"/>
                  </a:lnTo>
                  <a:lnTo>
                    <a:pt x="321" y="93"/>
                  </a:lnTo>
                  <a:lnTo>
                    <a:pt x="321" y="96"/>
                  </a:lnTo>
                  <a:lnTo>
                    <a:pt x="321" y="99"/>
                  </a:lnTo>
                  <a:lnTo>
                    <a:pt x="321" y="102"/>
                  </a:lnTo>
                  <a:lnTo>
                    <a:pt x="321" y="105"/>
                  </a:lnTo>
                  <a:lnTo>
                    <a:pt x="321" y="108"/>
                  </a:lnTo>
                  <a:lnTo>
                    <a:pt x="321" y="111"/>
                  </a:lnTo>
                  <a:lnTo>
                    <a:pt x="321" y="114"/>
                  </a:lnTo>
                  <a:lnTo>
                    <a:pt x="318" y="114"/>
                  </a:lnTo>
                  <a:lnTo>
                    <a:pt x="318" y="117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5" y="129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2" y="135"/>
                  </a:lnTo>
                  <a:lnTo>
                    <a:pt x="312" y="138"/>
                  </a:lnTo>
                  <a:lnTo>
                    <a:pt x="312" y="141"/>
                  </a:lnTo>
                  <a:lnTo>
                    <a:pt x="309" y="144"/>
                  </a:lnTo>
                  <a:lnTo>
                    <a:pt x="309" y="147"/>
                  </a:lnTo>
                  <a:lnTo>
                    <a:pt x="306" y="147"/>
                  </a:lnTo>
                  <a:lnTo>
                    <a:pt x="306" y="150"/>
                  </a:lnTo>
                  <a:lnTo>
                    <a:pt x="306" y="153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3" y="162"/>
                  </a:lnTo>
                  <a:lnTo>
                    <a:pt x="303" y="165"/>
                  </a:lnTo>
                  <a:lnTo>
                    <a:pt x="303" y="168"/>
                  </a:lnTo>
                  <a:lnTo>
                    <a:pt x="300" y="168"/>
                  </a:lnTo>
                  <a:lnTo>
                    <a:pt x="300" y="171"/>
                  </a:lnTo>
                  <a:lnTo>
                    <a:pt x="297" y="171"/>
                  </a:lnTo>
                  <a:lnTo>
                    <a:pt x="297" y="174"/>
                  </a:lnTo>
                  <a:lnTo>
                    <a:pt x="294" y="174"/>
                  </a:lnTo>
                  <a:lnTo>
                    <a:pt x="291" y="177"/>
                  </a:lnTo>
                  <a:lnTo>
                    <a:pt x="288" y="180"/>
                  </a:lnTo>
                  <a:lnTo>
                    <a:pt x="285" y="183"/>
                  </a:lnTo>
                  <a:lnTo>
                    <a:pt x="282" y="186"/>
                  </a:lnTo>
                  <a:lnTo>
                    <a:pt x="279" y="189"/>
                  </a:lnTo>
                  <a:lnTo>
                    <a:pt x="276" y="189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6" y="192"/>
                  </a:lnTo>
                  <a:lnTo>
                    <a:pt x="276" y="189"/>
                  </a:lnTo>
                  <a:lnTo>
                    <a:pt x="279" y="189"/>
                  </a:lnTo>
                  <a:lnTo>
                    <a:pt x="276" y="192"/>
                  </a:lnTo>
                  <a:lnTo>
                    <a:pt x="276" y="195"/>
                  </a:lnTo>
                  <a:lnTo>
                    <a:pt x="273" y="195"/>
                  </a:lnTo>
                  <a:lnTo>
                    <a:pt x="270" y="198"/>
                  </a:lnTo>
                  <a:lnTo>
                    <a:pt x="267" y="198"/>
                  </a:lnTo>
                  <a:lnTo>
                    <a:pt x="264" y="201"/>
                  </a:lnTo>
                  <a:lnTo>
                    <a:pt x="261" y="201"/>
                  </a:lnTo>
                  <a:lnTo>
                    <a:pt x="258" y="201"/>
                  </a:lnTo>
                  <a:lnTo>
                    <a:pt x="258" y="204"/>
                  </a:lnTo>
                  <a:lnTo>
                    <a:pt x="255" y="204"/>
                  </a:lnTo>
                  <a:lnTo>
                    <a:pt x="252" y="204"/>
                  </a:lnTo>
                  <a:lnTo>
                    <a:pt x="249" y="207"/>
                  </a:lnTo>
                  <a:lnTo>
                    <a:pt x="246" y="210"/>
                  </a:lnTo>
                  <a:lnTo>
                    <a:pt x="246" y="213"/>
                  </a:lnTo>
                  <a:lnTo>
                    <a:pt x="243" y="213"/>
                  </a:lnTo>
                  <a:lnTo>
                    <a:pt x="243" y="216"/>
                  </a:lnTo>
                  <a:lnTo>
                    <a:pt x="240" y="216"/>
                  </a:lnTo>
                  <a:lnTo>
                    <a:pt x="240" y="219"/>
                  </a:lnTo>
                  <a:lnTo>
                    <a:pt x="237" y="219"/>
                  </a:lnTo>
                  <a:lnTo>
                    <a:pt x="237" y="222"/>
                  </a:lnTo>
                  <a:lnTo>
                    <a:pt x="234" y="222"/>
                  </a:lnTo>
                  <a:lnTo>
                    <a:pt x="234" y="225"/>
                  </a:lnTo>
                  <a:lnTo>
                    <a:pt x="231" y="228"/>
                  </a:lnTo>
                  <a:lnTo>
                    <a:pt x="228" y="231"/>
                  </a:lnTo>
                  <a:lnTo>
                    <a:pt x="225" y="234"/>
                  </a:lnTo>
                  <a:lnTo>
                    <a:pt x="225" y="237"/>
                  </a:lnTo>
                  <a:lnTo>
                    <a:pt x="222" y="237"/>
                  </a:lnTo>
                  <a:lnTo>
                    <a:pt x="222" y="240"/>
                  </a:lnTo>
                  <a:lnTo>
                    <a:pt x="219" y="240"/>
                  </a:lnTo>
                  <a:lnTo>
                    <a:pt x="219" y="243"/>
                  </a:lnTo>
                  <a:lnTo>
                    <a:pt x="216" y="246"/>
                  </a:lnTo>
                  <a:lnTo>
                    <a:pt x="213" y="249"/>
                  </a:lnTo>
                  <a:lnTo>
                    <a:pt x="210" y="252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7" y="258"/>
                  </a:lnTo>
                  <a:lnTo>
                    <a:pt x="204" y="261"/>
                  </a:lnTo>
                  <a:lnTo>
                    <a:pt x="201" y="264"/>
                  </a:lnTo>
                  <a:lnTo>
                    <a:pt x="201" y="267"/>
                  </a:lnTo>
                  <a:lnTo>
                    <a:pt x="198" y="270"/>
                  </a:lnTo>
                  <a:lnTo>
                    <a:pt x="198" y="273"/>
                  </a:lnTo>
                  <a:lnTo>
                    <a:pt x="195" y="276"/>
                  </a:lnTo>
                  <a:lnTo>
                    <a:pt x="195" y="279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8"/>
                  </a:lnTo>
                  <a:lnTo>
                    <a:pt x="189" y="291"/>
                  </a:lnTo>
                  <a:lnTo>
                    <a:pt x="192" y="291"/>
                  </a:lnTo>
                  <a:lnTo>
                    <a:pt x="192" y="294"/>
                  </a:lnTo>
                  <a:lnTo>
                    <a:pt x="189" y="297"/>
                  </a:lnTo>
                  <a:lnTo>
                    <a:pt x="186" y="300"/>
                  </a:lnTo>
                  <a:lnTo>
                    <a:pt x="186" y="303"/>
                  </a:lnTo>
                  <a:lnTo>
                    <a:pt x="183" y="303"/>
                  </a:lnTo>
                  <a:lnTo>
                    <a:pt x="183" y="306"/>
                  </a:lnTo>
                  <a:lnTo>
                    <a:pt x="180" y="309"/>
                  </a:lnTo>
                  <a:lnTo>
                    <a:pt x="177" y="309"/>
                  </a:lnTo>
                  <a:lnTo>
                    <a:pt x="177" y="312"/>
                  </a:lnTo>
                  <a:lnTo>
                    <a:pt x="177" y="315"/>
                  </a:lnTo>
                  <a:lnTo>
                    <a:pt x="174" y="315"/>
                  </a:lnTo>
                  <a:lnTo>
                    <a:pt x="174" y="318"/>
                  </a:lnTo>
                  <a:lnTo>
                    <a:pt x="174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7"/>
                  </a:lnTo>
                  <a:lnTo>
                    <a:pt x="168" y="330"/>
                  </a:lnTo>
                  <a:lnTo>
                    <a:pt x="168" y="333"/>
                  </a:lnTo>
                  <a:lnTo>
                    <a:pt x="165" y="336"/>
                  </a:lnTo>
                  <a:lnTo>
                    <a:pt x="165" y="339"/>
                  </a:lnTo>
                  <a:lnTo>
                    <a:pt x="162" y="342"/>
                  </a:lnTo>
                  <a:lnTo>
                    <a:pt x="159" y="345"/>
                  </a:lnTo>
                  <a:lnTo>
                    <a:pt x="159" y="348"/>
                  </a:lnTo>
                  <a:lnTo>
                    <a:pt x="159" y="351"/>
                  </a:lnTo>
                  <a:lnTo>
                    <a:pt x="156" y="354"/>
                  </a:lnTo>
                  <a:lnTo>
                    <a:pt x="156" y="357"/>
                  </a:lnTo>
                  <a:lnTo>
                    <a:pt x="153" y="357"/>
                  </a:lnTo>
                  <a:lnTo>
                    <a:pt x="153" y="360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72"/>
                  </a:lnTo>
                  <a:lnTo>
                    <a:pt x="144" y="375"/>
                  </a:lnTo>
                  <a:lnTo>
                    <a:pt x="141" y="378"/>
                  </a:lnTo>
                  <a:lnTo>
                    <a:pt x="141" y="381"/>
                  </a:lnTo>
                  <a:lnTo>
                    <a:pt x="138" y="381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5" y="387"/>
                  </a:lnTo>
                  <a:lnTo>
                    <a:pt x="135" y="390"/>
                  </a:lnTo>
                  <a:lnTo>
                    <a:pt x="132" y="390"/>
                  </a:lnTo>
                  <a:lnTo>
                    <a:pt x="132" y="393"/>
                  </a:lnTo>
                  <a:lnTo>
                    <a:pt x="129" y="396"/>
                  </a:lnTo>
                  <a:lnTo>
                    <a:pt x="129" y="399"/>
                  </a:lnTo>
                  <a:lnTo>
                    <a:pt x="126" y="399"/>
                  </a:lnTo>
                  <a:lnTo>
                    <a:pt x="126" y="402"/>
                  </a:lnTo>
                  <a:lnTo>
                    <a:pt x="126" y="405"/>
                  </a:lnTo>
                  <a:lnTo>
                    <a:pt x="123" y="405"/>
                  </a:lnTo>
                  <a:lnTo>
                    <a:pt x="123" y="408"/>
                  </a:lnTo>
                  <a:lnTo>
                    <a:pt x="120" y="408"/>
                  </a:lnTo>
                  <a:lnTo>
                    <a:pt x="120" y="411"/>
                  </a:lnTo>
                  <a:lnTo>
                    <a:pt x="120" y="408"/>
                  </a:lnTo>
                  <a:lnTo>
                    <a:pt x="117" y="408"/>
                  </a:lnTo>
                  <a:lnTo>
                    <a:pt x="117" y="405"/>
                  </a:lnTo>
                  <a:lnTo>
                    <a:pt x="114" y="405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7" y="399"/>
                  </a:lnTo>
                  <a:lnTo>
                    <a:pt x="114" y="399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7" y="393"/>
                  </a:lnTo>
                  <a:lnTo>
                    <a:pt x="114" y="393"/>
                  </a:lnTo>
                  <a:lnTo>
                    <a:pt x="114" y="390"/>
                  </a:lnTo>
                  <a:lnTo>
                    <a:pt x="111" y="390"/>
                  </a:lnTo>
                  <a:lnTo>
                    <a:pt x="108" y="390"/>
                  </a:lnTo>
                  <a:lnTo>
                    <a:pt x="111" y="390"/>
                  </a:lnTo>
                  <a:lnTo>
                    <a:pt x="111" y="387"/>
                  </a:lnTo>
                  <a:lnTo>
                    <a:pt x="108" y="387"/>
                  </a:lnTo>
                  <a:lnTo>
                    <a:pt x="105" y="387"/>
                  </a:lnTo>
                  <a:lnTo>
                    <a:pt x="105" y="384"/>
                  </a:lnTo>
                  <a:lnTo>
                    <a:pt x="102" y="384"/>
                  </a:lnTo>
                  <a:lnTo>
                    <a:pt x="102" y="387"/>
                  </a:lnTo>
                  <a:lnTo>
                    <a:pt x="99" y="387"/>
                  </a:lnTo>
                  <a:lnTo>
                    <a:pt x="99" y="384"/>
                  </a:lnTo>
                  <a:lnTo>
                    <a:pt x="102" y="384"/>
                  </a:lnTo>
                  <a:lnTo>
                    <a:pt x="99" y="384"/>
                  </a:lnTo>
                  <a:lnTo>
                    <a:pt x="99" y="381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3" y="381"/>
                  </a:lnTo>
                  <a:lnTo>
                    <a:pt x="93" y="378"/>
                  </a:lnTo>
                  <a:lnTo>
                    <a:pt x="96" y="378"/>
                  </a:lnTo>
                  <a:lnTo>
                    <a:pt x="93" y="378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1" y="375"/>
                  </a:lnTo>
                  <a:lnTo>
                    <a:pt x="81" y="372"/>
                  </a:lnTo>
                  <a:lnTo>
                    <a:pt x="78" y="372"/>
                  </a:lnTo>
                  <a:lnTo>
                    <a:pt x="78" y="369"/>
                  </a:lnTo>
                  <a:lnTo>
                    <a:pt x="75" y="369"/>
                  </a:lnTo>
                  <a:lnTo>
                    <a:pt x="75" y="372"/>
                  </a:lnTo>
                  <a:lnTo>
                    <a:pt x="72" y="372"/>
                  </a:lnTo>
                  <a:lnTo>
                    <a:pt x="69" y="372"/>
                  </a:lnTo>
                  <a:lnTo>
                    <a:pt x="69" y="369"/>
                  </a:lnTo>
                  <a:lnTo>
                    <a:pt x="66" y="369"/>
                  </a:lnTo>
                  <a:lnTo>
                    <a:pt x="63" y="366"/>
                  </a:lnTo>
                  <a:lnTo>
                    <a:pt x="60" y="366"/>
                  </a:lnTo>
                  <a:lnTo>
                    <a:pt x="57" y="366"/>
                  </a:lnTo>
                  <a:lnTo>
                    <a:pt x="54" y="366"/>
                  </a:lnTo>
                  <a:lnTo>
                    <a:pt x="51" y="369"/>
                  </a:lnTo>
                  <a:lnTo>
                    <a:pt x="48" y="369"/>
                  </a:lnTo>
                  <a:lnTo>
                    <a:pt x="48" y="366"/>
                  </a:lnTo>
                  <a:lnTo>
                    <a:pt x="45" y="366"/>
                  </a:lnTo>
                  <a:lnTo>
                    <a:pt x="42" y="366"/>
                  </a:lnTo>
                  <a:lnTo>
                    <a:pt x="39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0" y="360"/>
                  </a:lnTo>
                  <a:lnTo>
                    <a:pt x="30" y="357"/>
                  </a:lnTo>
                  <a:lnTo>
                    <a:pt x="27" y="357"/>
                  </a:lnTo>
                  <a:lnTo>
                    <a:pt x="24" y="354"/>
                  </a:lnTo>
                  <a:lnTo>
                    <a:pt x="21" y="354"/>
                  </a:lnTo>
                  <a:lnTo>
                    <a:pt x="18" y="357"/>
                  </a:lnTo>
                  <a:lnTo>
                    <a:pt x="18" y="360"/>
                  </a:lnTo>
                  <a:lnTo>
                    <a:pt x="15" y="360"/>
                  </a:lnTo>
                  <a:lnTo>
                    <a:pt x="12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6" y="357"/>
                  </a:lnTo>
                  <a:lnTo>
                    <a:pt x="6" y="354"/>
                  </a:lnTo>
                  <a:lnTo>
                    <a:pt x="3" y="354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3" y="345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6"/>
                  </a:lnTo>
                  <a:lnTo>
                    <a:pt x="0" y="333"/>
                  </a:lnTo>
                  <a:lnTo>
                    <a:pt x="3" y="333"/>
                  </a:lnTo>
                  <a:lnTo>
                    <a:pt x="6" y="336"/>
                  </a:lnTo>
                  <a:lnTo>
                    <a:pt x="9" y="336"/>
                  </a:lnTo>
                  <a:lnTo>
                    <a:pt x="12" y="333"/>
                  </a:lnTo>
                  <a:lnTo>
                    <a:pt x="12" y="330"/>
                  </a:lnTo>
                  <a:lnTo>
                    <a:pt x="15" y="330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8" y="327"/>
                  </a:lnTo>
                  <a:lnTo>
                    <a:pt x="21" y="327"/>
                  </a:lnTo>
                  <a:lnTo>
                    <a:pt x="21" y="324"/>
                  </a:lnTo>
                  <a:lnTo>
                    <a:pt x="18" y="324"/>
                  </a:lnTo>
                  <a:lnTo>
                    <a:pt x="21" y="324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27" y="321"/>
                  </a:lnTo>
                  <a:lnTo>
                    <a:pt x="27" y="318"/>
                  </a:lnTo>
                  <a:lnTo>
                    <a:pt x="30" y="321"/>
                  </a:lnTo>
                  <a:lnTo>
                    <a:pt x="30" y="318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4" y="306"/>
                  </a:lnTo>
                  <a:lnTo>
                    <a:pt x="21" y="306"/>
                  </a:lnTo>
                  <a:lnTo>
                    <a:pt x="21" y="303"/>
                  </a:lnTo>
                  <a:lnTo>
                    <a:pt x="24" y="303"/>
                  </a:lnTo>
                  <a:lnTo>
                    <a:pt x="24" y="300"/>
                  </a:lnTo>
                  <a:lnTo>
                    <a:pt x="27" y="300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3" y="297"/>
                  </a:lnTo>
                  <a:lnTo>
                    <a:pt x="33" y="294"/>
                  </a:lnTo>
                  <a:lnTo>
                    <a:pt x="30" y="294"/>
                  </a:lnTo>
                  <a:lnTo>
                    <a:pt x="33" y="291"/>
                  </a:lnTo>
                  <a:lnTo>
                    <a:pt x="27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282"/>
                  </a:lnTo>
                  <a:lnTo>
                    <a:pt x="30" y="279"/>
                  </a:lnTo>
                  <a:lnTo>
                    <a:pt x="33" y="279"/>
                  </a:lnTo>
                  <a:lnTo>
                    <a:pt x="33" y="276"/>
                  </a:lnTo>
                  <a:lnTo>
                    <a:pt x="33" y="273"/>
                  </a:lnTo>
                  <a:lnTo>
                    <a:pt x="36" y="273"/>
                  </a:lnTo>
                  <a:lnTo>
                    <a:pt x="39" y="270"/>
                  </a:lnTo>
                  <a:lnTo>
                    <a:pt x="42" y="270"/>
                  </a:lnTo>
                  <a:lnTo>
                    <a:pt x="45" y="270"/>
                  </a:lnTo>
                  <a:lnTo>
                    <a:pt x="42" y="267"/>
                  </a:lnTo>
                  <a:lnTo>
                    <a:pt x="45" y="267"/>
                  </a:lnTo>
                  <a:lnTo>
                    <a:pt x="42" y="264"/>
                  </a:lnTo>
                  <a:lnTo>
                    <a:pt x="45" y="264"/>
                  </a:lnTo>
                  <a:lnTo>
                    <a:pt x="48" y="264"/>
                  </a:lnTo>
                  <a:lnTo>
                    <a:pt x="45" y="261"/>
                  </a:lnTo>
                  <a:lnTo>
                    <a:pt x="45" y="258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8" y="252"/>
                  </a:lnTo>
                  <a:lnTo>
                    <a:pt x="51" y="252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4" y="246"/>
                  </a:lnTo>
                  <a:lnTo>
                    <a:pt x="57" y="246"/>
                  </a:lnTo>
                  <a:lnTo>
                    <a:pt x="57" y="243"/>
                  </a:lnTo>
                  <a:lnTo>
                    <a:pt x="57" y="240"/>
                  </a:lnTo>
                  <a:lnTo>
                    <a:pt x="57" y="237"/>
                  </a:lnTo>
                  <a:lnTo>
                    <a:pt x="57" y="234"/>
                  </a:lnTo>
                  <a:lnTo>
                    <a:pt x="54" y="234"/>
                  </a:lnTo>
                  <a:lnTo>
                    <a:pt x="54" y="231"/>
                  </a:lnTo>
                  <a:lnTo>
                    <a:pt x="54" y="228"/>
                  </a:lnTo>
                  <a:lnTo>
                    <a:pt x="51" y="228"/>
                  </a:lnTo>
                  <a:lnTo>
                    <a:pt x="48" y="228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5" y="216"/>
                  </a:lnTo>
                  <a:lnTo>
                    <a:pt x="42" y="216"/>
                  </a:lnTo>
                  <a:lnTo>
                    <a:pt x="39" y="216"/>
                  </a:lnTo>
                  <a:lnTo>
                    <a:pt x="39" y="213"/>
                  </a:lnTo>
                  <a:lnTo>
                    <a:pt x="36" y="213"/>
                  </a:lnTo>
                  <a:lnTo>
                    <a:pt x="39" y="210"/>
                  </a:lnTo>
                  <a:lnTo>
                    <a:pt x="36" y="210"/>
                  </a:lnTo>
                  <a:lnTo>
                    <a:pt x="33" y="210"/>
                  </a:lnTo>
                  <a:lnTo>
                    <a:pt x="33" y="207"/>
                  </a:lnTo>
                  <a:lnTo>
                    <a:pt x="30" y="207"/>
                  </a:lnTo>
                  <a:lnTo>
                    <a:pt x="30" y="204"/>
                  </a:lnTo>
                  <a:lnTo>
                    <a:pt x="27" y="204"/>
                  </a:lnTo>
                  <a:lnTo>
                    <a:pt x="27" y="201"/>
                  </a:lnTo>
                  <a:lnTo>
                    <a:pt x="24" y="201"/>
                  </a:lnTo>
                  <a:lnTo>
                    <a:pt x="24" y="198"/>
                  </a:lnTo>
                  <a:lnTo>
                    <a:pt x="21" y="198"/>
                  </a:lnTo>
                  <a:lnTo>
                    <a:pt x="18" y="198"/>
                  </a:lnTo>
                  <a:lnTo>
                    <a:pt x="18" y="201"/>
                  </a:lnTo>
                  <a:lnTo>
                    <a:pt x="18" y="198"/>
                  </a:lnTo>
                  <a:lnTo>
                    <a:pt x="15" y="198"/>
                  </a:lnTo>
                  <a:lnTo>
                    <a:pt x="15" y="195"/>
                  </a:lnTo>
                  <a:lnTo>
                    <a:pt x="15" y="192"/>
                  </a:lnTo>
                  <a:lnTo>
                    <a:pt x="12" y="192"/>
                  </a:lnTo>
                  <a:lnTo>
                    <a:pt x="12" y="189"/>
                  </a:lnTo>
                  <a:lnTo>
                    <a:pt x="15" y="189"/>
                  </a:lnTo>
                  <a:lnTo>
                    <a:pt x="12" y="186"/>
                  </a:lnTo>
                  <a:lnTo>
                    <a:pt x="9" y="186"/>
                  </a:lnTo>
                  <a:lnTo>
                    <a:pt x="9" y="183"/>
                  </a:lnTo>
                  <a:lnTo>
                    <a:pt x="12" y="180"/>
                  </a:lnTo>
                  <a:lnTo>
                    <a:pt x="12" y="177"/>
                  </a:lnTo>
                  <a:lnTo>
                    <a:pt x="15" y="174"/>
                  </a:lnTo>
                  <a:lnTo>
                    <a:pt x="15" y="171"/>
                  </a:lnTo>
                  <a:lnTo>
                    <a:pt x="18" y="171"/>
                  </a:lnTo>
                  <a:lnTo>
                    <a:pt x="15" y="171"/>
                  </a:lnTo>
                  <a:lnTo>
                    <a:pt x="18" y="168"/>
                  </a:lnTo>
                  <a:lnTo>
                    <a:pt x="21" y="168"/>
                  </a:lnTo>
                  <a:lnTo>
                    <a:pt x="21" y="165"/>
                  </a:lnTo>
                  <a:lnTo>
                    <a:pt x="24" y="165"/>
                  </a:lnTo>
                  <a:lnTo>
                    <a:pt x="27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2"/>
                  </a:lnTo>
                  <a:lnTo>
                    <a:pt x="33" y="165"/>
                  </a:lnTo>
                  <a:lnTo>
                    <a:pt x="36" y="165"/>
                  </a:lnTo>
                  <a:lnTo>
                    <a:pt x="39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9" y="156"/>
                  </a:lnTo>
                  <a:lnTo>
                    <a:pt x="39" y="153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3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4" y="144"/>
                  </a:lnTo>
                  <a:lnTo>
                    <a:pt x="57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0" y="138"/>
                  </a:lnTo>
                  <a:lnTo>
                    <a:pt x="63" y="138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5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5" y="129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78" y="102"/>
                  </a:lnTo>
                  <a:lnTo>
                    <a:pt x="78" y="99"/>
                  </a:lnTo>
                  <a:lnTo>
                    <a:pt x="78" y="96"/>
                  </a:lnTo>
                  <a:lnTo>
                    <a:pt x="81" y="96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8" y="90"/>
                  </a:lnTo>
                  <a:lnTo>
                    <a:pt x="78" y="87"/>
                  </a:lnTo>
                  <a:lnTo>
                    <a:pt x="78" y="84"/>
                  </a:lnTo>
                  <a:lnTo>
                    <a:pt x="75" y="81"/>
                  </a:lnTo>
                  <a:lnTo>
                    <a:pt x="75" y="78"/>
                  </a:lnTo>
                  <a:lnTo>
                    <a:pt x="78" y="78"/>
                  </a:lnTo>
                  <a:lnTo>
                    <a:pt x="81" y="78"/>
                  </a:lnTo>
                  <a:lnTo>
                    <a:pt x="81" y="75"/>
                  </a:lnTo>
                  <a:lnTo>
                    <a:pt x="84" y="75"/>
                  </a:lnTo>
                  <a:lnTo>
                    <a:pt x="84" y="72"/>
                  </a:lnTo>
                  <a:lnTo>
                    <a:pt x="84" y="69"/>
                  </a:lnTo>
                  <a:lnTo>
                    <a:pt x="81" y="69"/>
                  </a:lnTo>
                  <a:lnTo>
                    <a:pt x="78" y="66"/>
                  </a:lnTo>
                  <a:lnTo>
                    <a:pt x="81" y="63"/>
                  </a:lnTo>
                  <a:lnTo>
                    <a:pt x="78" y="63"/>
                  </a:lnTo>
                  <a:lnTo>
                    <a:pt x="81" y="63"/>
                  </a:lnTo>
                  <a:lnTo>
                    <a:pt x="81" y="60"/>
                  </a:lnTo>
                  <a:lnTo>
                    <a:pt x="84" y="60"/>
                  </a:lnTo>
                  <a:lnTo>
                    <a:pt x="87" y="60"/>
                  </a:lnTo>
                  <a:lnTo>
                    <a:pt x="87" y="63"/>
                  </a:lnTo>
                  <a:lnTo>
                    <a:pt x="87" y="60"/>
                  </a:lnTo>
                  <a:lnTo>
                    <a:pt x="87" y="57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6" y="51"/>
                  </a:lnTo>
                  <a:lnTo>
                    <a:pt x="99" y="54"/>
                  </a:lnTo>
                  <a:lnTo>
                    <a:pt x="102" y="54"/>
                  </a:lnTo>
                  <a:lnTo>
                    <a:pt x="105" y="57"/>
                  </a:lnTo>
                  <a:lnTo>
                    <a:pt x="105" y="54"/>
                  </a:lnTo>
                  <a:lnTo>
                    <a:pt x="108" y="54"/>
                  </a:lnTo>
                  <a:lnTo>
                    <a:pt x="111" y="54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4"/>
                  </a:lnTo>
                  <a:lnTo>
                    <a:pt x="120" y="54"/>
                  </a:lnTo>
                  <a:lnTo>
                    <a:pt x="120" y="51"/>
                  </a:lnTo>
                  <a:lnTo>
                    <a:pt x="123" y="54"/>
                  </a:lnTo>
                  <a:lnTo>
                    <a:pt x="126" y="54"/>
                  </a:lnTo>
                  <a:lnTo>
                    <a:pt x="126" y="51"/>
                  </a:lnTo>
                  <a:lnTo>
                    <a:pt x="126" y="48"/>
                  </a:lnTo>
                  <a:lnTo>
                    <a:pt x="129" y="48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8" y="45"/>
                  </a:lnTo>
                  <a:lnTo>
                    <a:pt x="138" y="48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3" y="48"/>
                  </a:lnTo>
                  <a:lnTo>
                    <a:pt x="159" y="45"/>
                  </a:lnTo>
                  <a:lnTo>
                    <a:pt x="162" y="45"/>
                  </a:lnTo>
                  <a:lnTo>
                    <a:pt x="168" y="48"/>
                  </a:lnTo>
                  <a:lnTo>
                    <a:pt x="174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80" y="48"/>
                  </a:lnTo>
                  <a:lnTo>
                    <a:pt x="180" y="51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6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51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8" y="51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48"/>
                  </a:lnTo>
                  <a:lnTo>
                    <a:pt x="207" y="45"/>
                  </a:lnTo>
                  <a:lnTo>
                    <a:pt x="210" y="42"/>
                  </a:lnTo>
                  <a:close/>
                  <a:moveTo>
                    <a:pt x="60" y="300"/>
                  </a:moveTo>
                  <a:lnTo>
                    <a:pt x="57" y="300"/>
                  </a:lnTo>
                  <a:lnTo>
                    <a:pt x="57" y="303"/>
                  </a:lnTo>
                  <a:lnTo>
                    <a:pt x="54" y="303"/>
                  </a:lnTo>
                  <a:lnTo>
                    <a:pt x="57" y="306"/>
                  </a:lnTo>
                  <a:lnTo>
                    <a:pt x="60" y="306"/>
                  </a:lnTo>
                  <a:lnTo>
                    <a:pt x="60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54" y="315"/>
                  </a:lnTo>
                  <a:lnTo>
                    <a:pt x="54" y="318"/>
                  </a:lnTo>
                  <a:lnTo>
                    <a:pt x="51" y="321"/>
                  </a:lnTo>
                  <a:lnTo>
                    <a:pt x="54" y="321"/>
                  </a:lnTo>
                  <a:lnTo>
                    <a:pt x="57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3" y="330"/>
                  </a:lnTo>
                  <a:lnTo>
                    <a:pt x="60" y="330"/>
                  </a:lnTo>
                  <a:lnTo>
                    <a:pt x="63" y="333"/>
                  </a:lnTo>
                  <a:lnTo>
                    <a:pt x="63" y="336"/>
                  </a:lnTo>
                  <a:lnTo>
                    <a:pt x="60" y="339"/>
                  </a:lnTo>
                  <a:lnTo>
                    <a:pt x="63" y="339"/>
                  </a:lnTo>
                  <a:lnTo>
                    <a:pt x="66" y="342"/>
                  </a:lnTo>
                  <a:lnTo>
                    <a:pt x="69" y="345"/>
                  </a:lnTo>
                  <a:lnTo>
                    <a:pt x="69" y="348"/>
                  </a:lnTo>
                  <a:lnTo>
                    <a:pt x="69" y="351"/>
                  </a:lnTo>
                  <a:lnTo>
                    <a:pt x="72" y="351"/>
                  </a:lnTo>
                  <a:lnTo>
                    <a:pt x="72" y="354"/>
                  </a:lnTo>
                  <a:lnTo>
                    <a:pt x="69" y="354"/>
                  </a:lnTo>
                  <a:lnTo>
                    <a:pt x="72" y="357"/>
                  </a:lnTo>
                  <a:lnTo>
                    <a:pt x="69" y="357"/>
                  </a:lnTo>
                  <a:lnTo>
                    <a:pt x="72" y="357"/>
                  </a:lnTo>
                  <a:lnTo>
                    <a:pt x="72" y="360"/>
                  </a:lnTo>
                  <a:lnTo>
                    <a:pt x="75" y="357"/>
                  </a:lnTo>
                  <a:lnTo>
                    <a:pt x="75" y="354"/>
                  </a:lnTo>
                  <a:lnTo>
                    <a:pt x="78" y="354"/>
                  </a:lnTo>
                  <a:lnTo>
                    <a:pt x="81" y="354"/>
                  </a:lnTo>
                  <a:lnTo>
                    <a:pt x="84" y="354"/>
                  </a:lnTo>
                  <a:lnTo>
                    <a:pt x="87" y="354"/>
                  </a:lnTo>
                  <a:lnTo>
                    <a:pt x="87" y="357"/>
                  </a:lnTo>
                  <a:lnTo>
                    <a:pt x="90" y="357"/>
                  </a:lnTo>
                  <a:lnTo>
                    <a:pt x="90" y="360"/>
                  </a:lnTo>
                  <a:lnTo>
                    <a:pt x="93" y="360"/>
                  </a:lnTo>
                  <a:lnTo>
                    <a:pt x="96" y="360"/>
                  </a:lnTo>
                  <a:lnTo>
                    <a:pt x="96" y="357"/>
                  </a:lnTo>
                  <a:lnTo>
                    <a:pt x="99" y="360"/>
                  </a:lnTo>
                  <a:lnTo>
                    <a:pt x="99" y="363"/>
                  </a:lnTo>
                  <a:lnTo>
                    <a:pt x="99" y="360"/>
                  </a:lnTo>
                  <a:lnTo>
                    <a:pt x="102" y="360"/>
                  </a:lnTo>
                  <a:lnTo>
                    <a:pt x="102" y="357"/>
                  </a:lnTo>
                  <a:lnTo>
                    <a:pt x="102" y="354"/>
                  </a:lnTo>
                  <a:lnTo>
                    <a:pt x="105" y="354"/>
                  </a:lnTo>
                  <a:lnTo>
                    <a:pt x="105" y="351"/>
                  </a:lnTo>
                  <a:lnTo>
                    <a:pt x="108" y="351"/>
                  </a:lnTo>
                  <a:lnTo>
                    <a:pt x="108" y="348"/>
                  </a:lnTo>
                  <a:lnTo>
                    <a:pt x="108" y="345"/>
                  </a:lnTo>
                  <a:lnTo>
                    <a:pt x="108" y="348"/>
                  </a:lnTo>
                  <a:lnTo>
                    <a:pt x="111" y="348"/>
                  </a:lnTo>
                  <a:lnTo>
                    <a:pt x="111" y="345"/>
                  </a:lnTo>
                  <a:lnTo>
                    <a:pt x="114" y="345"/>
                  </a:lnTo>
                  <a:lnTo>
                    <a:pt x="114" y="342"/>
                  </a:lnTo>
                  <a:lnTo>
                    <a:pt x="111" y="342"/>
                  </a:lnTo>
                  <a:lnTo>
                    <a:pt x="111" y="339"/>
                  </a:lnTo>
                  <a:lnTo>
                    <a:pt x="108" y="339"/>
                  </a:lnTo>
                  <a:lnTo>
                    <a:pt x="108" y="342"/>
                  </a:lnTo>
                  <a:lnTo>
                    <a:pt x="108" y="339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5" y="339"/>
                  </a:lnTo>
                  <a:lnTo>
                    <a:pt x="105" y="336"/>
                  </a:lnTo>
                  <a:lnTo>
                    <a:pt x="102" y="336"/>
                  </a:lnTo>
                  <a:lnTo>
                    <a:pt x="102" y="333"/>
                  </a:lnTo>
                  <a:lnTo>
                    <a:pt x="99" y="333"/>
                  </a:lnTo>
                  <a:lnTo>
                    <a:pt x="99" y="330"/>
                  </a:lnTo>
                  <a:lnTo>
                    <a:pt x="96" y="327"/>
                  </a:lnTo>
                  <a:lnTo>
                    <a:pt x="99" y="327"/>
                  </a:lnTo>
                  <a:lnTo>
                    <a:pt x="99" y="324"/>
                  </a:lnTo>
                  <a:lnTo>
                    <a:pt x="96" y="324"/>
                  </a:lnTo>
                  <a:lnTo>
                    <a:pt x="96" y="321"/>
                  </a:lnTo>
                  <a:lnTo>
                    <a:pt x="93" y="321"/>
                  </a:lnTo>
                  <a:lnTo>
                    <a:pt x="90" y="318"/>
                  </a:lnTo>
                  <a:lnTo>
                    <a:pt x="93" y="318"/>
                  </a:lnTo>
                  <a:lnTo>
                    <a:pt x="90" y="315"/>
                  </a:lnTo>
                  <a:lnTo>
                    <a:pt x="90" y="312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4" y="312"/>
                  </a:lnTo>
                  <a:lnTo>
                    <a:pt x="81" y="312"/>
                  </a:lnTo>
                  <a:lnTo>
                    <a:pt x="78" y="312"/>
                  </a:lnTo>
                  <a:lnTo>
                    <a:pt x="75" y="312"/>
                  </a:lnTo>
                  <a:lnTo>
                    <a:pt x="75" y="309"/>
                  </a:lnTo>
                  <a:lnTo>
                    <a:pt x="72" y="309"/>
                  </a:lnTo>
                  <a:lnTo>
                    <a:pt x="69" y="309"/>
                  </a:lnTo>
                  <a:lnTo>
                    <a:pt x="69" y="306"/>
                  </a:lnTo>
                  <a:lnTo>
                    <a:pt x="66" y="306"/>
                  </a:lnTo>
                  <a:lnTo>
                    <a:pt x="63" y="306"/>
                  </a:lnTo>
                  <a:lnTo>
                    <a:pt x="63" y="303"/>
                  </a:lnTo>
                  <a:lnTo>
                    <a:pt x="60" y="303"/>
                  </a:lnTo>
                  <a:lnTo>
                    <a:pt x="60" y="30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01" name="Freeform 37">
              <a:extLst>
                <a:ext uri="{FF2B5EF4-FFF2-40B4-BE49-F238E27FC236}">
                  <a16:creationId xmlns:a16="http://schemas.microsoft.com/office/drawing/2014/main" id="{92400C16-D3D3-4EEB-92E2-E0458FFA8A0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89450" y="3379788"/>
              <a:ext cx="403225" cy="395287"/>
            </a:xfrm>
            <a:custGeom>
              <a:avLst/>
              <a:gdLst>
                <a:gd name="T0" fmla="*/ 272770 w 204"/>
                <a:gd name="T1" fmla="*/ 0 h 201"/>
                <a:gd name="T2" fmla="*/ 284629 w 204"/>
                <a:gd name="T3" fmla="*/ 23599 h 201"/>
                <a:gd name="T4" fmla="*/ 296489 w 204"/>
                <a:gd name="T5" fmla="*/ 35399 h 201"/>
                <a:gd name="T6" fmla="*/ 314278 w 204"/>
                <a:gd name="T7" fmla="*/ 47198 h 201"/>
                <a:gd name="T8" fmla="*/ 326138 w 204"/>
                <a:gd name="T9" fmla="*/ 58998 h 201"/>
                <a:gd name="T10" fmla="*/ 349857 w 204"/>
                <a:gd name="T11" fmla="*/ 70798 h 201"/>
                <a:gd name="T12" fmla="*/ 361717 w 204"/>
                <a:gd name="T13" fmla="*/ 88497 h 201"/>
                <a:gd name="T14" fmla="*/ 385436 w 204"/>
                <a:gd name="T15" fmla="*/ 106197 h 201"/>
                <a:gd name="T16" fmla="*/ 397295 w 204"/>
                <a:gd name="T17" fmla="*/ 129796 h 201"/>
                <a:gd name="T18" fmla="*/ 397295 w 204"/>
                <a:gd name="T19" fmla="*/ 153395 h 201"/>
                <a:gd name="T20" fmla="*/ 379506 w 204"/>
                <a:gd name="T21" fmla="*/ 171094 h 201"/>
                <a:gd name="T22" fmla="*/ 379506 w 204"/>
                <a:gd name="T23" fmla="*/ 188794 h 201"/>
                <a:gd name="T24" fmla="*/ 367646 w 204"/>
                <a:gd name="T25" fmla="*/ 200593 h 201"/>
                <a:gd name="T26" fmla="*/ 349857 w 204"/>
                <a:gd name="T27" fmla="*/ 224193 h 201"/>
                <a:gd name="T28" fmla="*/ 355787 w 204"/>
                <a:gd name="T29" fmla="*/ 247792 h 201"/>
                <a:gd name="T30" fmla="*/ 343927 w 204"/>
                <a:gd name="T31" fmla="*/ 259591 h 201"/>
                <a:gd name="T32" fmla="*/ 326138 w 204"/>
                <a:gd name="T33" fmla="*/ 271391 h 201"/>
                <a:gd name="T34" fmla="*/ 302419 w 204"/>
                <a:gd name="T35" fmla="*/ 289090 h 201"/>
                <a:gd name="T36" fmla="*/ 266840 w 204"/>
                <a:gd name="T37" fmla="*/ 294990 h 201"/>
                <a:gd name="T38" fmla="*/ 231261 w 204"/>
                <a:gd name="T39" fmla="*/ 294990 h 201"/>
                <a:gd name="T40" fmla="*/ 213472 w 204"/>
                <a:gd name="T41" fmla="*/ 318590 h 201"/>
                <a:gd name="T42" fmla="*/ 207542 w 204"/>
                <a:gd name="T43" fmla="*/ 336289 h 201"/>
                <a:gd name="T44" fmla="*/ 189753 w 204"/>
                <a:gd name="T45" fmla="*/ 359888 h 201"/>
                <a:gd name="T46" fmla="*/ 189753 w 204"/>
                <a:gd name="T47" fmla="*/ 377588 h 201"/>
                <a:gd name="T48" fmla="*/ 171964 w 204"/>
                <a:gd name="T49" fmla="*/ 383487 h 201"/>
                <a:gd name="T50" fmla="*/ 148244 w 204"/>
                <a:gd name="T51" fmla="*/ 377588 h 201"/>
                <a:gd name="T52" fmla="*/ 130455 w 204"/>
                <a:gd name="T53" fmla="*/ 359888 h 201"/>
                <a:gd name="T54" fmla="*/ 112666 w 204"/>
                <a:gd name="T55" fmla="*/ 342189 h 201"/>
                <a:gd name="T56" fmla="*/ 100806 w 204"/>
                <a:gd name="T57" fmla="*/ 330389 h 201"/>
                <a:gd name="T58" fmla="*/ 88947 w 204"/>
                <a:gd name="T59" fmla="*/ 318590 h 201"/>
                <a:gd name="T60" fmla="*/ 71157 w 204"/>
                <a:gd name="T61" fmla="*/ 300890 h 201"/>
                <a:gd name="T62" fmla="*/ 47438 w 204"/>
                <a:gd name="T63" fmla="*/ 289090 h 201"/>
                <a:gd name="T64" fmla="*/ 35579 w 204"/>
                <a:gd name="T65" fmla="*/ 265491 h 201"/>
                <a:gd name="T66" fmla="*/ 23719 w 204"/>
                <a:gd name="T67" fmla="*/ 235992 h 201"/>
                <a:gd name="T68" fmla="*/ 5930 w 204"/>
                <a:gd name="T69" fmla="*/ 206493 h 201"/>
                <a:gd name="T70" fmla="*/ 5930 w 204"/>
                <a:gd name="T71" fmla="*/ 194694 h 201"/>
                <a:gd name="T72" fmla="*/ 23719 w 204"/>
                <a:gd name="T73" fmla="*/ 188794 h 201"/>
                <a:gd name="T74" fmla="*/ 41508 w 204"/>
                <a:gd name="T75" fmla="*/ 182894 h 201"/>
                <a:gd name="T76" fmla="*/ 53368 w 204"/>
                <a:gd name="T77" fmla="*/ 171094 h 201"/>
                <a:gd name="T78" fmla="*/ 65228 w 204"/>
                <a:gd name="T79" fmla="*/ 147495 h 201"/>
                <a:gd name="T80" fmla="*/ 77087 w 204"/>
                <a:gd name="T81" fmla="*/ 135696 h 201"/>
                <a:gd name="T82" fmla="*/ 83017 w 204"/>
                <a:gd name="T83" fmla="*/ 117996 h 201"/>
                <a:gd name="T84" fmla="*/ 94876 w 204"/>
                <a:gd name="T85" fmla="*/ 106197 h 201"/>
                <a:gd name="T86" fmla="*/ 106736 w 204"/>
                <a:gd name="T87" fmla="*/ 94397 h 201"/>
                <a:gd name="T88" fmla="*/ 118596 w 204"/>
                <a:gd name="T89" fmla="*/ 82597 h 201"/>
                <a:gd name="T90" fmla="*/ 118596 w 204"/>
                <a:gd name="T91" fmla="*/ 70798 h 201"/>
                <a:gd name="T92" fmla="*/ 130455 w 204"/>
                <a:gd name="T93" fmla="*/ 58998 h 201"/>
                <a:gd name="T94" fmla="*/ 142315 w 204"/>
                <a:gd name="T95" fmla="*/ 58998 h 201"/>
                <a:gd name="T96" fmla="*/ 148244 w 204"/>
                <a:gd name="T97" fmla="*/ 53098 h 201"/>
                <a:gd name="T98" fmla="*/ 166034 w 204"/>
                <a:gd name="T99" fmla="*/ 58998 h 201"/>
                <a:gd name="T100" fmla="*/ 171964 w 204"/>
                <a:gd name="T101" fmla="*/ 53098 h 201"/>
                <a:gd name="T102" fmla="*/ 183823 w 204"/>
                <a:gd name="T103" fmla="*/ 29499 h 201"/>
                <a:gd name="T104" fmla="*/ 213472 w 204"/>
                <a:gd name="T105" fmla="*/ 23599 h 201"/>
                <a:gd name="T106" fmla="*/ 231261 w 204"/>
                <a:gd name="T107" fmla="*/ 11800 h 2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01">
                  <a:moveTo>
                    <a:pt x="126" y="3"/>
                  </a:moveTo>
                  <a:lnTo>
                    <a:pt x="129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0"/>
                  </a:lnTo>
                  <a:lnTo>
                    <a:pt x="138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9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9"/>
                  </a:lnTo>
                  <a:lnTo>
                    <a:pt x="147" y="9"/>
                  </a:lnTo>
                  <a:lnTo>
                    <a:pt x="147" y="12"/>
                  </a:lnTo>
                  <a:lnTo>
                    <a:pt x="150" y="12"/>
                  </a:lnTo>
                  <a:lnTo>
                    <a:pt x="150" y="15"/>
                  </a:lnTo>
                  <a:lnTo>
                    <a:pt x="150" y="18"/>
                  </a:lnTo>
                  <a:lnTo>
                    <a:pt x="153" y="18"/>
                  </a:lnTo>
                  <a:lnTo>
                    <a:pt x="156" y="18"/>
                  </a:lnTo>
                  <a:lnTo>
                    <a:pt x="159" y="18"/>
                  </a:lnTo>
                  <a:lnTo>
                    <a:pt x="162" y="21"/>
                  </a:lnTo>
                  <a:lnTo>
                    <a:pt x="159" y="21"/>
                  </a:lnTo>
                  <a:lnTo>
                    <a:pt x="159" y="24"/>
                  </a:lnTo>
                  <a:lnTo>
                    <a:pt x="162" y="24"/>
                  </a:lnTo>
                  <a:lnTo>
                    <a:pt x="162" y="27"/>
                  </a:lnTo>
                  <a:lnTo>
                    <a:pt x="162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30"/>
                  </a:lnTo>
                  <a:lnTo>
                    <a:pt x="171" y="33"/>
                  </a:lnTo>
                  <a:lnTo>
                    <a:pt x="174" y="33"/>
                  </a:lnTo>
                  <a:lnTo>
                    <a:pt x="174" y="36"/>
                  </a:lnTo>
                  <a:lnTo>
                    <a:pt x="177" y="36"/>
                  </a:lnTo>
                  <a:lnTo>
                    <a:pt x="177" y="39"/>
                  </a:lnTo>
                  <a:lnTo>
                    <a:pt x="180" y="39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6" y="42"/>
                  </a:lnTo>
                  <a:lnTo>
                    <a:pt x="183" y="45"/>
                  </a:lnTo>
                  <a:lnTo>
                    <a:pt x="186" y="45"/>
                  </a:lnTo>
                  <a:lnTo>
                    <a:pt x="186" y="48"/>
                  </a:lnTo>
                  <a:lnTo>
                    <a:pt x="189" y="48"/>
                  </a:lnTo>
                  <a:lnTo>
                    <a:pt x="192" y="48"/>
                  </a:lnTo>
                  <a:lnTo>
                    <a:pt x="195" y="51"/>
                  </a:lnTo>
                  <a:lnTo>
                    <a:pt x="195" y="54"/>
                  </a:lnTo>
                  <a:lnTo>
                    <a:pt x="195" y="57"/>
                  </a:lnTo>
                  <a:lnTo>
                    <a:pt x="195" y="60"/>
                  </a:lnTo>
                  <a:lnTo>
                    <a:pt x="198" y="60"/>
                  </a:lnTo>
                  <a:lnTo>
                    <a:pt x="201" y="60"/>
                  </a:lnTo>
                  <a:lnTo>
                    <a:pt x="201" y="63"/>
                  </a:lnTo>
                  <a:lnTo>
                    <a:pt x="201" y="66"/>
                  </a:lnTo>
                  <a:lnTo>
                    <a:pt x="204" y="66"/>
                  </a:lnTo>
                  <a:lnTo>
                    <a:pt x="204" y="69"/>
                  </a:lnTo>
                  <a:lnTo>
                    <a:pt x="204" y="72"/>
                  </a:lnTo>
                  <a:lnTo>
                    <a:pt x="204" y="75"/>
                  </a:lnTo>
                  <a:lnTo>
                    <a:pt x="204" y="78"/>
                  </a:lnTo>
                  <a:lnTo>
                    <a:pt x="201" y="78"/>
                  </a:lnTo>
                  <a:lnTo>
                    <a:pt x="201" y="81"/>
                  </a:lnTo>
                  <a:lnTo>
                    <a:pt x="201" y="84"/>
                  </a:lnTo>
                  <a:lnTo>
                    <a:pt x="198" y="84"/>
                  </a:lnTo>
                  <a:lnTo>
                    <a:pt x="195" y="84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2" y="90"/>
                  </a:lnTo>
                  <a:lnTo>
                    <a:pt x="192" y="93"/>
                  </a:lnTo>
                  <a:lnTo>
                    <a:pt x="195" y="96"/>
                  </a:lnTo>
                  <a:lnTo>
                    <a:pt x="192" y="96"/>
                  </a:lnTo>
                  <a:lnTo>
                    <a:pt x="189" y="96"/>
                  </a:lnTo>
                  <a:lnTo>
                    <a:pt x="192" y="99"/>
                  </a:lnTo>
                  <a:lnTo>
                    <a:pt x="189" y="99"/>
                  </a:lnTo>
                  <a:lnTo>
                    <a:pt x="192" y="102"/>
                  </a:lnTo>
                  <a:lnTo>
                    <a:pt x="189" y="102"/>
                  </a:lnTo>
                  <a:lnTo>
                    <a:pt x="186" y="102"/>
                  </a:lnTo>
                  <a:lnTo>
                    <a:pt x="183" y="105"/>
                  </a:lnTo>
                  <a:lnTo>
                    <a:pt x="180" y="105"/>
                  </a:lnTo>
                  <a:lnTo>
                    <a:pt x="180" y="108"/>
                  </a:lnTo>
                  <a:lnTo>
                    <a:pt x="180" y="111"/>
                  </a:lnTo>
                  <a:lnTo>
                    <a:pt x="177" y="111"/>
                  </a:lnTo>
                  <a:lnTo>
                    <a:pt x="177" y="114"/>
                  </a:lnTo>
                  <a:lnTo>
                    <a:pt x="177" y="117"/>
                  </a:lnTo>
                  <a:lnTo>
                    <a:pt x="177" y="120"/>
                  </a:lnTo>
                  <a:lnTo>
                    <a:pt x="174" y="123"/>
                  </a:lnTo>
                  <a:lnTo>
                    <a:pt x="180" y="123"/>
                  </a:lnTo>
                  <a:lnTo>
                    <a:pt x="177" y="126"/>
                  </a:lnTo>
                  <a:lnTo>
                    <a:pt x="180" y="126"/>
                  </a:lnTo>
                  <a:lnTo>
                    <a:pt x="180" y="129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4" y="132"/>
                  </a:lnTo>
                  <a:lnTo>
                    <a:pt x="171" y="132"/>
                  </a:lnTo>
                  <a:lnTo>
                    <a:pt x="171" y="135"/>
                  </a:lnTo>
                  <a:lnTo>
                    <a:pt x="168" y="135"/>
                  </a:lnTo>
                  <a:lnTo>
                    <a:pt x="168" y="138"/>
                  </a:lnTo>
                  <a:lnTo>
                    <a:pt x="168" y="135"/>
                  </a:lnTo>
                  <a:lnTo>
                    <a:pt x="165" y="138"/>
                  </a:lnTo>
                  <a:lnTo>
                    <a:pt x="165" y="141"/>
                  </a:lnTo>
                  <a:lnTo>
                    <a:pt x="162" y="141"/>
                  </a:lnTo>
                  <a:lnTo>
                    <a:pt x="159" y="144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53" y="147"/>
                  </a:lnTo>
                  <a:lnTo>
                    <a:pt x="150" y="147"/>
                  </a:lnTo>
                  <a:lnTo>
                    <a:pt x="147" y="147"/>
                  </a:lnTo>
                  <a:lnTo>
                    <a:pt x="144" y="147"/>
                  </a:lnTo>
                  <a:lnTo>
                    <a:pt x="141" y="150"/>
                  </a:lnTo>
                  <a:lnTo>
                    <a:pt x="138" y="150"/>
                  </a:lnTo>
                  <a:lnTo>
                    <a:pt x="135" y="150"/>
                  </a:lnTo>
                  <a:lnTo>
                    <a:pt x="129" y="150"/>
                  </a:lnTo>
                  <a:lnTo>
                    <a:pt x="126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6"/>
                  </a:lnTo>
                  <a:lnTo>
                    <a:pt x="111" y="156"/>
                  </a:lnTo>
                  <a:lnTo>
                    <a:pt x="111" y="159"/>
                  </a:lnTo>
                  <a:lnTo>
                    <a:pt x="108" y="162"/>
                  </a:lnTo>
                  <a:lnTo>
                    <a:pt x="105" y="162"/>
                  </a:lnTo>
                  <a:lnTo>
                    <a:pt x="102" y="162"/>
                  </a:lnTo>
                  <a:lnTo>
                    <a:pt x="99" y="165"/>
                  </a:lnTo>
                  <a:lnTo>
                    <a:pt x="102" y="168"/>
                  </a:lnTo>
                  <a:lnTo>
                    <a:pt x="105" y="168"/>
                  </a:lnTo>
                  <a:lnTo>
                    <a:pt x="105" y="171"/>
                  </a:lnTo>
                  <a:lnTo>
                    <a:pt x="105" y="174"/>
                  </a:lnTo>
                  <a:lnTo>
                    <a:pt x="105" y="177"/>
                  </a:lnTo>
                  <a:lnTo>
                    <a:pt x="102" y="177"/>
                  </a:lnTo>
                  <a:lnTo>
                    <a:pt x="99" y="180"/>
                  </a:lnTo>
                  <a:lnTo>
                    <a:pt x="96" y="180"/>
                  </a:lnTo>
                  <a:lnTo>
                    <a:pt x="96" y="183"/>
                  </a:lnTo>
                  <a:lnTo>
                    <a:pt x="99" y="183"/>
                  </a:lnTo>
                  <a:lnTo>
                    <a:pt x="99" y="186"/>
                  </a:lnTo>
                  <a:lnTo>
                    <a:pt x="96" y="186"/>
                  </a:lnTo>
                  <a:lnTo>
                    <a:pt x="99" y="189"/>
                  </a:lnTo>
                  <a:lnTo>
                    <a:pt x="96" y="189"/>
                  </a:lnTo>
                  <a:lnTo>
                    <a:pt x="96" y="192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201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87" y="195"/>
                  </a:lnTo>
                  <a:lnTo>
                    <a:pt x="84" y="195"/>
                  </a:lnTo>
                  <a:lnTo>
                    <a:pt x="81" y="195"/>
                  </a:lnTo>
                  <a:lnTo>
                    <a:pt x="81" y="198"/>
                  </a:lnTo>
                  <a:lnTo>
                    <a:pt x="78" y="195"/>
                  </a:lnTo>
                  <a:lnTo>
                    <a:pt x="78" y="192"/>
                  </a:lnTo>
                  <a:lnTo>
                    <a:pt x="75" y="192"/>
                  </a:lnTo>
                  <a:lnTo>
                    <a:pt x="75" y="189"/>
                  </a:lnTo>
                  <a:lnTo>
                    <a:pt x="72" y="189"/>
                  </a:lnTo>
                  <a:lnTo>
                    <a:pt x="69" y="189"/>
                  </a:lnTo>
                  <a:lnTo>
                    <a:pt x="69" y="186"/>
                  </a:lnTo>
                  <a:lnTo>
                    <a:pt x="66" y="186"/>
                  </a:lnTo>
                  <a:lnTo>
                    <a:pt x="66" y="183"/>
                  </a:lnTo>
                  <a:lnTo>
                    <a:pt x="66" y="180"/>
                  </a:lnTo>
                  <a:lnTo>
                    <a:pt x="63" y="180"/>
                  </a:lnTo>
                  <a:lnTo>
                    <a:pt x="63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57" y="174"/>
                  </a:lnTo>
                  <a:lnTo>
                    <a:pt x="57" y="177"/>
                  </a:lnTo>
                  <a:lnTo>
                    <a:pt x="57" y="174"/>
                  </a:lnTo>
                  <a:lnTo>
                    <a:pt x="57" y="171"/>
                  </a:lnTo>
                  <a:lnTo>
                    <a:pt x="57" y="168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51" y="165"/>
                  </a:lnTo>
                  <a:lnTo>
                    <a:pt x="51" y="162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8" y="162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2" y="153"/>
                  </a:lnTo>
                  <a:lnTo>
                    <a:pt x="39" y="153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50"/>
                  </a:lnTo>
                  <a:lnTo>
                    <a:pt x="30" y="150"/>
                  </a:lnTo>
                  <a:lnTo>
                    <a:pt x="27" y="150"/>
                  </a:lnTo>
                  <a:lnTo>
                    <a:pt x="24" y="150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1" y="141"/>
                  </a:lnTo>
                  <a:lnTo>
                    <a:pt x="21" y="138"/>
                  </a:lnTo>
                  <a:lnTo>
                    <a:pt x="18" y="138"/>
                  </a:lnTo>
                  <a:lnTo>
                    <a:pt x="18" y="135"/>
                  </a:lnTo>
                  <a:lnTo>
                    <a:pt x="15" y="132"/>
                  </a:lnTo>
                  <a:lnTo>
                    <a:pt x="15" y="129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12" y="123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9" y="114"/>
                  </a:lnTo>
                  <a:lnTo>
                    <a:pt x="6" y="111"/>
                  </a:lnTo>
                  <a:lnTo>
                    <a:pt x="6" y="108"/>
                  </a:lnTo>
                  <a:lnTo>
                    <a:pt x="3" y="108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2" y="96"/>
                  </a:lnTo>
                  <a:lnTo>
                    <a:pt x="12" y="93"/>
                  </a:lnTo>
                  <a:lnTo>
                    <a:pt x="12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8" y="93"/>
                  </a:lnTo>
                  <a:lnTo>
                    <a:pt x="21" y="93"/>
                  </a:lnTo>
                  <a:lnTo>
                    <a:pt x="21" y="90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7"/>
                  </a:lnTo>
                  <a:lnTo>
                    <a:pt x="27" y="87"/>
                  </a:lnTo>
                  <a:lnTo>
                    <a:pt x="30" y="87"/>
                  </a:lnTo>
                  <a:lnTo>
                    <a:pt x="30" y="84"/>
                  </a:lnTo>
                  <a:lnTo>
                    <a:pt x="30" y="81"/>
                  </a:lnTo>
                  <a:lnTo>
                    <a:pt x="33" y="81"/>
                  </a:lnTo>
                  <a:lnTo>
                    <a:pt x="33" y="78"/>
                  </a:lnTo>
                  <a:lnTo>
                    <a:pt x="33" y="75"/>
                  </a:lnTo>
                  <a:lnTo>
                    <a:pt x="36" y="75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9" y="69"/>
                  </a:lnTo>
                  <a:lnTo>
                    <a:pt x="36" y="69"/>
                  </a:lnTo>
                  <a:lnTo>
                    <a:pt x="39" y="69"/>
                  </a:lnTo>
                  <a:lnTo>
                    <a:pt x="42" y="69"/>
                  </a:lnTo>
                  <a:lnTo>
                    <a:pt x="42" y="66"/>
                  </a:lnTo>
                  <a:lnTo>
                    <a:pt x="45" y="66"/>
                  </a:lnTo>
                  <a:lnTo>
                    <a:pt x="45" y="63"/>
                  </a:lnTo>
                  <a:lnTo>
                    <a:pt x="42" y="63"/>
                  </a:lnTo>
                  <a:lnTo>
                    <a:pt x="42" y="60"/>
                  </a:lnTo>
                  <a:lnTo>
                    <a:pt x="45" y="60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54"/>
                  </a:lnTo>
                  <a:lnTo>
                    <a:pt x="48" y="54"/>
                  </a:lnTo>
                  <a:lnTo>
                    <a:pt x="51" y="54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54" y="48"/>
                  </a:lnTo>
                  <a:lnTo>
                    <a:pt x="57" y="48"/>
                  </a:lnTo>
                  <a:lnTo>
                    <a:pt x="54" y="48"/>
                  </a:lnTo>
                  <a:lnTo>
                    <a:pt x="54" y="45"/>
                  </a:lnTo>
                  <a:lnTo>
                    <a:pt x="54" y="42"/>
                  </a:lnTo>
                  <a:lnTo>
                    <a:pt x="57" y="42"/>
                  </a:lnTo>
                  <a:lnTo>
                    <a:pt x="60" y="42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3" y="33"/>
                  </a:lnTo>
                  <a:lnTo>
                    <a:pt x="63" y="36"/>
                  </a:lnTo>
                  <a:lnTo>
                    <a:pt x="63" y="33"/>
                  </a:lnTo>
                  <a:lnTo>
                    <a:pt x="63" y="30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78" y="27"/>
                  </a:lnTo>
                  <a:lnTo>
                    <a:pt x="81" y="27"/>
                  </a:lnTo>
                  <a:lnTo>
                    <a:pt x="81" y="30"/>
                  </a:lnTo>
                  <a:lnTo>
                    <a:pt x="81" y="27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7" y="27"/>
                  </a:lnTo>
                  <a:lnTo>
                    <a:pt x="87" y="24"/>
                  </a:lnTo>
                  <a:lnTo>
                    <a:pt x="90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3" y="18"/>
                  </a:lnTo>
                  <a:lnTo>
                    <a:pt x="93" y="15"/>
                  </a:lnTo>
                  <a:lnTo>
                    <a:pt x="96" y="15"/>
                  </a:lnTo>
                  <a:lnTo>
                    <a:pt x="96" y="12"/>
                  </a:lnTo>
                  <a:lnTo>
                    <a:pt x="99" y="12"/>
                  </a:lnTo>
                  <a:lnTo>
                    <a:pt x="102" y="12"/>
                  </a:lnTo>
                  <a:lnTo>
                    <a:pt x="105" y="12"/>
                  </a:lnTo>
                  <a:lnTo>
                    <a:pt x="108" y="12"/>
                  </a:lnTo>
                  <a:lnTo>
                    <a:pt x="111" y="12"/>
                  </a:lnTo>
                  <a:lnTo>
                    <a:pt x="114" y="9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3"/>
                  </a:lnTo>
                  <a:lnTo>
                    <a:pt x="117" y="6"/>
                  </a:lnTo>
                  <a:lnTo>
                    <a:pt x="123" y="3"/>
                  </a:lnTo>
                  <a:lnTo>
                    <a:pt x="126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02" name="Freeform 38">
              <a:extLst>
                <a:ext uri="{FF2B5EF4-FFF2-40B4-BE49-F238E27FC236}">
                  <a16:creationId xmlns:a16="http://schemas.microsoft.com/office/drawing/2014/main" id="{8574665F-D5AD-4292-A886-2F58C0317A7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9975" y="3640138"/>
              <a:ext cx="123825" cy="123825"/>
            </a:xfrm>
            <a:custGeom>
              <a:avLst/>
              <a:gdLst>
                <a:gd name="T0" fmla="*/ 11793 w 63"/>
                <a:gd name="T1" fmla="*/ 5896 h 63"/>
                <a:gd name="T2" fmla="*/ 17689 w 63"/>
                <a:gd name="T3" fmla="*/ 0 h 63"/>
                <a:gd name="T4" fmla="*/ 23586 w 63"/>
                <a:gd name="T5" fmla="*/ 5896 h 63"/>
                <a:gd name="T6" fmla="*/ 29482 w 63"/>
                <a:gd name="T7" fmla="*/ 11793 h 63"/>
                <a:gd name="T8" fmla="*/ 35379 w 63"/>
                <a:gd name="T9" fmla="*/ 17689 h 63"/>
                <a:gd name="T10" fmla="*/ 47171 w 63"/>
                <a:gd name="T11" fmla="*/ 17689 h 63"/>
                <a:gd name="T12" fmla="*/ 53068 w 63"/>
                <a:gd name="T13" fmla="*/ 23586 h 63"/>
                <a:gd name="T14" fmla="*/ 64861 w 63"/>
                <a:gd name="T15" fmla="*/ 23586 h 63"/>
                <a:gd name="T16" fmla="*/ 70757 w 63"/>
                <a:gd name="T17" fmla="*/ 17689 h 63"/>
                <a:gd name="T18" fmla="*/ 70757 w 63"/>
                <a:gd name="T19" fmla="*/ 17689 h 63"/>
                <a:gd name="T20" fmla="*/ 76654 w 63"/>
                <a:gd name="T21" fmla="*/ 23586 h 63"/>
                <a:gd name="T22" fmla="*/ 82550 w 63"/>
                <a:gd name="T23" fmla="*/ 35379 h 63"/>
                <a:gd name="T24" fmla="*/ 82550 w 63"/>
                <a:gd name="T25" fmla="*/ 41275 h 63"/>
                <a:gd name="T26" fmla="*/ 88446 w 63"/>
                <a:gd name="T27" fmla="*/ 47171 h 63"/>
                <a:gd name="T28" fmla="*/ 94343 w 63"/>
                <a:gd name="T29" fmla="*/ 53068 h 63"/>
                <a:gd name="T30" fmla="*/ 94343 w 63"/>
                <a:gd name="T31" fmla="*/ 58964 h 63"/>
                <a:gd name="T32" fmla="*/ 100239 w 63"/>
                <a:gd name="T33" fmla="*/ 64861 h 63"/>
                <a:gd name="T34" fmla="*/ 106136 w 63"/>
                <a:gd name="T35" fmla="*/ 70757 h 63"/>
                <a:gd name="T36" fmla="*/ 106136 w 63"/>
                <a:gd name="T37" fmla="*/ 70757 h 63"/>
                <a:gd name="T38" fmla="*/ 106136 w 63"/>
                <a:gd name="T39" fmla="*/ 70757 h 63"/>
                <a:gd name="T40" fmla="*/ 112032 w 63"/>
                <a:gd name="T41" fmla="*/ 76654 h 63"/>
                <a:gd name="T42" fmla="*/ 112032 w 63"/>
                <a:gd name="T43" fmla="*/ 76654 h 63"/>
                <a:gd name="T44" fmla="*/ 117929 w 63"/>
                <a:gd name="T45" fmla="*/ 82550 h 63"/>
                <a:gd name="T46" fmla="*/ 123825 w 63"/>
                <a:gd name="T47" fmla="*/ 88446 h 63"/>
                <a:gd name="T48" fmla="*/ 117929 w 63"/>
                <a:gd name="T49" fmla="*/ 94343 h 63"/>
                <a:gd name="T50" fmla="*/ 112032 w 63"/>
                <a:gd name="T51" fmla="*/ 88446 h 63"/>
                <a:gd name="T52" fmla="*/ 112032 w 63"/>
                <a:gd name="T53" fmla="*/ 100239 h 63"/>
                <a:gd name="T54" fmla="*/ 106136 w 63"/>
                <a:gd name="T55" fmla="*/ 106136 h 63"/>
                <a:gd name="T56" fmla="*/ 100239 w 63"/>
                <a:gd name="T57" fmla="*/ 112032 h 63"/>
                <a:gd name="T58" fmla="*/ 94343 w 63"/>
                <a:gd name="T59" fmla="*/ 117929 h 63"/>
                <a:gd name="T60" fmla="*/ 94343 w 63"/>
                <a:gd name="T61" fmla="*/ 117929 h 63"/>
                <a:gd name="T62" fmla="*/ 88446 w 63"/>
                <a:gd name="T63" fmla="*/ 117929 h 63"/>
                <a:gd name="T64" fmla="*/ 76654 w 63"/>
                <a:gd name="T65" fmla="*/ 117929 h 63"/>
                <a:gd name="T66" fmla="*/ 70757 w 63"/>
                <a:gd name="T67" fmla="*/ 112032 h 63"/>
                <a:gd name="T68" fmla="*/ 64861 w 63"/>
                <a:gd name="T69" fmla="*/ 106136 h 63"/>
                <a:gd name="T70" fmla="*/ 53068 w 63"/>
                <a:gd name="T71" fmla="*/ 106136 h 63"/>
                <a:gd name="T72" fmla="*/ 47171 w 63"/>
                <a:gd name="T73" fmla="*/ 112032 h 63"/>
                <a:gd name="T74" fmla="*/ 41275 w 63"/>
                <a:gd name="T75" fmla="*/ 112032 h 63"/>
                <a:gd name="T76" fmla="*/ 41275 w 63"/>
                <a:gd name="T77" fmla="*/ 112032 h 63"/>
                <a:gd name="T78" fmla="*/ 41275 w 63"/>
                <a:gd name="T79" fmla="*/ 106136 h 63"/>
                <a:gd name="T80" fmla="*/ 35379 w 63"/>
                <a:gd name="T81" fmla="*/ 100239 h 63"/>
                <a:gd name="T82" fmla="*/ 35379 w 63"/>
                <a:gd name="T83" fmla="*/ 88446 h 63"/>
                <a:gd name="T84" fmla="*/ 23586 w 63"/>
                <a:gd name="T85" fmla="*/ 76654 h 63"/>
                <a:gd name="T86" fmla="*/ 23586 w 63"/>
                <a:gd name="T87" fmla="*/ 70757 h 63"/>
                <a:gd name="T88" fmla="*/ 17689 w 63"/>
                <a:gd name="T89" fmla="*/ 58964 h 63"/>
                <a:gd name="T90" fmla="*/ 23586 w 63"/>
                <a:gd name="T91" fmla="*/ 53068 h 63"/>
                <a:gd name="T92" fmla="*/ 11793 w 63"/>
                <a:gd name="T93" fmla="*/ 47171 h 63"/>
                <a:gd name="T94" fmla="*/ 0 w 63"/>
                <a:gd name="T95" fmla="*/ 41275 h 63"/>
                <a:gd name="T96" fmla="*/ 5896 w 63"/>
                <a:gd name="T97" fmla="*/ 29482 h 63"/>
                <a:gd name="T98" fmla="*/ 11793 w 63"/>
                <a:gd name="T99" fmla="*/ 17689 h 63"/>
                <a:gd name="T100" fmla="*/ 17689 w 63"/>
                <a:gd name="T101" fmla="*/ 11793 h 63"/>
                <a:gd name="T102" fmla="*/ 5896 w 63"/>
                <a:gd name="T103" fmla="*/ 5896 h 6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3" h="63">
                  <a:moveTo>
                    <a:pt x="3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6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3" y="12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9" y="12"/>
                  </a:lnTo>
                  <a:lnTo>
                    <a:pt x="39" y="15"/>
                  </a:lnTo>
                  <a:lnTo>
                    <a:pt x="42" y="18"/>
                  </a:lnTo>
                  <a:lnTo>
                    <a:pt x="39" y="18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7"/>
                  </a:lnTo>
                  <a:lnTo>
                    <a:pt x="45" y="27"/>
                  </a:lnTo>
                  <a:lnTo>
                    <a:pt x="48" y="30"/>
                  </a:lnTo>
                  <a:lnTo>
                    <a:pt x="48" y="33"/>
                  </a:lnTo>
                  <a:lnTo>
                    <a:pt x="51" y="33"/>
                  </a:lnTo>
                  <a:lnTo>
                    <a:pt x="51" y="36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7" y="39"/>
                  </a:lnTo>
                  <a:lnTo>
                    <a:pt x="57" y="42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42"/>
                  </a:lnTo>
                  <a:lnTo>
                    <a:pt x="63" y="42"/>
                  </a:lnTo>
                  <a:lnTo>
                    <a:pt x="63" y="45"/>
                  </a:lnTo>
                  <a:lnTo>
                    <a:pt x="60" y="45"/>
                  </a:lnTo>
                  <a:lnTo>
                    <a:pt x="60" y="48"/>
                  </a:lnTo>
                  <a:lnTo>
                    <a:pt x="57" y="48"/>
                  </a:lnTo>
                  <a:lnTo>
                    <a:pt x="57" y="45"/>
                  </a:lnTo>
                  <a:lnTo>
                    <a:pt x="57" y="48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1" y="54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48" y="60"/>
                  </a:lnTo>
                  <a:lnTo>
                    <a:pt x="48" y="63"/>
                  </a:lnTo>
                  <a:lnTo>
                    <a:pt x="48" y="60"/>
                  </a:lnTo>
                  <a:lnTo>
                    <a:pt x="45" y="57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60"/>
                  </a:lnTo>
                  <a:lnTo>
                    <a:pt x="39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3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7"/>
                  </a:lnTo>
                  <a:lnTo>
                    <a:pt x="21" y="60"/>
                  </a:lnTo>
                  <a:lnTo>
                    <a:pt x="21" y="57"/>
                  </a:lnTo>
                  <a:lnTo>
                    <a:pt x="18" y="57"/>
                  </a:lnTo>
                  <a:lnTo>
                    <a:pt x="21" y="57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18" y="51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5" y="42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03" name="Freeform 39">
              <a:extLst>
                <a:ext uri="{FF2B5EF4-FFF2-40B4-BE49-F238E27FC236}">
                  <a16:creationId xmlns:a16="http://schemas.microsoft.com/office/drawing/2014/main" id="{732A1000-6426-433C-A52A-5EA56CF7F8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9838" y="3644900"/>
              <a:ext cx="1236662" cy="828675"/>
            </a:xfrm>
            <a:custGeom>
              <a:avLst/>
              <a:gdLst>
                <a:gd name="T0" fmla="*/ 1041711 w 628"/>
                <a:gd name="T1" fmla="*/ 41335 h 421"/>
                <a:gd name="T2" fmla="*/ 1000357 w 628"/>
                <a:gd name="T3" fmla="*/ 64956 h 421"/>
                <a:gd name="T4" fmla="*/ 1035803 w 628"/>
                <a:gd name="T5" fmla="*/ 106291 h 421"/>
                <a:gd name="T6" fmla="*/ 1077156 w 628"/>
                <a:gd name="T7" fmla="*/ 124006 h 421"/>
                <a:gd name="T8" fmla="*/ 1148048 w 628"/>
                <a:gd name="T9" fmla="*/ 135816 h 421"/>
                <a:gd name="T10" fmla="*/ 1171678 w 628"/>
                <a:gd name="T11" fmla="*/ 141721 h 421"/>
                <a:gd name="T12" fmla="*/ 1195309 w 628"/>
                <a:gd name="T13" fmla="*/ 153531 h 421"/>
                <a:gd name="T14" fmla="*/ 1224847 w 628"/>
                <a:gd name="T15" fmla="*/ 171246 h 421"/>
                <a:gd name="T16" fmla="*/ 1230754 w 628"/>
                <a:gd name="T17" fmla="*/ 200772 h 421"/>
                <a:gd name="T18" fmla="*/ 1207124 w 628"/>
                <a:gd name="T19" fmla="*/ 253917 h 421"/>
                <a:gd name="T20" fmla="*/ 1153955 w 628"/>
                <a:gd name="T21" fmla="*/ 295252 h 421"/>
                <a:gd name="T22" fmla="*/ 1106694 w 628"/>
                <a:gd name="T23" fmla="*/ 336588 h 421"/>
                <a:gd name="T24" fmla="*/ 1053526 w 628"/>
                <a:gd name="T25" fmla="*/ 395638 h 421"/>
                <a:gd name="T26" fmla="*/ 1012172 w 628"/>
                <a:gd name="T27" fmla="*/ 450752 h 421"/>
                <a:gd name="T28" fmla="*/ 959004 w 628"/>
                <a:gd name="T29" fmla="*/ 509802 h 421"/>
                <a:gd name="T30" fmla="*/ 899928 w 628"/>
                <a:gd name="T31" fmla="*/ 545233 h 421"/>
                <a:gd name="T32" fmla="*/ 852667 w 628"/>
                <a:gd name="T33" fmla="*/ 598378 h 421"/>
                <a:gd name="T34" fmla="*/ 799498 w 628"/>
                <a:gd name="T35" fmla="*/ 633808 h 421"/>
                <a:gd name="T36" fmla="*/ 734514 w 628"/>
                <a:gd name="T37" fmla="*/ 681049 h 421"/>
                <a:gd name="T38" fmla="*/ 675438 w 628"/>
                <a:gd name="T39" fmla="*/ 716479 h 421"/>
                <a:gd name="T40" fmla="*/ 610454 w 628"/>
                <a:gd name="T41" fmla="*/ 734194 h 421"/>
                <a:gd name="T42" fmla="*/ 545470 w 628"/>
                <a:gd name="T43" fmla="*/ 728289 h 421"/>
                <a:gd name="T44" fmla="*/ 486394 w 628"/>
                <a:gd name="T45" fmla="*/ 757814 h 421"/>
                <a:gd name="T46" fmla="*/ 462764 w 628"/>
                <a:gd name="T47" fmla="*/ 793245 h 421"/>
                <a:gd name="T48" fmla="*/ 397780 w 628"/>
                <a:gd name="T49" fmla="*/ 781435 h 421"/>
                <a:gd name="T50" fmla="*/ 356426 w 628"/>
                <a:gd name="T51" fmla="*/ 822770 h 421"/>
                <a:gd name="T52" fmla="*/ 291443 w 628"/>
                <a:gd name="T53" fmla="*/ 816865 h 421"/>
                <a:gd name="T54" fmla="*/ 224490 w 628"/>
                <a:gd name="T55" fmla="*/ 799150 h 421"/>
                <a:gd name="T56" fmla="*/ 153598 w 628"/>
                <a:gd name="T57" fmla="*/ 781435 h 421"/>
                <a:gd name="T58" fmla="*/ 129968 w 628"/>
                <a:gd name="T59" fmla="*/ 746004 h 421"/>
                <a:gd name="T60" fmla="*/ 147691 w 628"/>
                <a:gd name="T61" fmla="*/ 698764 h 421"/>
                <a:gd name="T62" fmla="*/ 70891 w 628"/>
                <a:gd name="T63" fmla="*/ 663334 h 421"/>
                <a:gd name="T64" fmla="*/ 17723 w 628"/>
                <a:gd name="T65" fmla="*/ 627903 h 421"/>
                <a:gd name="T66" fmla="*/ 64984 w 628"/>
                <a:gd name="T67" fmla="*/ 551138 h 421"/>
                <a:gd name="T68" fmla="*/ 94522 w 628"/>
                <a:gd name="T69" fmla="*/ 497992 h 421"/>
                <a:gd name="T70" fmla="*/ 153598 w 628"/>
                <a:gd name="T71" fmla="*/ 456657 h 421"/>
                <a:gd name="T72" fmla="*/ 206767 w 628"/>
                <a:gd name="T73" fmla="*/ 433037 h 421"/>
                <a:gd name="T74" fmla="*/ 238274 w 628"/>
                <a:gd name="T75" fmla="*/ 401543 h 421"/>
                <a:gd name="T76" fmla="*/ 232366 w 628"/>
                <a:gd name="T77" fmla="*/ 360208 h 421"/>
                <a:gd name="T78" fmla="*/ 285535 w 628"/>
                <a:gd name="T79" fmla="*/ 330683 h 421"/>
                <a:gd name="T80" fmla="*/ 320981 w 628"/>
                <a:gd name="T81" fmla="*/ 265727 h 421"/>
                <a:gd name="T82" fmla="*/ 391872 w 628"/>
                <a:gd name="T83" fmla="*/ 242107 h 421"/>
                <a:gd name="T84" fmla="*/ 445041 w 628"/>
                <a:gd name="T85" fmla="*/ 224392 h 421"/>
                <a:gd name="T86" fmla="*/ 462764 w 628"/>
                <a:gd name="T87" fmla="*/ 177151 h 421"/>
                <a:gd name="T88" fmla="*/ 468671 w 628"/>
                <a:gd name="T89" fmla="*/ 118101 h 421"/>
                <a:gd name="T90" fmla="*/ 510025 w 628"/>
                <a:gd name="T91" fmla="*/ 124006 h 421"/>
                <a:gd name="T92" fmla="*/ 551378 w 628"/>
                <a:gd name="T93" fmla="*/ 106291 h 421"/>
                <a:gd name="T94" fmla="*/ 586824 w 628"/>
                <a:gd name="T95" fmla="*/ 106291 h 421"/>
                <a:gd name="T96" fmla="*/ 622269 w 628"/>
                <a:gd name="T97" fmla="*/ 118101 h 421"/>
                <a:gd name="T98" fmla="*/ 675438 w 628"/>
                <a:gd name="T99" fmla="*/ 124006 h 421"/>
                <a:gd name="T100" fmla="*/ 710884 w 628"/>
                <a:gd name="T101" fmla="*/ 106291 h 421"/>
                <a:gd name="T102" fmla="*/ 746329 w 628"/>
                <a:gd name="T103" fmla="*/ 94481 h 421"/>
                <a:gd name="T104" fmla="*/ 764052 w 628"/>
                <a:gd name="T105" fmla="*/ 76766 h 421"/>
                <a:gd name="T106" fmla="*/ 775868 w 628"/>
                <a:gd name="T107" fmla="*/ 64956 h 421"/>
                <a:gd name="T108" fmla="*/ 781775 w 628"/>
                <a:gd name="T109" fmla="*/ 35430 h 421"/>
                <a:gd name="T110" fmla="*/ 823129 w 628"/>
                <a:gd name="T111" fmla="*/ 64956 h 421"/>
                <a:gd name="T112" fmla="*/ 852667 w 628"/>
                <a:gd name="T113" fmla="*/ 106291 h 421"/>
                <a:gd name="T114" fmla="*/ 899928 w 628"/>
                <a:gd name="T115" fmla="*/ 112196 h 421"/>
                <a:gd name="T116" fmla="*/ 911743 w 628"/>
                <a:gd name="T117" fmla="*/ 64956 h 421"/>
                <a:gd name="T118" fmla="*/ 959004 w 628"/>
                <a:gd name="T119" fmla="*/ 29525 h 421"/>
                <a:gd name="T120" fmla="*/ 1035803 w 628"/>
                <a:gd name="T121" fmla="*/ 5905 h 4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28" h="421">
                  <a:moveTo>
                    <a:pt x="529" y="0"/>
                  </a:moveTo>
                  <a:lnTo>
                    <a:pt x="529" y="3"/>
                  </a:lnTo>
                  <a:lnTo>
                    <a:pt x="532" y="3"/>
                  </a:lnTo>
                  <a:lnTo>
                    <a:pt x="532" y="6"/>
                  </a:lnTo>
                  <a:lnTo>
                    <a:pt x="535" y="6"/>
                  </a:lnTo>
                  <a:lnTo>
                    <a:pt x="535" y="9"/>
                  </a:lnTo>
                  <a:lnTo>
                    <a:pt x="538" y="12"/>
                  </a:lnTo>
                  <a:lnTo>
                    <a:pt x="538" y="15"/>
                  </a:lnTo>
                  <a:lnTo>
                    <a:pt x="538" y="18"/>
                  </a:lnTo>
                  <a:lnTo>
                    <a:pt x="535" y="15"/>
                  </a:lnTo>
                  <a:lnTo>
                    <a:pt x="535" y="18"/>
                  </a:lnTo>
                  <a:lnTo>
                    <a:pt x="532" y="18"/>
                  </a:lnTo>
                  <a:lnTo>
                    <a:pt x="532" y="21"/>
                  </a:lnTo>
                  <a:lnTo>
                    <a:pt x="529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29" y="24"/>
                  </a:lnTo>
                  <a:lnTo>
                    <a:pt x="526" y="24"/>
                  </a:lnTo>
                  <a:lnTo>
                    <a:pt x="526" y="27"/>
                  </a:lnTo>
                  <a:lnTo>
                    <a:pt x="526" y="30"/>
                  </a:lnTo>
                  <a:lnTo>
                    <a:pt x="523" y="27"/>
                  </a:lnTo>
                  <a:lnTo>
                    <a:pt x="520" y="27"/>
                  </a:lnTo>
                  <a:lnTo>
                    <a:pt x="520" y="30"/>
                  </a:lnTo>
                  <a:lnTo>
                    <a:pt x="517" y="33"/>
                  </a:lnTo>
                  <a:lnTo>
                    <a:pt x="514" y="33"/>
                  </a:lnTo>
                  <a:lnTo>
                    <a:pt x="511" y="30"/>
                  </a:lnTo>
                  <a:lnTo>
                    <a:pt x="508" y="30"/>
                  </a:lnTo>
                  <a:lnTo>
                    <a:pt x="508" y="33"/>
                  </a:lnTo>
                  <a:lnTo>
                    <a:pt x="508" y="36"/>
                  </a:lnTo>
                  <a:lnTo>
                    <a:pt x="508" y="39"/>
                  </a:lnTo>
                  <a:lnTo>
                    <a:pt x="511" y="42"/>
                  </a:lnTo>
                  <a:lnTo>
                    <a:pt x="508" y="42"/>
                  </a:lnTo>
                  <a:lnTo>
                    <a:pt x="508" y="48"/>
                  </a:lnTo>
                  <a:lnTo>
                    <a:pt x="511" y="51"/>
                  </a:lnTo>
                  <a:lnTo>
                    <a:pt x="514" y="51"/>
                  </a:lnTo>
                  <a:lnTo>
                    <a:pt x="514" y="54"/>
                  </a:lnTo>
                  <a:lnTo>
                    <a:pt x="517" y="54"/>
                  </a:lnTo>
                  <a:lnTo>
                    <a:pt x="517" y="57"/>
                  </a:lnTo>
                  <a:lnTo>
                    <a:pt x="520" y="57"/>
                  </a:lnTo>
                  <a:lnTo>
                    <a:pt x="523" y="57"/>
                  </a:lnTo>
                  <a:lnTo>
                    <a:pt x="526" y="57"/>
                  </a:lnTo>
                  <a:lnTo>
                    <a:pt x="526" y="54"/>
                  </a:lnTo>
                  <a:lnTo>
                    <a:pt x="529" y="51"/>
                  </a:lnTo>
                  <a:lnTo>
                    <a:pt x="532" y="51"/>
                  </a:lnTo>
                  <a:lnTo>
                    <a:pt x="535" y="54"/>
                  </a:lnTo>
                  <a:lnTo>
                    <a:pt x="538" y="54"/>
                  </a:lnTo>
                  <a:lnTo>
                    <a:pt x="538" y="57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7" y="63"/>
                  </a:lnTo>
                  <a:lnTo>
                    <a:pt x="550" y="63"/>
                  </a:lnTo>
                  <a:lnTo>
                    <a:pt x="553" y="63"/>
                  </a:lnTo>
                  <a:lnTo>
                    <a:pt x="556" y="63"/>
                  </a:lnTo>
                  <a:lnTo>
                    <a:pt x="556" y="66"/>
                  </a:lnTo>
                  <a:lnTo>
                    <a:pt x="559" y="66"/>
                  </a:lnTo>
                  <a:lnTo>
                    <a:pt x="562" y="63"/>
                  </a:lnTo>
                  <a:lnTo>
                    <a:pt x="565" y="63"/>
                  </a:lnTo>
                  <a:lnTo>
                    <a:pt x="568" y="63"/>
                  </a:lnTo>
                  <a:lnTo>
                    <a:pt x="571" y="63"/>
                  </a:lnTo>
                  <a:lnTo>
                    <a:pt x="574" y="66"/>
                  </a:lnTo>
                  <a:lnTo>
                    <a:pt x="577" y="66"/>
                  </a:lnTo>
                  <a:lnTo>
                    <a:pt x="577" y="69"/>
                  </a:lnTo>
                  <a:lnTo>
                    <a:pt x="580" y="69"/>
                  </a:lnTo>
                  <a:lnTo>
                    <a:pt x="583" y="69"/>
                  </a:lnTo>
                  <a:lnTo>
                    <a:pt x="583" y="66"/>
                  </a:lnTo>
                  <a:lnTo>
                    <a:pt x="586" y="66"/>
                  </a:lnTo>
                  <a:lnTo>
                    <a:pt x="586" y="69"/>
                  </a:lnTo>
                  <a:lnTo>
                    <a:pt x="589" y="69"/>
                  </a:lnTo>
                  <a:lnTo>
                    <a:pt x="589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601" y="75"/>
                  </a:lnTo>
                  <a:lnTo>
                    <a:pt x="604" y="75"/>
                  </a:lnTo>
                  <a:lnTo>
                    <a:pt x="601" y="75"/>
                  </a:lnTo>
                  <a:lnTo>
                    <a:pt x="601" y="78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7" y="75"/>
                  </a:lnTo>
                  <a:lnTo>
                    <a:pt x="607" y="78"/>
                  </a:lnTo>
                  <a:lnTo>
                    <a:pt x="607" y="81"/>
                  </a:lnTo>
                  <a:lnTo>
                    <a:pt x="610" y="81"/>
                  </a:lnTo>
                  <a:lnTo>
                    <a:pt x="607" y="81"/>
                  </a:lnTo>
                  <a:lnTo>
                    <a:pt x="607" y="84"/>
                  </a:lnTo>
                  <a:lnTo>
                    <a:pt x="610" y="84"/>
                  </a:lnTo>
                  <a:lnTo>
                    <a:pt x="610" y="81"/>
                  </a:lnTo>
                  <a:lnTo>
                    <a:pt x="613" y="81"/>
                  </a:lnTo>
                  <a:lnTo>
                    <a:pt x="613" y="84"/>
                  </a:lnTo>
                  <a:lnTo>
                    <a:pt x="616" y="84"/>
                  </a:lnTo>
                  <a:lnTo>
                    <a:pt x="619" y="84"/>
                  </a:lnTo>
                  <a:lnTo>
                    <a:pt x="619" y="87"/>
                  </a:lnTo>
                  <a:lnTo>
                    <a:pt x="616" y="87"/>
                  </a:lnTo>
                  <a:lnTo>
                    <a:pt x="619" y="87"/>
                  </a:lnTo>
                  <a:lnTo>
                    <a:pt x="622" y="87"/>
                  </a:lnTo>
                  <a:lnTo>
                    <a:pt x="622" y="90"/>
                  </a:lnTo>
                  <a:lnTo>
                    <a:pt x="625" y="90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2" y="96"/>
                  </a:lnTo>
                  <a:lnTo>
                    <a:pt x="625" y="96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2" y="102"/>
                  </a:lnTo>
                  <a:lnTo>
                    <a:pt x="625" y="102"/>
                  </a:lnTo>
                  <a:lnTo>
                    <a:pt x="625" y="105"/>
                  </a:lnTo>
                  <a:lnTo>
                    <a:pt x="628" y="105"/>
                  </a:lnTo>
                  <a:lnTo>
                    <a:pt x="628" y="108"/>
                  </a:lnTo>
                  <a:lnTo>
                    <a:pt x="625" y="111"/>
                  </a:lnTo>
                  <a:lnTo>
                    <a:pt x="625" y="114"/>
                  </a:lnTo>
                  <a:lnTo>
                    <a:pt x="622" y="114"/>
                  </a:lnTo>
                  <a:lnTo>
                    <a:pt x="622" y="117"/>
                  </a:lnTo>
                  <a:lnTo>
                    <a:pt x="619" y="117"/>
                  </a:lnTo>
                  <a:lnTo>
                    <a:pt x="619" y="120"/>
                  </a:lnTo>
                  <a:lnTo>
                    <a:pt x="616" y="120"/>
                  </a:lnTo>
                  <a:lnTo>
                    <a:pt x="616" y="123"/>
                  </a:lnTo>
                  <a:lnTo>
                    <a:pt x="616" y="126"/>
                  </a:lnTo>
                  <a:lnTo>
                    <a:pt x="613" y="126"/>
                  </a:lnTo>
                  <a:lnTo>
                    <a:pt x="613" y="129"/>
                  </a:lnTo>
                  <a:lnTo>
                    <a:pt x="610" y="129"/>
                  </a:lnTo>
                  <a:lnTo>
                    <a:pt x="607" y="132"/>
                  </a:lnTo>
                  <a:lnTo>
                    <a:pt x="607" y="135"/>
                  </a:lnTo>
                  <a:lnTo>
                    <a:pt x="604" y="135"/>
                  </a:lnTo>
                  <a:lnTo>
                    <a:pt x="604" y="138"/>
                  </a:lnTo>
                  <a:lnTo>
                    <a:pt x="601" y="138"/>
                  </a:lnTo>
                  <a:lnTo>
                    <a:pt x="601" y="141"/>
                  </a:lnTo>
                  <a:lnTo>
                    <a:pt x="598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89" y="144"/>
                  </a:lnTo>
                  <a:lnTo>
                    <a:pt x="589" y="147"/>
                  </a:lnTo>
                  <a:lnTo>
                    <a:pt x="586" y="150"/>
                  </a:lnTo>
                  <a:lnTo>
                    <a:pt x="583" y="153"/>
                  </a:lnTo>
                  <a:lnTo>
                    <a:pt x="580" y="153"/>
                  </a:lnTo>
                  <a:lnTo>
                    <a:pt x="580" y="156"/>
                  </a:lnTo>
                  <a:lnTo>
                    <a:pt x="577" y="156"/>
                  </a:lnTo>
                  <a:lnTo>
                    <a:pt x="577" y="159"/>
                  </a:lnTo>
                  <a:lnTo>
                    <a:pt x="574" y="159"/>
                  </a:lnTo>
                  <a:lnTo>
                    <a:pt x="574" y="162"/>
                  </a:lnTo>
                  <a:lnTo>
                    <a:pt x="571" y="162"/>
                  </a:lnTo>
                  <a:lnTo>
                    <a:pt x="571" y="165"/>
                  </a:lnTo>
                  <a:lnTo>
                    <a:pt x="568" y="165"/>
                  </a:lnTo>
                  <a:lnTo>
                    <a:pt x="565" y="165"/>
                  </a:lnTo>
                  <a:lnTo>
                    <a:pt x="565" y="168"/>
                  </a:lnTo>
                  <a:lnTo>
                    <a:pt x="562" y="168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4"/>
                  </a:lnTo>
                  <a:lnTo>
                    <a:pt x="556" y="174"/>
                  </a:lnTo>
                  <a:lnTo>
                    <a:pt x="556" y="177"/>
                  </a:lnTo>
                  <a:lnTo>
                    <a:pt x="553" y="180"/>
                  </a:lnTo>
                  <a:lnTo>
                    <a:pt x="550" y="183"/>
                  </a:lnTo>
                  <a:lnTo>
                    <a:pt x="550" y="186"/>
                  </a:lnTo>
                  <a:lnTo>
                    <a:pt x="547" y="189"/>
                  </a:lnTo>
                  <a:lnTo>
                    <a:pt x="547" y="192"/>
                  </a:lnTo>
                  <a:lnTo>
                    <a:pt x="544" y="192"/>
                  </a:lnTo>
                  <a:lnTo>
                    <a:pt x="541" y="195"/>
                  </a:lnTo>
                  <a:lnTo>
                    <a:pt x="538" y="198"/>
                  </a:lnTo>
                  <a:lnTo>
                    <a:pt x="538" y="201"/>
                  </a:lnTo>
                  <a:lnTo>
                    <a:pt x="535" y="201"/>
                  </a:lnTo>
                  <a:lnTo>
                    <a:pt x="535" y="204"/>
                  </a:lnTo>
                  <a:lnTo>
                    <a:pt x="535" y="207"/>
                  </a:lnTo>
                  <a:lnTo>
                    <a:pt x="532" y="207"/>
                  </a:lnTo>
                  <a:lnTo>
                    <a:pt x="532" y="210"/>
                  </a:lnTo>
                  <a:lnTo>
                    <a:pt x="529" y="210"/>
                  </a:lnTo>
                  <a:lnTo>
                    <a:pt x="529" y="213"/>
                  </a:lnTo>
                  <a:lnTo>
                    <a:pt x="526" y="213"/>
                  </a:lnTo>
                  <a:lnTo>
                    <a:pt x="526" y="217"/>
                  </a:lnTo>
                  <a:lnTo>
                    <a:pt x="523" y="217"/>
                  </a:lnTo>
                  <a:lnTo>
                    <a:pt x="523" y="220"/>
                  </a:lnTo>
                  <a:lnTo>
                    <a:pt x="520" y="223"/>
                  </a:lnTo>
                  <a:lnTo>
                    <a:pt x="517" y="226"/>
                  </a:lnTo>
                  <a:lnTo>
                    <a:pt x="517" y="229"/>
                  </a:lnTo>
                  <a:lnTo>
                    <a:pt x="514" y="229"/>
                  </a:lnTo>
                  <a:lnTo>
                    <a:pt x="511" y="232"/>
                  </a:lnTo>
                  <a:lnTo>
                    <a:pt x="508" y="232"/>
                  </a:lnTo>
                  <a:lnTo>
                    <a:pt x="508" y="235"/>
                  </a:lnTo>
                  <a:lnTo>
                    <a:pt x="505" y="238"/>
                  </a:lnTo>
                  <a:lnTo>
                    <a:pt x="502" y="241"/>
                  </a:lnTo>
                  <a:lnTo>
                    <a:pt x="499" y="244"/>
                  </a:lnTo>
                  <a:lnTo>
                    <a:pt x="499" y="247"/>
                  </a:lnTo>
                  <a:lnTo>
                    <a:pt x="496" y="247"/>
                  </a:lnTo>
                  <a:lnTo>
                    <a:pt x="493" y="250"/>
                  </a:lnTo>
                  <a:lnTo>
                    <a:pt x="493" y="253"/>
                  </a:lnTo>
                  <a:lnTo>
                    <a:pt x="490" y="253"/>
                  </a:lnTo>
                  <a:lnTo>
                    <a:pt x="490" y="256"/>
                  </a:lnTo>
                  <a:lnTo>
                    <a:pt x="487" y="256"/>
                  </a:lnTo>
                  <a:lnTo>
                    <a:pt x="487" y="259"/>
                  </a:lnTo>
                  <a:lnTo>
                    <a:pt x="484" y="259"/>
                  </a:lnTo>
                  <a:lnTo>
                    <a:pt x="481" y="259"/>
                  </a:lnTo>
                  <a:lnTo>
                    <a:pt x="481" y="262"/>
                  </a:lnTo>
                  <a:lnTo>
                    <a:pt x="478" y="262"/>
                  </a:lnTo>
                  <a:lnTo>
                    <a:pt x="478" y="265"/>
                  </a:lnTo>
                  <a:lnTo>
                    <a:pt x="475" y="265"/>
                  </a:lnTo>
                  <a:lnTo>
                    <a:pt x="475" y="268"/>
                  </a:lnTo>
                  <a:lnTo>
                    <a:pt x="472" y="268"/>
                  </a:lnTo>
                  <a:lnTo>
                    <a:pt x="472" y="271"/>
                  </a:lnTo>
                  <a:lnTo>
                    <a:pt x="469" y="271"/>
                  </a:lnTo>
                  <a:lnTo>
                    <a:pt x="466" y="274"/>
                  </a:lnTo>
                  <a:lnTo>
                    <a:pt x="463" y="274"/>
                  </a:lnTo>
                  <a:lnTo>
                    <a:pt x="460" y="277"/>
                  </a:lnTo>
                  <a:lnTo>
                    <a:pt x="457" y="277"/>
                  </a:lnTo>
                  <a:lnTo>
                    <a:pt x="457" y="280"/>
                  </a:lnTo>
                  <a:lnTo>
                    <a:pt x="454" y="280"/>
                  </a:lnTo>
                  <a:lnTo>
                    <a:pt x="454" y="283"/>
                  </a:lnTo>
                  <a:lnTo>
                    <a:pt x="454" y="286"/>
                  </a:lnTo>
                  <a:lnTo>
                    <a:pt x="451" y="286"/>
                  </a:lnTo>
                  <a:lnTo>
                    <a:pt x="451" y="289"/>
                  </a:lnTo>
                  <a:lnTo>
                    <a:pt x="448" y="289"/>
                  </a:lnTo>
                  <a:lnTo>
                    <a:pt x="448" y="292"/>
                  </a:lnTo>
                  <a:lnTo>
                    <a:pt x="445" y="292"/>
                  </a:lnTo>
                  <a:lnTo>
                    <a:pt x="442" y="295"/>
                  </a:lnTo>
                  <a:lnTo>
                    <a:pt x="439" y="298"/>
                  </a:lnTo>
                  <a:lnTo>
                    <a:pt x="436" y="301"/>
                  </a:lnTo>
                  <a:lnTo>
                    <a:pt x="436" y="304"/>
                  </a:lnTo>
                  <a:lnTo>
                    <a:pt x="433" y="304"/>
                  </a:lnTo>
                  <a:lnTo>
                    <a:pt x="430" y="304"/>
                  </a:lnTo>
                  <a:lnTo>
                    <a:pt x="430" y="307"/>
                  </a:lnTo>
                  <a:lnTo>
                    <a:pt x="427" y="307"/>
                  </a:lnTo>
                  <a:lnTo>
                    <a:pt x="424" y="307"/>
                  </a:lnTo>
                  <a:lnTo>
                    <a:pt x="424" y="310"/>
                  </a:lnTo>
                  <a:lnTo>
                    <a:pt x="421" y="310"/>
                  </a:lnTo>
                  <a:lnTo>
                    <a:pt x="418" y="313"/>
                  </a:lnTo>
                  <a:lnTo>
                    <a:pt x="418" y="316"/>
                  </a:lnTo>
                  <a:lnTo>
                    <a:pt x="415" y="316"/>
                  </a:lnTo>
                  <a:lnTo>
                    <a:pt x="415" y="319"/>
                  </a:lnTo>
                  <a:lnTo>
                    <a:pt x="412" y="319"/>
                  </a:lnTo>
                  <a:lnTo>
                    <a:pt x="409" y="319"/>
                  </a:lnTo>
                  <a:lnTo>
                    <a:pt x="409" y="322"/>
                  </a:lnTo>
                  <a:lnTo>
                    <a:pt x="406" y="322"/>
                  </a:lnTo>
                  <a:lnTo>
                    <a:pt x="403" y="325"/>
                  </a:lnTo>
                  <a:lnTo>
                    <a:pt x="400" y="325"/>
                  </a:lnTo>
                  <a:lnTo>
                    <a:pt x="400" y="328"/>
                  </a:lnTo>
                  <a:lnTo>
                    <a:pt x="397" y="328"/>
                  </a:lnTo>
                  <a:lnTo>
                    <a:pt x="397" y="331"/>
                  </a:lnTo>
                  <a:lnTo>
                    <a:pt x="394" y="331"/>
                  </a:lnTo>
                  <a:lnTo>
                    <a:pt x="391" y="334"/>
                  </a:lnTo>
                  <a:lnTo>
                    <a:pt x="388" y="334"/>
                  </a:lnTo>
                  <a:lnTo>
                    <a:pt x="388" y="337"/>
                  </a:lnTo>
                  <a:lnTo>
                    <a:pt x="385" y="337"/>
                  </a:lnTo>
                  <a:lnTo>
                    <a:pt x="382" y="340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3" y="346"/>
                  </a:lnTo>
                  <a:lnTo>
                    <a:pt x="370" y="349"/>
                  </a:lnTo>
                  <a:lnTo>
                    <a:pt x="370" y="352"/>
                  </a:lnTo>
                  <a:lnTo>
                    <a:pt x="367" y="352"/>
                  </a:lnTo>
                  <a:lnTo>
                    <a:pt x="364" y="352"/>
                  </a:lnTo>
                  <a:lnTo>
                    <a:pt x="364" y="355"/>
                  </a:lnTo>
                  <a:lnTo>
                    <a:pt x="361" y="355"/>
                  </a:lnTo>
                  <a:lnTo>
                    <a:pt x="358" y="355"/>
                  </a:lnTo>
                  <a:lnTo>
                    <a:pt x="355" y="355"/>
                  </a:lnTo>
                  <a:lnTo>
                    <a:pt x="355" y="358"/>
                  </a:lnTo>
                  <a:lnTo>
                    <a:pt x="352" y="358"/>
                  </a:lnTo>
                  <a:lnTo>
                    <a:pt x="349" y="361"/>
                  </a:lnTo>
                  <a:lnTo>
                    <a:pt x="346" y="361"/>
                  </a:lnTo>
                  <a:lnTo>
                    <a:pt x="343" y="361"/>
                  </a:lnTo>
                  <a:lnTo>
                    <a:pt x="343" y="364"/>
                  </a:lnTo>
                  <a:lnTo>
                    <a:pt x="340" y="364"/>
                  </a:lnTo>
                  <a:lnTo>
                    <a:pt x="337" y="364"/>
                  </a:lnTo>
                  <a:lnTo>
                    <a:pt x="334" y="367"/>
                  </a:lnTo>
                  <a:lnTo>
                    <a:pt x="331" y="367"/>
                  </a:lnTo>
                  <a:lnTo>
                    <a:pt x="331" y="370"/>
                  </a:lnTo>
                  <a:lnTo>
                    <a:pt x="328" y="370"/>
                  </a:lnTo>
                  <a:lnTo>
                    <a:pt x="325" y="370"/>
                  </a:lnTo>
                  <a:lnTo>
                    <a:pt x="325" y="373"/>
                  </a:lnTo>
                  <a:lnTo>
                    <a:pt x="322" y="373"/>
                  </a:lnTo>
                  <a:lnTo>
                    <a:pt x="319" y="373"/>
                  </a:lnTo>
                  <a:lnTo>
                    <a:pt x="319" y="376"/>
                  </a:lnTo>
                  <a:lnTo>
                    <a:pt x="316" y="376"/>
                  </a:lnTo>
                  <a:lnTo>
                    <a:pt x="313" y="376"/>
                  </a:lnTo>
                  <a:lnTo>
                    <a:pt x="310" y="373"/>
                  </a:lnTo>
                  <a:lnTo>
                    <a:pt x="307" y="373"/>
                  </a:lnTo>
                  <a:lnTo>
                    <a:pt x="304" y="373"/>
                  </a:lnTo>
                  <a:lnTo>
                    <a:pt x="304" y="376"/>
                  </a:lnTo>
                  <a:lnTo>
                    <a:pt x="301" y="376"/>
                  </a:lnTo>
                  <a:lnTo>
                    <a:pt x="301" y="373"/>
                  </a:lnTo>
                  <a:lnTo>
                    <a:pt x="298" y="373"/>
                  </a:lnTo>
                  <a:lnTo>
                    <a:pt x="295" y="373"/>
                  </a:lnTo>
                  <a:lnTo>
                    <a:pt x="292" y="370"/>
                  </a:lnTo>
                  <a:lnTo>
                    <a:pt x="289" y="370"/>
                  </a:lnTo>
                  <a:lnTo>
                    <a:pt x="286" y="370"/>
                  </a:lnTo>
                  <a:lnTo>
                    <a:pt x="283" y="370"/>
                  </a:lnTo>
                  <a:lnTo>
                    <a:pt x="280" y="367"/>
                  </a:lnTo>
                  <a:lnTo>
                    <a:pt x="277" y="367"/>
                  </a:lnTo>
                  <a:lnTo>
                    <a:pt x="277" y="370"/>
                  </a:lnTo>
                  <a:lnTo>
                    <a:pt x="274" y="370"/>
                  </a:lnTo>
                  <a:lnTo>
                    <a:pt x="271" y="370"/>
                  </a:lnTo>
                  <a:lnTo>
                    <a:pt x="268" y="370"/>
                  </a:lnTo>
                  <a:lnTo>
                    <a:pt x="265" y="370"/>
                  </a:lnTo>
                  <a:lnTo>
                    <a:pt x="262" y="370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6" y="376"/>
                  </a:lnTo>
                  <a:lnTo>
                    <a:pt x="253" y="376"/>
                  </a:lnTo>
                  <a:lnTo>
                    <a:pt x="253" y="379"/>
                  </a:lnTo>
                  <a:lnTo>
                    <a:pt x="250" y="379"/>
                  </a:lnTo>
                  <a:lnTo>
                    <a:pt x="247" y="379"/>
                  </a:lnTo>
                  <a:lnTo>
                    <a:pt x="247" y="382"/>
                  </a:lnTo>
                  <a:lnTo>
                    <a:pt x="247" y="385"/>
                  </a:lnTo>
                  <a:lnTo>
                    <a:pt x="244" y="385"/>
                  </a:lnTo>
                  <a:lnTo>
                    <a:pt x="244" y="388"/>
                  </a:lnTo>
                  <a:lnTo>
                    <a:pt x="244" y="391"/>
                  </a:lnTo>
                  <a:lnTo>
                    <a:pt x="244" y="394"/>
                  </a:lnTo>
                  <a:lnTo>
                    <a:pt x="247" y="394"/>
                  </a:lnTo>
                  <a:lnTo>
                    <a:pt x="247" y="397"/>
                  </a:lnTo>
                  <a:lnTo>
                    <a:pt x="250" y="397"/>
                  </a:lnTo>
                  <a:lnTo>
                    <a:pt x="250" y="400"/>
                  </a:lnTo>
                  <a:lnTo>
                    <a:pt x="250" y="403"/>
                  </a:lnTo>
                  <a:lnTo>
                    <a:pt x="247" y="403"/>
                  </a:lnTo>
                  <a:lnTo>
                    <a:pt x="244" y="403"/>
                  </a:lnTo>
                  <a:lnTo>
                    <a:pt x="241" y="403"/>
                  </a:lnTo>
                  <a:lnTo>
                    <a:pt x="238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6" y="403"/>
                  </a:lnTo>
                  <a:lnTo>
                    <a:pt x="223" y="403"/>
                  </a:lnTo>
                  <a:lnTo>
                    <a:pt x="223" y="400"/>
                  </a:lnTo>
                  <a:lnTo>
                    <a:pt x="220" y="400"/>
                  </a:lnTo>
                  <a:lnTo>
                    <a:pt x="217" y="400"/>
                  </a:lnTo>
                  <a:lnTo>
                    <a:pt x="217" y="397"/>
                  </a:lnTo>
                  <a:lnTo>
                    <a:pt x="214" y="397"/>
                  </a:lnTo>
                  <a:lnTo>
                    <a:pt x="211" y="397"/>
                  </a:lnTo>
                  <a:lnTo>
                    <a:pt x="208" y="397"/>
                  </a:lnTo>
                  <a:lnTo>
                    <a:pt x="205" y="397"/>
                  </a:lnTo>
                  <a:lnTo>
                    <a:pt x="202" y="394"/>
                  </a:lnTo>
                  <a:lnTo>
                    <a:pt x="202" y="397"/>
                  </a:lnTo>
                  <a:lnTo>
                    <a:pt x="199" y="397"/>
                  </a:lnTo>
                  <a:lnTo>
                    <a:pt x="196" y="397"/>
                  </a:lnTo>
                  <a:lnTo>
                    <a:pt x="193" y="397"/>
                  </a:lnTo>
                  <a:lnTo>
                    <a:pt x="190" y="397"/>
                  </a:lnTo>
                  <a:lnTo>
                    <a:pt x="187" y="400"/>
                  </a:lnTo>
                  <a:lnTo>
                    <a:pt x="187" y="403"/>
                  </a:lnTo>
                  <a:lnTo>
                    <a:pt x="187" y="406"/>
                  </a:lnTo>
                  <a:lnTo>
                    <a:pt x="184" y="406"/>
                  </a:lnTo>
                  <a:lnTo>
                    <a:pt x="184" y="409"/>
                  </a:lnTo>
                  <a:lnTo>
                    <a:pt x="181" y="412"/>
                  </a:lnTo>
                  <a:lnTo>
                    <a:pt x="178" y="412"/>
                  </a:lnTo>
                  <a:lnTo>
                    <a:pt x="178" y="415"/>
                  </a:lnTo>
                  <a:lnTo>
                    <a:pt x="178" y="418"/>
                  </a:lnTo>
                  <a:lnTo>
                    <a:pt x="181" y="418"/>
                  </a:lnTo>
                  <a:lnTo>
                    <a:pt x="178" y="418"/>
                  </a:lnTo>
                  <a:lnTo>
                    <a:pt x="178" y="421"/>
                  </a:lnTo>
                  <a:lnTo>
                    <a:pt x="175" y="418"/>
                  </a:lnTo>
                  <a:lnTo>
                    <a:pt x="172" y="418"/>
                  </a:lnTo>
                  <a:lnTo>
                    <a:pt x="169" y="418"/>
                  </a:lnTo>
                  <a:lnTo>
                    <a:pt x="166" y="418"/>
                  </a:lnTo>
                  <a:lnTo>
                    <a:pt x="163" y="418"/>
                  </a:lnTo>
                  <a:lnTo>
                    <a:pt x="163" y="415"/>
                  </a:lnTo>
                  <a:lnTo>
                    <a:pt x="160" y="418"/>
                  </a:lnTo>
                  <a:lnTo>
                    <a:pt x="157" y="418"/>
                  </a:lnTo>
                  <a:lnTo>
                    <a:pt x="154" y="418"/>
                  </a:lnTo>
                  <a:lnTo>
                    <a:pt x="154" y="415"/>
                  </a:lnTo>
                  <a:lnTo>
                    <a:pt x="151" y="415"/>
                  </a:lnTo>
                  <a:lnTo>
                    <a:pt x="148" y="415"/>
                  </a:lnTo>
                  <a:lnTo>
                    <a:pt x="145" y="415"/>
                  </a:lnTo>
                  <a:lnTo>
                    <a:pt x="145" y="412"/>
                  </a:lnTo>
                  <a:lnTo>
                    <a:pt x="142" y="412"/>
                  </a:lnTo>
                  <a:lnTo>
                    <a:pt x="142" y="409"/>
                  </a:lnTo>
                  <a:lnTo>
                    <a:pt x="139" y="409"/>
                  </a:lnTo>
                  <a:lnTo>
                    <a:pt x="136" y="409"/>
                  </a:lnTo>
                  <a:lnTo>
                    <a:pt x="133" y="409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7" y="406"/>
                  </a:lnTo>
                  <a:lnTo>
                    <a:pt x="124" y="406"/>
                  </a:lnTo>
                  <a:lnTo>
                    <a:pt x="121" y="406"/>
                  </a:lnTo>
                  <a:lnTo>
                    <a:pt x="118" y="406"/>
                  </a:lnTo>
                  <a:lnTo>
                    <a:pt x="114" y="406"/>
                  </a:lnTo>
                  <a:lnTo>
                    <a:pt x="111" y="403"/>
                  </a:lnTo>
                  <a:lnTo>
                    <a:pt x="108" y="403"/>
                  </a:lnTo>
                  <a:lnTo>
                    <a:pt x="105" y="403"/>
                  </a:lnTo>
                  <a:lnTo>
                    <a:pt x="102" y="403"/>
                  </a:lnTo>
                  <a:lnTo>
                    <a:pt x="102" y="400"/>
                  </a:lnTo>
                  <a:lnTo>
                    <a:pt x="99" y="400"/>
                  </a:lnTo>
                  <a:lnTo>
                    <a:pt x="96" y="400"/>
                  </a:lnTo>
                  <a:lnTo>
                    <a:pt x="93" y="400"/>
                  </a:lnTo>
                  <a:lnTo>
                    <a:pt x="90" y="400"/>
                  </a:lnTo>
                  <a:lnTo>
                    <a:pt x="87" y="400"/>
                  </a:lnTo>
                  <a:lnTo>
                    <a:pt x="87" y="397"/>
                  </a:lnTo>
                  <a:lnTo>
                    <a:pt x="84" y="397"/>
                  </a:lnTo>
                  <a:lnTo>
                    <a:pt x="81" y="397"/>
                  </a:lnTo>
                  <a:lnTo>
                    <a:pt x="78" y="397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8" y="388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4" y="385"/>
                  </a:lnTo>
                  <a:lnTo>
                    <a:pt x="75" y="382"/>
                  </a:lnTo>
                  <a:lnTo>
                    <a:pt x="72" y="382"/>
                  </a:lnTo>
                  <a:lnTo>
                    <a:pt x="69" y="379"/>
                  </a:lnTo>
                  <a:lnTo>
                    <a:pt x="69" y="376"/>
                  </a:lnTo>
                  <a:lnTo>
                    <a:pt x="66" y="376"/>
                  </a:lnTo>
                  <a:lnTo>
                    <a:pt x="66" y="379"/>
                  </a:lnTo>
                  <a:lnTo>
                    <a:pt x="63" y="379"/>
                  </a:lnTo>
                  <a:lnTo>
                    <a:pt x="60" y="379"/>
                  </a:lnTo>
                  <a:lnTo>
                    <a:pt x="57" y="376"/>
                  </a:lnTo>
                  <a:lnTo>
                    <a:pt x="60" y="373"/>
                  </a:lnTo>
                  <a:lnTo>
                    <a:pt x="60" y="370"/>
                  </a:lnTo>
                  <a:lnTo>
                    <a:pt x="63" y="370"/>
                  </a:lnTo>
                  <a:lnTo>
                    <a:pt x="69" y="367"/>
                  </a:lnTo>
                  <a:lnTo>
                    <a:pt x="69" y="364"/>
                  </a:lnTo>
                  <a:lnTo>
                    <a:pt x="72" y="364"/>
                  </a:lnTo>
                  <a:lnTo>
                    <a:pt x="75" y="364"/>
                  </a:lnTo>
                  <a:lnTo>
                    <a:pt x="81" y="364"/>
                  </a:lnTo>
                  <a:lnTo>
                    <a:pt x="81" y="361"/>
                  </a:lnTo>
                  <a:lnTo>
                    <a:pt x="75" y="358"/>
                  </a:lnTo>
                  <a:lnTo>
                    <a:pt x="75" y="355"/>
                  </a:lnTo>
                  <a:lnTo>
                    <a:pt x="75" y="352"/>
                  </a:lnTo>
                  <a:lnTo>
                    <a:pt x="75" y="349"/>
                  </a:lnTo>
                  <a:lnTo>
                    <a:pt x="75" y="346"/>
                  </a:lnTo>
                  <a:lnTo>
                    <a:pt x="72" y="346"/>
                  </a:lnTo>
                  <a:lnTo>
                    <a:pt x="66" y="343"/>
                  </a:lnTo>
                  <a:lnTo>
                    <a:pt x="63" y="343"/>
                  </a:lnTo>
                  <a:lnTo>
                    <a:pt x="60" y="343"/>
                  </a:lnTo>
                  <a:lnTo>
                    <a:pt x="57" y="343"/>
                  </a:lnTo>
                  <a:lnTo>
                    <a:pt x="54" y="343"/>
                  </a:lnTo>
                  <a:lnTo>
                    <a:pt x="51" y="340"/>
                  </a:lnTo>
                  <a:lnTo>
                    <a:pt x="51" y="337"/>
                  </a:lnTo>
                  <a:lnTo>
                    <a:pt x="48" y="337"/>
                  </a:lnTo>
                  <a:lnTo>
                    <a:pt x="39" y="337"/>
                  </a:lnTo>
                  <a:lnTo>
                    <a:pt x="36" y="337"/>
                  </a:lnTo>
                  <a:lnTo>
                    <a:pt x="33" y="337"/>
                  </a:lnTo>
                  <a:lnTo>
                    <a:pt x="30" y="337"/>
                  </a:lnTo>
                  <a:lnTo>
                    <a:pt x="24" y="340"/>
                  </a:lnTo>
                  <a:lnTo>
                    <a:pt x="21" y="340"/>
                  </a:lnTo>
                  <a:lnTo>
                    <a:pt x="18" y="340"/>
                  </a:lnTo>
                  <a:lnTo>
                    <a:pt x="12" y="340"/>
                  </a:lnTo>
                  <a:lnTo>
                    <a:pt x="9" y="340"/>
                  </a:lnTo>
                  <a:lnTo>
                    <a:pt x="6" y="340"/>
                  </a:lnTo>
                  <a:lnTo>
                    <a:pt x="0" y="337"/>
                  </a:lnTo>
                  <a:lnTo>
                    <a:pt x="3" y="334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9" y="325"/>
                  </a:lnTo>
                  <a:lnTo>
                    <a:pt x="9" y="319"/>
                  </a:lnTo>
                  <a:lnTo>
                    <a:pt x="12" y="316"/>
                  </a:lnTo>
                  <a:lnTo>
                    <a:pt x="15" y="313"/>
                  </a:lnTo>
                  <a:lnTo>
                    <a:pt x="21" y="304"/>
                  </a:lnTo>
                  <a:lnTo>
                    <a:pt x="21" y="301"/>
                  </a:lnTo>
                  <a:lnTo>
                    <a:pt x="18" y="301"/>
                  </a:lnTo>
                  <a:lnTo>
                    <a:pt x="18" y="298"/>
                  </a:lnTo>
                  <a:lnTo>
                    <a:pt x="21" y="298"/>
                  </a:lnTo>
                  <a:lnTo>
                    <a:pt x="18" y="292"/>
                  </a:lnTo>
                  <a:lnTo>
                    <a:pt x="24" y="286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77"/>
                  </a:lnTo>
                  <a:lnTo>
                    <a:pt x="33" y="280"/>
                  </a:lnTo>
                  <a:lnTo>
                    <a:pt x="36" y="280"/>
                  </a:lnTo>
                  <a:lnTo>
                    <a:pt x="39" y="277"/>
                  </a:lnTo>
                  <a:lnTo>
                    <a:pt x="45" y="277"/>
                  </a:lnTo>
                  <a:lnTo>
                    <a:pt x="48" y="280"/>
                  </a:lnTo>
                  <a:lnTo>
                    <a:pt x="54" y="280"/>
                  </a:lnTo>
                  <a:lnTo>
                    <a:pt x="57" y="274"/>
                  </a:lnTo>
                  <a:lnTo>
                    <a:pt x="54" y="274"/>
                  </a:lnTo>
                  <a:lnTo>
                    <a:pt x="54" y="271"/>
                  </a:lnTo>
                  <a:lnTo>
                    <a:pt x="51" y="268"/>
                  </a:lnTo>
                  <a:lnTo>
                    <a:pt x="45" y="265"/>
                  </a:lnTo>
                  <a:lnTo>
                    <a:pt x="48" y="265"/>
                  </a:lnTo>
                  <a:lnTo>
                    <a:pt x="48" y="262"/>
                  </a:lnTo>
                  <a:lnTo>
                    <a:pt x="48" y="259"/>
                  </a:lnTo>
                  <a:lnTo>
                    <a:pt x="48" y="253"/>
                  </a:lnTo>
                  <a:lnTo>
                    <a:pt x="45" y="250"/>
                  </a:lnTo>
                  <a:lnTo>
                    <a:pt x="45" y="244"/>
                  </a:lnTo>
                  <a:lnTo>
                    <a:pt x="42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51" y="232"/>
                  </a:lnTo>
                  <a:lnTo>
                    <a:pt x="54" y="235"/>
                  </a:lnTo>
                  <a:lnTo>
                    <a:pt x="57" y="238"/>
                  </a:lnTo>
                  <a:lnTo>
                    <a:pt x="60" y="235"/>
                  </a:lnTo>
                  <a:lnTo>
                    <a:pt x="60" y="229"/>
                  </a:lnTo>
                  <a:lnTo>
                    <a:pt x="66" y="232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78" y="232"/>
                  </a:lnTo>
                  <a:lnTo>
                    <a:pt x="81" y="232"/>
                  </a:lnTo>
                  <a:lnTo>
                    <a:pt x="78" y="229"/>
                  </a:lnTo>
                  <a:lnTo>
                    <a:pt x="81" y="223"/>
                  </a:lnTo>
                  <a:lnTo>
                    <a:pt x="81" y="220"/>
                  </a:lnTo>
                  <a:lnTo>
                    <a:pt x="84" y="220"/>
                  </a:lnTo>
                  <a:lnTo>
                    <a:pt x="87" y="217"/>
                  </a:lnTo>
                  <a:lnTo>
                    <a:pt x="90" y="217"/>
                  </a:lnTo>
                  <a:lnTo>
                    <a:pt x="93" y="220"/>
                  </a:lnTo>
                  <a:lnTo>
                    <a:pt x="93" y="223"/>
                  </a:lnTo>
                  <a:lnTo>
                    <a:pt x="96" y="223"/>
                  </a:lnTo>
                  <a:lnTo>
                    <a:pt x="99" y="223"/>
                  </a:lnTo>
                  <a:lnTo>
                    <a:pt x="102" y="223"/>
                  </a:lnTo>
                  <a:lnTo>
                    <a:pt x="102" y="220"/>
                  </a:lnTo>
                  <a:lnTo>
                    <a:pt x="105" y="220"/>
                  </a:lnTo>
                  <a:lnTo>
                    <a:pt x="105" y="217"/>
                  </a:lnTo>
                  <a:lnTo>
                    <a:pt x="108" y="217"/>
                  </a:lnTo>
                  <a:lnTo>
                    <a:pt x="111" y="217"/>
                  </a:lnTo>
                  <a:lnTo>
                    <a:pt x="111" y="213"/>
                  </a:lnTo>
                  <a:lnTo>
                    <a:pt x="114" y="213"/>
                  </a:lnTo>
                  <a:lnTo>
                    <a:pt x="118" y="213"/>
                  </a:lnTo>
                  <a:lnTo>
                    <a:pt x="118" y="210"/>
                  </a:lnTo>
                  <a:lnTo>
                    <a:pt x="121" y="210"/>
                  </a:lnTo>
                  <a:lnTo>
                    <a:pt x="121" y="207"/>
                  </a:lnTo>
                  <a:lnTo>
                    <a:pt x="118" y="207"/>
                  </a:lnTo>
                  <a:lnTo>
                    <a:pt x="118" y="204"/>
                  </a:lnTo>
                  <a:lnTo>
                    <a:pt x="118" y="201"/>
                  </a:lnTo>
                  <a:lnTo>
                    <a:pt x="118" y="204"/>
                  </a:lnTo>
                  <a:lnTo>
                    <a:pt x="121" y="204"/>
                  </a:lnTo>
                  <a:lnTo>
                    <a:pt x="118" y="201"/>
                  </a:lnTo>
                  <a:lnTo>
                    <a:pt x="121" y="201"/>
                  </a:lnTo>
                  <a:lnTo>
                    <a:pt x="121" y="198"/>
                  </a:lnTo>
                  <a:lnTo>
                    <a:pt x="124" y="198"/>
                  </a:lnTo>
                  <a:lnTo>
                    <a:pt x="124" y="195"/>
                  </a:lnTo>
                  <a:lnTo>
                    <a:pt x="127" y="192"/>
                  </a:lnTo>
                  <a:lnTo>
                    <a:pt x="124" y="192"/>
                  </a:lnTo>
                  <a:lnTo>
                    <a:pt x="124" y="189"/>
                  </a:lnTo>
                  <a:lnTo>
                    <a:pt x="121" y="189"/>
                  </a:lnTo>
                  <a:lnTo>
                    <a:pt x="121" y="186"/>
                  </a:lnTo>
                  <a:lnTo>
                    <a:pt x="121" y="189"/>
                  </a:lnTo>
                  <a:lnTo>
                    <a:pt x="118" y="189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21" y="183"/>
                  </a:lnTo>
                  <a:lnTo>
                    <a:pt x="121" y="180"/>
                  </a:lnTo>
                  <a:lnTo>
                    <a:pt x="124" y="180"/>
                  </a:lnTo>
                  <a:lnTo>
                    <a:pt x="121" y="177"/>
                  </a:lnTo>
                  <a:lnTo>
                    <a:pt x="121" y="174"/>
                  </a:lnTo>
                  <a:lnTo>
                    <a:pt x="121" y="171"/>
                  </a:lnTo>
                  <a:lnTo>
                    <a:pt x="127" y="171"/>
                  </a:lnTo>
                  <a:lnTo>
                    <a:pt x="127" y="174"/>
                  </a:lnTo>
                  <a:lnTo>
                    <a:pt x="130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6" y="168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5" y="168"/>
                  </a:lnTo>
                  <a:lnTo>
                    <a:pt x="148" y="168"/>
                  </a:lnTo>
                  <a:lnTo>
                    <a:pt x="151" y="168"/>
                  </a:lnTo>
                  <a:lnTo>
                    <a:pt x="151" y="165"/>
                  </a:lnTo>
                  <a:lnTo>
                    <a:pt x="151" y="159"/>
                  </a:lnTo>
                  <a:lnTo>
                    <a:pt x="151" y="156"/>
                  </a:lnTo>
                  <a:lnTo>
                    <a:pt x="151" y="153"/>
                  </a:lnTo>
                  <a:lnTo>
                    <a:pt x="154" y="150"/>
                  </a:lnTo>
                  <a:lnTo>
                    <a:pt x="151" y="147"/>
                  </a:lnTo>
                  <a:lnTo>
                    <a:pt x="154" y="147"/>
                  </a:lnTo>
                  <a:lnTo>
                    <a:pt x="157" y="141"/>
                  </a:lnTo>
                  <a:lnTo>
                    <a:pt x="157" y="138"/>
                  </a:lnTo>
                  <a:lnTo>
                    <a:pt x="163" y="135"/>
                  </a:lnTo>
                  <a:lnTo>
                    <a:pt x="166" y="138"/>
                  </a:lnTo>
                  <a:lnTo>
                    <a:pt x="169" y="138"/>
                  </a:lnTo>
                  <a:lnTo>
                    <a:pt x="175" y="138"/>
                  </a:lnTo>
                  <a:lnTo>
                    <a:pt x="178" y="135"/>
                  </a:lnTo>
                  <a:lnTo>
                    <a:pt x="181" y="135"/>
                  </a:lnTo>
                  <a:lnTo>
                    <a:pt x="181" y="132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0" y="126"/>
                  </a:lnTo>
                  <a:lnTo>
                    <a:pt x="193" y="126"/>
                  </a:lnTo>
                  <a:lnTo>
                    <a:pt x="196" y="126"/>
                  </a:lnTo>
                  <a:lnTo>
                    <a:pt x="199" y="123"/>
                  </a:lnTo>
                  <a:lnTo>
                    <a:pt x="199" y="126"/>
                  </a:lnTo>
                  <a:lnTo>
                    <a:pt x="199" y="123"/>
                  </a:lnTo>
                  <a:lnTo>
                    <a:pt x="202" y="123"/>
                  </a:lnTo>
                  <a:lnTo>
                    <a:pt x="205" y="123"/>
                  </a:lnTo>
                  <a:lnTo>
                    <a:pt x="208" y="123"/>
                  </a:lnTo>
                  <a:lnTo>
                    <a:pt x="208" y="120"/>
                  </a:lnTo>
                  <a:lnTo>
                    <a:pt x="211" y="120"/>
                  </a:lnTo>
                  <a:lnTo>
                    <a:pt x="208" y="120"/>
                  </a:lnTo>
                  <a:lnTo>
                    <a:pt x="211" y="117"/>
                  </a:lnTo>
                  <a:lnTo>
                    <a:pt x="214" y="120"/>
                  </a:lnTo>
                  <a:lnTo>
                    <a:pt x="217" y="120"/>
                  </a:lnTo>
                  <a:lnTo>
                    <a:pt x="223" y="123"/>
                  </a:lnTo>
                  <a:lnTo>
                    <a:pt x="223" y="120"/>
                  </a:lnTo>
                  <a:lnTo>
                    <a:pt x="223" y="117"/>
                  </a:lnTo>
                  <a:lnTo>
                    <a:pt x="223" y="114"/>
                  </a:lnTo>
                  <a:lnTo>
                    <a:pt x="226" y="114"/>
                  </a:lnTo>
                  <a:lnTo>
                    <a:pt x="226" y="111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99"/>
                  </a:lnTo>
                  <a:lnTo>
                    <a:pt x="232" y="99"/>
                  </a:lnTo>
                  <a:lnTo>
                    <a:pt x="232" y="96"/>
                  </a:lnTo>
                  <a:lnTo>
                    <a:pt x="235" y="96"/>
                  </a:lnTo>
                  <a:lnTo>
                    <a:pt x="235" y="93"/>
                  </a:lnTo>
                  <a:lnTo>
                    <a:pt x="235" y="90"/>
                  </a:lnTo>
                  <a:lnTo>
                    <a:pt x="238" y="90"/>
                  </a:lnTo>
                  <a:lnTo>
                    <a:pt x="235" y="90"/>
                  </a:lnTo>
                  <a:lnTo>
                    <a:pt x="235" y="87"/>
                  </a:lnTo>
                  <a:lnTo>
                    <a:pt x="232" y="87"/>
                  </a:lnTo>
                  <a:lnTo>
                    <a:pt x="232" y="84"/>
                  </a:lnTo>
                  <a:lnTo>
                    <a:pt x="235" y="84"/>
                  </a:lnTo>
                  <a:lnTo>
                    <a:pt x="238" y="78"/>
                  </a:lnTo>
                  <a:lnTo>
                    <a:pt x="235" y="78"/>
                  </a:lnTo>
                  <a:lnTo>
                    <a:pt x="232" y="78"/>
                  </a:lnTo>
                  <a:lnTo>
                    <a:pt x="232" y="75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6"/>
                  </a:lnTo>
                  <a:lnTo>
                    <a:pt x="232" y="63"/>
                  </a:lnTo>
                  <a:lnTo>
                    <a:pt x="235" y="63"/>
                  </a:lnTo>
                  <a:lnTo>
                    <a:pt x="238" y="60"/>
                  </a:lnTo>
                  <a:lnTo>
                    <a:pt x="241" y="60"/>
                  </a:lnTo>
                  <a:lnTo>
                    <a:pt x="244" y="60"/>
                  </a:lnTo>
                  <a:lnTo>
                    <a:pt x="244" y="63"/>
                  </a:lnTo>
                  <a:lnTo>
                    <a:pt x="244" y="66"/>
                  </a:lnTo>
                  <a:lnTo>
                    <a:pt x="247" y="66"/>
                  </a:lnTo>
                  <a:lnTo>
                    <a:pt x="247" y="63"/>
                  </a:lnTo>
                  <a:lnTo>
                    <a:pt x="250" y="63"/>
                  </a:lnTo>
                  <a:lnTo>
                    <a:pt x="250" y="66"/>
                  </a:lnTo>
                  <a:lnTo>
                    <a:pt x="250" y="69"/>
                  </a:lnTo>
                  <a:lnTo>
                    <a:pt x="253" y="69"/>
                  </a:lnTo>
                  <a:lnTo>
                    <a:pt x="256" y="69"/>
                  </a:lnTo>
                  <a:lnTo>
                    <a:pt x="256" y="66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62" y="63"/>
                  </a:lnTo>
                  <a:lnTo>
                    <a:pt x="265" y="63"/>
                  </a:lnTo>
                  <a:lnTo>
                    <a:pt x="265" y="60"/>
                  </a:lnTo>
                  <a:lnTo>
                    <a:pt x="268" y="60"/>
                  </a:lnTo>
                  <a:lnTo>
                    <a:pt x="265" y="60"/>
                  </a:lnTo>
                  <a:lnTo>
                    <a:pt x="265" y="57"/>
                  </a:lnTo>
                  <a:lnTo>
                    <a:pt x="265" y="54"/>
                  </a:lnTo>
                  <a:lnTo>
                    <a:pt x="268" y="54"/>
                  </a:lnTo>
                  <a:lnTo>
                    <a:pt x="268" y="57"/>
                  </a:lnTo>
                  <a:lnTo>
                    <a:pt x="271" y="57"/>
                  </a:lnTo>
                  <a:lnTo>
                    <a:pt x="271" y="54"/>
                  </a:lnTo>
                  <a:lnTo>
                    <a:pt x="274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1"/>
                  </a:lnTo>
                  <a:lnTo>
                    <a:pt x="283" y="51"/>
                  </a:lnTo>
                  <a:lnTo>
                    <a:pt x="286" y="51"/>
                  </a:lnTo>
                  <a:lnTo>
                    <a:pt x="286" y="54"/>
                  </a:lnTo>
                  <a:lnTo>
                    <a:pt x="289" y="54"/>
                  </a:lnTo>
                  <a:lnTo>
                    <a:pt x="289" y="51"/>
                  </a:lnTo>
                  <a:lnTo>
                    <a:pt x="286" y="51"/>
                  </a:lnTo>
                  <a:lnTo>
                    <a:pt x="286" y="48"/>
                  </a:lnTo>
                  <a:lnTo>
                    <a:pt x="289" y="48"/>
                  </a:lnTo>
                  <a:lnTo>
                    <a:pt x="292" y="48"/>
                  </a:lnTo>
                  <a:lnTo>
                    <a:pt x="292" y="51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298" y="54"/>
                  </a:lnTo>
                  <a:lnTo>
                    <a:pt x="298" y="57"/>
                  </a:lnTo>
                  <a:lnTo>
                    <a:pt x="301" y="57"/>
                  </a:lnTo>
                  <a:lnTo>
                    <a:pt x="298" y="57"/>
                  </a:lnTo>
                  <a:lnTo>
                    <a:pt x="298" y="60"/>
                  </a:lnTo>
                  <a:lnTo>
                    <a:pt x="301" y="60"/>
                  </a:lnTo>
                  <a:lnTo>
                    <a:pt x="301" y="57"/>
                  </a:lnTo>
                  <a:lnTo>
                    <a:pt x="304" y="57"/>
                  </a:lnTo>
                  <a:lnTo>
                    <a:pt x="304" y="60"/>
                  </a:lnTo>
                  <a:lnTo>
                    <a:pt x="307" y="60"/>
                  </a:lnTo>
                  <a:lnTo>
                    <a:pt x="307" y="57"/>
                  </a:lnTo>
                  <a:lnTo>
                    <a:pt x="310" y="57"/>
                  </a:lnTo>
                  <a:lnTo>
                    <a:pt x="313" y="57"/>
                  </a:lnTo>
                  <a:lnTo>
                    <a:pt x="316" y="57"/>
                  </a:lnTo>
                  <a:lnTo>
                    <a:pt x="316" y="60"/>
                  </a:lnTo>
                  <a:lnTo>
                    <a:pt x="316" y="63"/>
                  </a:lnTo>
                  <a:lnTo>
                    <a:pt x="319" y="63"/>
                  </a:lnTo>
                  <a:lnTo>
                    <a:pt x="322" y="66"/>
                  </a:lnTo>
                  <a:lnTo>
                    <a:pt x="325" y="66"/>
                  </a:lnTo>
                  <a:lnTo>
                    <a:pt x="328" y="66"/>
                  </a:lnTo>
                  <a:lnTo>
                    <a:pt x="328" y="69"/>
                  </a:lnTo>
                  <a:lnTo>
                    <a:pt x="331" y="69"/>
                  </a:lnTo>
                  <a:lnTo>
                    <a:pt x="331" y="66"/>
                  </a:lnTo>
                  <a:lnTo>
                    <a:pt x="334" y="66"/>
                  </a:lnTo>
                  <a:lnTo>
                    <a:pt x="334" y="69"/>
                  </a:lnTo>
                  <a:lnTo>
                    <a:pt x="337" y="69"/>
                  </a:lnTo>
                  <a:lnTo>
                    <a:pt x="337" y="66"/>
                  </a:lnTo>
                  <a:lnTo>
                    <a:pt x="340" y="66"/>
                  </a:lnTo>
                  <a:lnTo>
                    <a:pt x="343" y="63"/>
                  </a:lnTo>
                  <a:lnTo>
                    <a:pt x="346" y="66"/>
                  </a:lnTo>
                  <a:lnTo>
                    <a:pt x="346" y="69"/>
                  </a:lnTo>
                  <a:lnTo>
                    <a:pt x="349" y="69"/>
                  </a:lnTo>
                  <a:lnTo>
                    <a:pt x="349" y="66"/>
                  </a:lnTo>
                  <a:lnTo>
                    <a:pt x="352" y="66"/>
                  </a:lnTo>
                  <a:lnTo>
                    <a:pt x="355" y="66"/>
                  </a:lnTo>
                  <a:lnTo>
                    <a:pt x="355" y="63"/>
                  </a:lnTo>
                  <a:lnTo>
                    <a:pt x="355" y="60"/>
                  </a:lnTo>
                  <a:lnTo>
                    <a:pt x="358" y="60"/>
                  </a:lnTo>
                  <a:lnTo>
                    <a:pt x="361" y="60"/>
                  </a:lnTo>
                  <a:lnTo>
                    <a:pt x="364" y="60"/>
                  </a:lnTo>
                  <a:lnTo>
                    <a:pt x="364" y="57"/>
                  </a:lnTo>
                  <a:lnTo>
                    <a:pt x="361" y="57"/>
                  </a:lnTo>
                  <a:lnTo>
                    <a:pt x="361" y="54"/>
                  </a:lnTo>
                  <a:lnTo>
                    <a:pt x="364" y="54"/>
                  </a:lnTo>
                  <a:lnTo>
                    <a:pt x="367" y="54"/>
                  </a:lnTo>
                  <a:lnTo>
                    <a:pt x="367" y="57"/>
                  </a:lnTo>
                  <a:lnTo>
                    <a:pt x="370" y="57"/>
                  </a:lnTo>
                  <a:lnTo>
                    <a:pt x="370" y="54"/>
                  </a:lnTo>
                  <a:lnTo>
                    <a:pt x="370" y="51"/>
                  </a:lnTo>
                  <a:lnTo>
                    <a:pt x="373" y="51"/>
                  </a:lnTo>
                  <a:lnTo>
                    <a:pt x="376" y="51"/>
                  </a:lnTo>
                  <a:lnTo>
                    <a:pt x="376" y="54"/>
                  </a:lnTo>
                  <a:lnTo>
                    <a:pt x="376" y="51"/>
                  </a:lnTo>
                  <a:lnTo>
                    <a:pt x="376" y="48"/>
                  </a:lnTo>
                  <a:lnTo>
                    <a:pt x="379" y="48"/>
                  </a:lnTo>
                  <a:lnTo>
                    <a:pt x="379" y="51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51"/>
                  </a:lnTo>
                  <a:lnTo>
                    <a:pt x="385" y="51"/>
                  </a:lnTo>
                  <a:lnTo>
                    <a:pt x="385" y="48"/>
                  </a:lnTo>
                  <a:lnTo>
                    <a:pt x="388" y="48"/>
                  </a:lnTo>
                  <a:lnTo>
                    <a:pt x="385" y="48"/>
                  </a:lnTo>
                  <a:lnTo>
                    <a:pt x="385" y="45"/>
                  </a:lnTo>
                  <a:lnTo>
                    <a:pt x="388" y="45"/>
                  </a:lnTo>
                  <a:lnTo>
                    <a:pt x="391" y="45"/>
                  </a:lnTo>
                  <a:lnTo>
                    <a:pt x="391" y="42"/>
                  </a:lnTo>
                  <a:lnTo>
                    <a:pt x="388" y="42"/>
                  </a:lnTo>
                  <a:lnTo>
                    <a:pt x="388" y="45"/>
                  </a:lnTo>
                  <a:lnTo>
                    <a:pt x="388" y="42"/>
                  </a:lnTo>
                  <a:lnTo>
                    <a:pt x="388" y="39"/>
                  </a:lnTo>
                  <a:lnTo>
                    <a:pt x="388" y="42"/>
                  </a:lnTo>
                  <a:lnTo>
                    <a:pt x="391" y="42"/>
                  </a:lnTo>
                  <a:lnTo>
                    <a:pt x="391" y="39"/>
                  </a:lnTo>
                  <a:lnTo>
                    <a:pt x="394" y="39"/>
                  </a:lnTo>
                  <a:lnTo>
                    <a:pt x="394" y="36"/>
                  </a:lnTo>
                  <a:lnTo>
                    <a:pt x="391" y="36"/>
                  </a:lnTo>
                  <a:lnTo>
                    <a:pt x="391" y="39"/>
                  </a:lnTo>
                  <a:lnTo>
                    <a:pt x="391" y="36"/>
                  </a:lnTo>
                  <a:lnTo>
                    <a:pt x="391" y="33"/>
                  </a:lnTo>
                  <a:lnTo>
                    <a:pt x="388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24"/>
                  </a:lnTo>
                  <a:lnTo>
                    <a:pt x="391" y="21"/>
                  </a:lnTo>
                  <a:lnTo>
                    <a:pt x="391" y="18"/>
                  </a:lnTo>
                  <a:lnTo>
                    <a:pt x="394" y="18"/>
                  </a:lnTo>
                  <a:lnTo>
                    <a:pt x="397" y="18"/>
                  </a:lnTo>
                  <a:lnTo>
                    <a:pt x="400" y="18"/>
                  </a:lnTo>
                  <a:lnTo>
                    <a:pt x="403" y="18"/>
                  </a:lnTo>
                  <a:lnTo>
                    <a:pt x="406" y="18"/>
                  </a:lnTo>
                  <a:lnTo>
                    <a:pt x="406" y="21"/>
                  </a:lnTo>
                  <a:lnTo>
                    <a:pt x="406" y="24"/>
                  </a:lnTo>
                  <a:lnTo>
                    <a:pt x="406" y="27"/>
                  </a:lnTo>
                  <a:lnTo>
                    <a:pt x="409" y="27"/>
                  </a:lnTo>
                  <a:lnTo>
                    <a:pt x="409" y="24"/>
                  </a:lnTo>
                  <a:lnTo>
                    <a:pt x="409" y="27"/>
                  </a:lnTo>
                  <a:lnTo>
                    <a:pt x="412" y="27"/>
                  </a:lnTo>
                  <a:lnTo>
                    <a:pt x="412" y="30"/>
                  </a:lnTo>
                  <a:lnTo>
                    <a:pt x="412" y="33"/>
                  </a:lnTo>
                  <a:lnTo>
                    <a:pt x="415" y="33"/>
                  </a:lnTo>
                  <a:lnTo>
                    <a:pt x="418" y="33"/>
                  </a:lnTo>
                  <a:lnTo>
                    <a:pt x="418" y="36"/>
                  </a:lnTo>
                  <a:lnTo>
                    <a:pt x="418" y="39"/>
                  </a:lnTo>
                  <a:lnTo>
                    <a:pt x="418" y="42"/>
                  </a:lnTo>
                  <a:lnTo>
                    <a:pt x="418" y="39"/>
                  </a:lnTo>
                  <a:lnTo>
                    <a:pt x="421" y="39"/>
                  </a:lnTo>
                  <a:lnTo>
                    <a:pt x="421" y="42"/>
                  </a:lnTo>
                  <a:lnTo>
                    <a:pt x="424" y="42"/>
                  </a:lnTo>
                  <a:lnTo>
                    <a:pt x="424" y="45"/>
                  </a:lnTo>
                  <a:lnTo>
                    <a:pt x="427" y="45"/>
                  </a:lnTo>
                  <a:lnTo>
                    <a:pt x="427" y="48"/>
                  </a:lnTo>
                  <a:lnTo>
                    <a:pt x="427" y="51"/>
                  </a:lnTo>
                  <a:lnTo>
                    <a:pt x="430" y="51"/>
                  </a:lnTo>
                  <a:lnTo>
                    <a:pt x="430" y="54"/>
                  </a:lnTo>
                  <a:lnTo>
                    <a:pt x="433" y="54"/>
                  </a:lnTo>
                  <a:lnTo>
                    <a:pt x="436" y="54"/>
                  </a:lnTo>
                  <a:lnTo>
                    <a:pt x="436" y="57"/>
                  </a:lnTo>
                  <a:lnTo>
                    <a:pt x="439" y="57"/>
                  </a:lnTo>
                  <a:lnTo>
                    <a:pt x="439" y="60"/>
                  </a:lnTo>
                  <a:lnTo>
                    <a:pt x="442" y="63"/>
                  </a:lnTo>
                  <a:lnTo>
                    <a:pt x="442" y="60"/>
                  </a:lnTo>
                  <a:lnTo>
                    <a:pt x="445" y="60"/>
                  </a:lnTo>
                  <a:lnTo>
                    <a:pt x="448" y="60"/>
                  </a:lnTo>
                  <a:lnTo>
                    <a:pt x="451" y="60"/>
                  </a:lnTo>
                  <a:lnTo>
                    <a:pt x="451" y="63"/>
                  </a:lnTo>
                  <a:lnTo>
                    <a:pt x="454" y="66"/>
                  </a:lnTo>
                  <a:lnTo>
                    <a:pt x="454" y="63"/>
                  </a:lnTo>
                  <a:lnTo>
                    <a:pt x="454" y="60"/>
                  </a:lnTo>
                  <a:lnTo>
                    <a:pt x="457" y="57"/>
                  </a:lnTo>
                  <a:lnTo>
                    <a:pt x="457" y="54"/>
                  </a:lnTo>
                  <a:lnTo>
                    <a:pt x="460" y="54"/>
                  </a:lnTo>
                  <a:lnTo>
                    <a:pt x="457" y="51"/>
                  </a:lnTo>
                  <a:lnTo>
                    <a:pt x="460" y="51"/>
                  </a:lnTo>
                  <a:lnTo>
                    <a:pt x="460" y="48"/>
                  </a:lnTo>
                  <a:lnTo>
                    <a:pt x="457" y="48"/>
                  </a:lnTo>
                  <a:lnTo>
                    <a:pt x="457" y="45"/>
                  </a:lnTo>
                  <a:lnTo>
                    <a:pt x="460" y="45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6" y="39"/>
                  </a:lnTo>
                  <a:lnTo>
                    <a:pt x="466" y="36"/>
                  </a:lnTo>
                  <a:lnTo>
                    <a:pt x="466" y="33"/>
                  </a:lnTo>
                  <a:lnTo>
                    <a:pt x="463" y="33"/>
                  </a:lnTo>
                  <a:lnTo>
                    <a:pt x="460" y="30"/>
                  </a:lnTo>
                  <a:lnTo>
                    <a:pt x="463" y="27"/>
                  </a:lnTo>
                  <a:lnTo>
                    <a:pt x="466" y="27"/>
                  </a:lnTo>
                  <a:lnTo>
                    <a:pt x="469" y="27"/>
                  </a:lnTo>
                  <a:lnTo>
                    <a:pt x="472" y="24"/>
                  </a:lnTo>
                  <a:lnTo>
                    <a:pt x="472" y="21"/>
                  </a:lnTo>
                  <a:lnTo>
                    <a:pt x="475" y="21"/>
                  </a:lnTo>
                  <a:lnTo>
                    <a:pt x="475" y="18"/>
                  </a:lnTo>
                  <a:lnTo>
                    <a:pt x="478" y="18"/>
                  </a:lnTo>
                  <a:lnTo>
                    <a:pt x="478" y="15"/>
                  </a:lnTo>
                  <a:lnTo>
                    <a:pt x="481" y="18"/>
                  </a:lnTo>
                  <a:lnTo>
                    <a:pt x="484" y="18"/>
                  </a:lnTo>
                  <a:lnTo>
                    <a:pt x="484" y="15"/>
                  </a:lnTo>
                  <a:lnTo>
                    <a:pt x="487" y="15"/>
                  </a:lnTo>
                  <a:lnTo>
                    <a:pt x="490" y="15"/>
                  </a:lnTo>
                  <a:lnTo>
                    <a:pt x="496" y="15"/>
                  </a:lnTo>
                  <a:lnTo>
                    <a:pt x="499" y="15"/>
                  </a:lnTo>
                  <a:lnTo>
                    <a:pt x="502" y="15"/>
                  </a:lnTo>
                  <a:lnTo>
                    <a:pt x="505" y="12"/>
                  </a:lnTo>
                  <a:lnTo>
                    <a:pt x="508" y="12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7" y="12"/>
                  </a:lnTo>
                  <a:lnTo>
                    <a:pt x="517" y="9"/>
                  </a:lnTo>
                  <a:lnTo>
                    <a:pt x="520" y="9"/>
                  </a:lnTo>
                  <a:lnTo>
                    <a:pt x="523" y="6"/>
                  </a:lnTo>
                  <a:lnTo>
                    <a:pt x="526" y="6"/>
                  </a:lnTo>
                  <a:lnTo>
                    <a:pt x="526" y="3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>
                <a:solidFill>
                  <a:schemeClr val="bg1"/>
                </a:solidFill>
              </a:endParaRPr>
            </a:p>
          </p:txBody>
        </p:sp>
        <p:sp>
          <p:nvSpPr>
            <p:cNvPr id="104" name="Freeform 40">
              <a:extLst>
                <a:ext uri="{FF2B5EF4-FFF2-40B4-BE49-F238E27FC236}">
                  <a16:creationId xmlns:a16="http://schemas.microsoft.com/office/drawing/2014/main" id="{7BE52BC7-8819-432E-BE39-EB81940522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60688" y="3727450"/>
              <a:ext cx="1069975" cy="869950"/>
            </a:xfrm>
            <a:custGeom>
              <a:avLst/>
              <a:gdLst>
                <a:gd name="T0" fmla="*/ 70807 w 544"/>
                <a:gd name="T1" fmla="*/ 82665 h 442"/>
                <a:gd name="T2" fmla="*/ 147515 w 544"/>
                <a:gd name="T3" fmla="*/ 17714 h 442"/>
                <a:gd name="T4" fmla="*/ 188819 w 544"/>
                <a:gd name="T5" fmla="*/ 112188 h 442"/>
                <a:gd name="T6" fmla="*/ 212422 w 544"/>
                <a:gd name="T7" fmla="*/ 200758 h 442"/>
                <a:gd name="T8" fmla="*/ 218322 w 544"/>
                <a:gd name="T9" fmla="*/ 259804 h 442"/>
                <a:gd name="T10" fmla="*/ 253726 w 544"/>
                <a:gd name="T11" fmla="*/ 277518 h 442"/>
                <a:gd name="T12" fmla="*/ 289129 w 544"/>
                <a:gd name="T13" fmla="*/ 330660 h 442"/>
                <a:gd name="T14" fmla="*/ 289129 w 544"/>
                <a:gd name="T15" fmla="*/ 403484 h 442"/>
                <a:gd name="T16" fmla="*/ 336334 w 544"/>
                <a:gd name="T17" fmla="*/ 385770 h 442"/>
                <a:gd name="T18" fmla="*/ 413042 w 544"/>
                <a:gd name="T19" fmla="*/ 368056 h 442"/>
                <a:gd name="T20" fmla="*/ 418942 w 544"/>
                <a:gd name="T21" fmla="*/ 462530 h 442"/>
                <a:gd name="T22" fmla="*/ 501551 w 544"/>
                <a:gd name="T23" fmla="*/ 480244 h 442"/>
                <a:gd name="T24" fmla="*/ 560557 w 544"/>
                <a:gd name="T25" fmla="*/ 433007 h 442"/>
                <a:gd name="T26" fmla="*/ 625463 w 544"/>
                <a:gd name="T27" fmla="*/ 373960 h 442"/>
                <a:gd name="T28" fmla="*/ 684469 w 544"/>
                <a:gd name="T29" fmla="*/ 356246 h 442"/>
                <a:gd name="T30" fmla="*/ 713972 w 544"/>
                <a:gd name="T31" fmla="*/ 307041 h 442"/>
                <a:gd name="T32" fmla="*/ 737575 w 544"/>
                <a:gd name="T33" fmla="*/ 259804 h 442"/>
                <a:gd name="T34" fmla="*/ 820183 w 544"/>
                <a:gd name="T35" fmla="*/ 265709 h 442"/>
                <a:gd name="T36" fmla="*/ 885090 w 544"/>
                <a:gd name="T37" fmla="*/ 301137 h 442"/>
                <a:gd name="T38" fmla="*/ 955897 w 544"/>
                <a:gd name="T39" fmla="*/ 247995 h 442"/>
                <a:gd name="T40" fmla="*/ 1014903 w 544"/>
                <a:gd name="T41" fmla="*/ 271613 h 442"/>
                <a:gd name="T42" fmla="*/ 1052273 w 544"/>
                <a:gd name="T43" fmla="*/ 283423 h 442"/>
                <a:gd name="T44" fmla="*/ 1052273 w 544"/>
                <a:gd name="T45" fmla="*/ 312946 h 442"/>
                <a:gd name="T46" fmla="*/ 1014903 w 544"/>
                <a:gd name="T47" fmla="*/ 356246 h 442"/>
                <a:gd name="T48" fmla="*/ 938195 w 544"/>
                <a:gd name="T49" fmla="*/ 368056 h 442"/>
                <a:gd name="T50" fmla="*/ 920493 w 544"/>
                <a:gd name="T51" fmla="*/ 444816 h 442"/>
                <a:gd name="T52" fmla="*/ 855587 w 544"/>
                <a:gd name="T53" fmla="*/ 492053 h 442"/>
                <a:gd name="T54" fmla="*/ 837885 w 544"/>
                <a:gd name="T55" fmla="*/ 586527 h 442"/>
                <a:gd name="T56" fmla="*/ 944096 w 544"/>
                <a:gd name="T57" fmla="*/ 592432 h 442"/>
                <a:gd name="T58" fmla="*/ 938195 w 544"/>
                <a:gd name="T59" fmla="*/ 645574 h 442"/>
                <a:gd name="T60" fmla="*/ 979499 w 544"/>
                <a:gd name="T61" fmla="*/ 681002 h 442"/>
                <a:gd name="T62" fmla="*/ 926394 w 544"/>
                <a:gd name="T63" fmla="*/ 716429 h 442"/>
                <a:gd name="T64" fmla="*/ 879189 w 544"/>
                <a:gd name="T65" fmla="*/ 710525 h 442"/>
                <a:gd name="T66" fmla="*/ 843785 w 544"/>
                <a:gd name="T67" fmla="*/ 710525 h 442"/>
                <a:gd name="T68" fmla="*/ 784779 w 544"/>
                <a:gd name="T69" fmla="*/ 710525 h 442"/>
                <a:gd name="T70" fmla="*/ 719873 w 544"/>
                <a:gd name="T71" fmla="*/ 728239 h 442"/>
                <a:gd name="T72" fmla="*/ 690370 w 544"/>
                <a:gd name="T73" fmla="*/ 763667 h 442"/>
                <a:gd name="T74" fmla="*/ 613662 w 544"/>
                <a:gd name="T75" fmla="*/ 775476 h 442"/>
                <a:gd name="T76" fmla="*/ 542855 w 544"/>
                <a:gd name="T77" fmla="*/ 775476 h 442"/>
                <a:gd name="T78" fmla="*/ 477948 w 544"/>
                <a:gd name="T79" fmla="*/ 793190 h 442"/>
                <a:gd name="T80" fmla="*/ 407141 w 544"/>
                <a:gd name="T81" fmla="*/ 834522 h 442"/>
                <a:gd name="T82" fmla="*/ 359936 w 544"/>
                <a:gd name="T83" fmla="*/ 864045 h 442"/>
                <a:gd name="T84" fmla="*/ 300930 w 544"/>
                <a:gd name="T85" fmla="*/ 840427 h 442"/>
                <a:gd name="T86" fmla="*/ 259626 w 544"/>
                <a:gd name="T87" fmla="*/ 822713 h 442"/>
                <a:gd name="T88" fmla="*/ 236024 w 544"/>
                <a:gd name="T89" fmla="*/ 787285 h 442"/>
                <a:gd name="T90" fmla="*/ 177018 w 544"/>
                <a:gd name="T91" fmla="*/ 781380 h 442"/>
                <a:gd name="T92" fmla="*/ 165217 w 544"/>
                <a:gd name="T93" fmla="*/ 716429 h 442"/>
                <a:gd name="T94" fmla="*/ 118012 w 544"/>
                <a:gd name="T95" fmla="*/ 745953 h 442"/>
                <a:gd name="T96" fmla="*/ 106211 w 544"/>
                <a:gd name="T97" fmla="*/ 745953 h 442"/>
                <a:gd name="T98" fmla="*/ 94410 w 544"/>
                <a:gd name="T99" fmla="*/ 704620 h 442"/>
                <a:gd name="T100" fmla="*/ 118012 w 544"/>
                <a:gd name="T101" fmla="*/ 663288 h 442"/>
                <a:gd name="T102" fmla="*/ 94410 w 544"/>
                <a:gd name="T103" fmla="*/ 610146 h 442"/>
                <a:gd name="T104" fmla="*/ 59006 w 544"/>
                <a:gd name="T105" fmla="*/ 551100 h 442"/>
                <a:gd name="T106" fmla="*/ 47205 w 544"/>
                <a:gd name="T107" fmla="*/ 521576 h 442"/>
                <a:gd name="T108" fmla="*/ 47205 w 544"/>
                <a:gd name="T109" fmla="*/ 521576 h 442"/>
                <a:gd name="T110" fmla="*/ 29503 w 544"/>
                <a:gd name="T111" fmla="*/ 503862 h 442"/>
                <a:gd name="T112" fmla="*/ 23602 w 544"/>
                <a:gd name="T113" fmla="*/ 456625 h 442"/>
                <a:gd name="T114" fmla="*/ 64907 w 544"/>
                <a:gd name="T115" fmla="*/ 456625 h 442"/>
                <a:gd name="T116" fmla="*/ 94410 w 544"/>
                <a:gd name="T117" fmla="*/ 373960 h 442"/>
                <a:gd name="T118" fmla="*/ 88509 w 544"/>
                <a:gd name="T119" fmla="*/ 307041 h 442"/>
                <a:gd name="T120" fmla="*/ 70807 w 544"/>
                <a:gd name="T121" fmla="*/ 242090 h 442"/>
                <a:gd name="T122" fmla="*/ 29503 w 544"/>
                <a:gd name="T123" fmla="*/ 188948 h 4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44" h="442">
                  <a:moveTo>
                    <a:pt x="6" y="75"/>
                  </a:moveTo>
                  <a:lnTo>
                    <a:pt x="6" y="66"/>
                  </a:lnTo>
                  <a:lnTo>
                    <a:pt x="12" y="60"/>
                  </a:lnTo>
                  <a:lnTo>
                    <a:pt x="15" y="57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7" y="36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9" y="39"/>
                  </a:lnTo>
                  <a:lnTo>
                    <a:pt x="42" y="39"/>
                  </a:lnTo>
                  <a:lnTo>
                    <a:pt x="45" y="36"/>
                  </a:lnTo>
                  <a:lnTo>
                    <a:pt x="48" y="33"/>
                  </a:lnTo>
                  <a:lnTo>
                    <a:pt x="51" y="24"/>
                  </a:lnTo>
                  <a:lnTo>
                    <a:pt x="51" y="18"/>
                  </a:lnTo>
                  <a:lnTo>
                    <a:pt x="57" y="12"/>
                  </a:lnTo>
                  <a:lnTo>
                    <a:pt x="57" y="9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6"/>
                  </a:lnTo>
                  <a:lnTo>
                    <a:pt x="63" y="3"/>
                  </a:lnTo>
                  <a:lnTo>
                    <a:pt x="69" y="0"/>
                  </a:lnTo>
                  <a:lnTo>
                    <a:pt x="72" y="6"/>
                  </a:lnTo>
                  <a:lnTo>
                    <a:pt x="75" y="9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81" y="15"/>
                  </a:lnTo>
                  <a:lnTo>
                    <a:pt x="84" y="15"/>
                  </a:lnTo>
                  <a:lnTo>
                    <a:pt x="87" y="21"/>
                  </a:lnTo>
                  <a:lnTo>
                    <a:pt x="87" y="24"/>
                  </a:lnTo>
                  <a:lnTo>
                    <a:pt x="93" y="30"/>
                  </a:lnTo>
                  <a:lnTo>
                    <a:pt x="102" y="33"/>
                  </a:lnTo>
                  <a:lnTo>
                    <a:pt x="102" y="39"/>
                  </a:lnTo>
                  <a:lnTo>
                    <a:pt x="102" y="45"/>
                  </a:lnTo>
                  <a:lnTo>
                    <a:pt x="96" y="45"/>
                  </a:lnTo>
                  <a:lnTo>
                    <a:pt x="99" y="48"/>
                  </a:lnTo>
                  <a:lnTo>
                    <a:pt x="105" y="51"/>
                  </a:lnTo>
                  <a:lnTo>
                    <a:pt x="99" y="54"/>
                  </a:lnTo>
                  <a:lnTo>
                    <a:pt x="96" y="57"/>
                  </a:lnTo>
                  <a:lnTo>
                    <a:pt x="96" y="60"/>
                  </a:lnTo>
                  <a:lnTo>
                    <a:pt x="96" y="63"/>
                  </a:lnTo>
                  <a:lnTo>
                    <a:pt x="99" y="63"/>
                  </a:lnTo>
                  <a:lnTo>
                    <a:pt x="99" y="66"/>
                  </a:lnTo>
                  <a:lnTo>
                    <a:pt x="102" y="69"/>
                  </a:lnTo>
                  <a:lnTo>
                    <a:pt x="102" y="75"/>
                  </a:lnTo>
                  <a:lnTo>
                    <a:pt x="99" y="81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2" y="93"/>
                  </a:lnTo>
                  <a:lnTo>
                    <a:pt x="105" y="93"/>
                  </a:lnTo>
                  <a:lnTo>
                    <a:pt x="108" y="96"/>
                  </a:lnTo>
                  <a:lnTo>
                    <a:pt x="108" y="99"/>
                  </a:lnTo>
                  <a:lnTo>
                    <a:pt x="108" y="102"/>
                  </a:lnTo>
                  <a:lnTo>
                    <a:pt x="108" y="105"/>
                  </a:lnTo>
                  <a:lnTo>
                    <a:pt x="105" y="108"/>
                  </a:lnTo>
                  <a:lnTo>
                    <a:pt x="108" y="108"/>
                  </a:lnTo>
                  <a:lnTo>
                    <a:pt x="111" y="108"/>
                  </a:lnTo>
                  <a:lnTo>
                    <a:pt x="111" y="111"/>
                  </a:lnTo>
                  <a:lnTo>
                    <a:pt x="108" y="114"/>
                  </a:lnTo>
                  <a:lnTo>
                    <a:pt x="111" y="114"/>
                  </a:lnTo>
                  <a:lnTo>
                    <a:pt x="114" y="117"/>
                  </a:lnTo>
                  <a:lnTo>
                    <a:pt x="111" y="117"/>
                  </a:lnTo>
                  <a:lnTo>
                    <a:pt x="111" y="120"/>
                  </a:lnTo>
                  <a:lnTo>
                    <a:pt x="111" y="123"/>
                  </a:lnTo>
                  <a:lnTo>
                    <a:pt x="111" y="126"/>
                  </a:lnTo>
                  <a:lnTo>
                    <a:pt x="111" y="129"/>
                  </a:lnTo>
                  <a:lnTo>
                    <a:pt x="114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08" y="138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11" y="144"/>
                  </a:lnTo>
                  <a:lnTo>
                    <a:pt x="114" y="144"/>
                  </a:lnTo>
                  <a:lnTo>
                    <a:pt x="114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20" y="147"/>
                  </a:lnTo>
                  <a:lnTo>
                    <a:pt x="123" y="147"/>
                  </a:lnTo>
                  <a:lnTo>
                    <a:pt x="123" y="150"/>
                  </a:lnTo>
                  <a:lnTo>
                    <a:pt x="129" y="144"/>
                  </a:lnTo>
                  <a:lnTo>
                    <a:pt x="129" y="141"/>
                  </a:lnTo>
                  <a:lnTo>
                    <a:pt x="129" y="147"/>
                  </a:lnTo>
                  <a:lnTo>
                    <a:pt x="126" y="153"/>
                  </a:lnTo>
                  <a:lnTo>
                    <a:pt x="129" y="153"/>
                  </a:lnTo>
                  <a:lnTo>
                    <a:pt x="132" y="153"/>
                  </a:lnTo>
                  <a:lnTo>
                    <a:pt x="132" y="156"/>
                  </a:lnTo>
                  <a:lnTo>
                    <a:pt x="135" y="159"/>
                  </a:lnTo>
                  <a:lnTo>
                    <a:pt x="138" y="159"/>
                  </a:lnTo>
                  <a:lnTo>
                    <a:pt x="138" y="156"/>
                  </a:lnTo>
                  <a:lnTo>
                    <a:pt x="141" y="159"/>
                  </a:lnTo>
                  <a:lnTo>
                    <a:pt x="144" y="162"/>
                  </a:lnTo>
                  <a:lnTo>
                    <a:pt x="147" y="162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5"/>
                  </a:lnTo>
                  <a:lnTo>
                    <a:pt x="147" y="178"/>
                  </a:lnTo>
                  <a:lnTo>
                    <a:pt x="147" y="181"/>
                  </a:lnTo>
                  <a:lnTo>
                    <a:pt x="138" y="184"/>
                  </a:lnTo>
                  <a:lnTo>
                    <a:pt x="141" y="190"/>
                  </a:lnTo>
                  <a:lnTo>
                    <a:pt x="141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9"/>
                  </a:lnTo>
                  <a:lnTo>
                    <a:pt x="147" y="202"/>
                  </a:lnTo>
                  <a:lnTo>
                    <a:pt x="147" y="205"/>
                  </a:lnTo>
                  <a:lnTo>
                    <a:pt x="147" y="211"/>
                  </a:lnTo>
                  <a:lnTo>
                    <a:pt x="147" y="217"/>
                  </a:lnTo>
                  <a:lnTo>
                    <a:pt x="150" y="223"/>
                  </a:lnTo>
                  <a:lnTo>
                    <a:pt x="153" y="220"/>
                  </a:lnTo>
                  <a:lnTo>
                    <a:pt x="156" y="220"/>
                  </a:lnTo>
                  <a:lnTo>
                    <a:pt x="156" y="211"/>
                  </a:lnTo>
                  <a:lnTo>
                    <a:pt x="159" y="205"/>
                  </a:lnTo>
                  <a:lnTo>
                    <a:pt x="156" y="202"/>
                  </a:lnTo>
                  <a:lnTo>
                    <a:pt x="159" y="199"/>
                  </a:lnTo>
                  <a:lnTo>
                    <a:pt x="162" y="202"/>
                  </a:lnTo>
                  <a:lnTo>
                    <a:pt x="165" y="199"/>
                  </a:lnTo>
                  <a:lnTo>
                    <a:pt x="165" y="196"/>
                  </a:lnTo>
                  <a:lnTo>
                    <a:pt x="168" y="193"/>
                  </a:lnTo>
                  <a:lnTo>
                    <a:pt x="168" y="196"/>
                  </a:lnTo>
                  <a:lnTo>
                    <a:pt x="171" y="196"/>
                  </a:lnTo>
                  <a:lnTo>
                    <a:pt x="174" y="193"/>
                  </a:lnTo>
                  <a:lnTo>
                    <a:pt x="177" y="193"/>
                  </a:lnTo>
                  <a:lnTo>
                    <a:pt x="183" y="193"/>
                  </a:lnTo>
                  <a:lnTo>
                    <a:pt x="186" y="190"/>
                  </a:lnTo>
                  <a:lnTo>
                    <a:pt x="189" y="190"/>
                  </a:lnTo>
                  <a:lnTo>
                    <a:pt x="192" y="187"/>
                  </a:lnTo>
                  <a:lnTo>
                    <a:pt x="192" y="184"/>
                  </a:lnTo>
                  <a:lnTo>
                    <a:pt x="195" y="181"/>
                  </a:lnTo>
                  <a:lnTo>
                    <a:pt x="198" y="181"/>
                  </a:lnTo>
                  <a:lnTo>
                    <a:pt x="198" y="178"/>
                  </a:lnTo>
                  <a:lnTo>
                    <a:pt x="201" y="175"/>
                  </a:lnTo>
                  <a:lnTo>
                    <a:pt x="204" y="175"/>
                  </a:lnTo>
                  <a:lnTo>
                    <a:pt x="207" y="178"/>
                  </a:lnTo>
                  <a:lnTo>
                    <a:pt x="210" y="178"/>
                  </a:lnTo>
                  <a:lnTo>
                    <a:pt x="210" y="187"/>
                  </a:lnTo>
                  <a:lnTo>
                    <a:pt x="207" y="187"/>
                  </a:lnTo>
                  <a:lnTo>
                    <a:pt x="204" y="190"/>
                  </a:lnTo>
                  <a:lnTo>
                    <a:pt x="204" y="193"/>
                  </a:lnTo>
                  <a:lnTo>
                    <a:pt x="201" y="199"/>
                  </a:lnTo>
                  <a:lnTo>
                    <a:pt x="195" y="196"/>
                  </a:lnTo>
                  <a:lnTo>
                    <a:pt x="198" y="205"/>
                  </a:lnTo>
                  <a:lnTo>
                    <a:pt x="198" y="211"/>
                  </a:lnTo>
                  <a:lnTo>
                    <a:pt x="198" y="214"/>
                  </a:lnTo>
                  <a:lnTo>
                    <a:pt x="201" y="217"/>
                  </a:lnTo>
                  <a:lnTo>
                    <a:pt x="201" y="220"/>
                  </a:lnTo>
                  <a:lnTo>
                    <a:pt x="204" y="223"/>
                  </a:lnTo>
                  <a:lnTo>
                    <a:pt x="204" y="232"/>
                  </a:lnTo>
                  <a:lnTo>
                    <a:pt x="207" y="235"/>
                  </a:lnTo>
                  <a:lnTo>
                    <a:pt x="210" y="235"/>
                  </a:lnTo>
                  <a:lnTo>
                    <a:pt x="213" y="235"/>
                  </a:lnTo>
                  <a:lnTo>
                    <a:pt x="219" y="241"/>
                  </a:lnTo>
                  <a:lnTo>
                    <a:pt x="219" y="244"/>
                  </a:lnTo>
                  <a:lnTo>
                    <a:pt x="219" y="247"/>
                  </a:lnTo>
                  <a:lnTo>
                    <a:pt x="222" y="247"/>
                  </a:lnTo>
                  <a:lnTo>
                    <a:pt x="225" y="250"/>
                  </a:lnTo>
                  <a:lnTo>
                    <a:pt x="231" y="250"/>
                  </a:lnTo>
                  <a:lnTo>
                    <a:pt x="231" y="247"/>
                  </a:lnTo>
                  <a:lnTo>
                    <a:pt x="237" y="244"/>
                  </a:lnTo>
                  <a:lnTo>
                    <a:pt x="237" y="247"/>
                  </a:lnTo>
                  <a:lnTo>
                    <a:pt x="237" y="250"/>
                  </a:lnTo>
                  <a:lnTo>
                    <a:pt x="240" y="250"/>
                  </a:lnTo>
                  <a:lnTo>
                    <a:pt x="243" y="250"/>
                  </a:lnTo>
                  <a:lnTo>
                    <a:pt x="249" y="250"/>
                  </a:lnTo>
                  <a:lnTo>
                    <a:pt x="252" y="247"/>
                  </a:lnTo>
                  <a:lnTo>
                    <a:pt x="255" y="244"/>
                  </a:lnTo>
                  <a:lnTo>
                    <a:pt x="258" y="244"/>
                  </a:lnTo>
                  <a:lnTo>
                    <a:pt x="258" y="241"/>
                  </a:lnTo>
                  <a:lnTo>
                    <a:pt x="258" y="238"/>
                  </a:lnTo>
                  <a:lnTo>
                    <a:pt x="258" y="235"/>
                  </a:lnTo>
                  <a:lnTo>
                    <a:pt x="258" y="232"/>
                  </a:lnTo>
                  <a:lnTo>
                    <a:pt x="255" y="229"/>
                  </a:lnTo>
                  <a:lnTo>
                    <a:pt x="255" y="226"/>
                  </a:lnTo>
                  <a:lnTo>
                    <a:pt x="258" y="226"/>
                  </a:lnTo>
                  <a:lnTo>
                    <a:pt x="261" y="223"/>
                  </a:lnTo>
                  <a:lnTo>
                    <a:pt x="264" y="220"/>
                  </a:lnTo>
                  <a:lnTo>
                    <a:pt x="270" y="220"/>
                  </a:lnTo>
                  <a:lnTo>
                    <a:pt x="276" y="220"/>
                  </a:lnTo>
                  <a:lnTo>
                    <a:pt x="279" y="220"/>
                  </a:lnTo>
                  <a:lnTo>
                    <a:pt x="282" y="220"/>
                  </a:lnTo>
                  <a:lnTo>
                    <a:pt x="285" y="220"/>
                  </a:lnTo>
                  <a:lnTo>
                    <a:pt x="285" y="214"/>
                  </a:lnTo>
                  <a:lnTo>
                    <a:pt x="288" y="208"/>
                  </a:lnTo>
                  <a:lnTo>
                    <a:pt x="288" y="205"/>
                  </a:lnTo>
                  <a:lnTo>
                    <a:pt x="291" y="202"/>
                  </a:lnTo>
                  <a:lnTo>
                    <a:pt x="294" y="202"/>
                  </a:lnTo>
                  <a:lnTo>
                    <a:pt x="297" y="199"/>
                  </a:lnTo>
                  <a:lnTo>
                    <a:pt x="297" y="196"/>
                  </a:lnTo>
                  <a:lnTo>
                    <a:pt x="297" y="193"/>
                  </a:lnTo>
                  <a:lnTo>
                    <a:pt x="303" y="196"/>
                  </a:lnTo>
                  <a:lnTo>
                    <a:pt x="306" y="193"/>
                  </a:lnTo>
                  <a:lnTo>
                    <a:pt x="309" y="193"/>
                  </a:lnTo>
                  <a:lnTo>
                    <a:pt x="309" y="190"/>
                  </a:lnTo>
                  <a:lnTo>
                    <a:pt x="312" y="190"/>
                  </a:lnTo>
                  <a:lnTo>
                    <a:pt x="315" y="190"/>
                  </a:lnTo>
                  <a:lnTo>
                    <a:pt x="318" y="190"/>
                  </a:lnTo>
                  <a:lnTo>
                    <a:pt x="321" y="187"/>
                  </a:lnTo>
                  <a:lnTo>
                    <a:pt x="318" y="184"/>
                  </a:lnTo>
                  <a:lnTo>
                    <a:pt x="318" y="181"/>
                  </a:lnTo>
                  <a:lnTo>
                    <a:pt x="318" y="178"/>
                  </a:lnTo>
                  <a:lnTo>
                    <a:pt x="321" y="178"/>
                  </a:lnTo>
                  <a:lnTo>
                    <a:pt x="324" y="178"/>
                  </a:lnTo>
                  <a:lnTo>
                    <a:pt x="327" y="178"/>
                  </a:lnTo>
                  <a:lnTo>
                    <a:pt x="330" y="181"/>
                  </a:lnTo>
                  <a:lnTo>
                    <a:pt x="333" y="178"/>
                  </a:lnTo>
                  <a:lnTo>
                    <a:pt x="336" y="178"/>
                  </a:lnTo>
                  <a:lnTo>
                    <a:pt x="336" y="181"/>
                  </a:lnTo>
                  <a:lnTo>
                    <a:pt x="339" y="181"/>
                  </a:lnTo>
                  <a:lnTo>
                    <a:pt x="345" y="184"/>
                  </a:lnTo>
                  <a:lnTo>
                    <a:pt x="348" y="184"/>
                  </a:lnTo>
                  <a:lnTo>
                    <a:pt x="348" y="181"/>
                  </a:lnTo>
                  <a:lnTo>
                    <a:pt x="348" y="178"/>
                  </a:lnTo>
                  <a:lnTo>
                    <a:pt x="348" y="175"/>
                  </a:lnTo>
                  <a:lnTo>
                    <a:pt x="345" y="175"/>
                  </a:lnTo>
                  <a:lnTo>
                    <a:pt x="345" y="171"/>
                  </a:lnTo>
                  <a:lnTo>
                    <a:pt x="351" y="175"/>
                  </a:lnTo>
                  <a:lnTo>
                    <a:pt x="354" y="178"/>
                  </a:lnTo>
                  <a:lnTo>
                    <a:pt x="357" y="175"/>
                  </a:lnTo>
                  <a:lnTo>
                    <a:pt x="357" y="171"/>
                  </a:lnTo>
                  <a:lnTo>
                    <a:pt x="357" y="168"/>
                  </a:lnTo>
                  <a:lnTo>
                    <a:pt x="363" y="165"/>
                  </a:lnTo>
                  <a:lnTo>
                    <a:pt x="363" y="171"/>
                  </a:lnTo>
                  <a:lnTo>
                    <a:pt x="366" y="162"/>
                  </a:lnTo>
                  <a:lnTo>
                    <a:pt x="369" y="162"/>
                  </a:lnTo>
                  <a:lnTo>
                    <a:pt x="366" y="159"/>
                  </a:lnTo>
                  <a:lnTo>
                    <a:pt x="363" y="156"/>
                  </a:lnTo>
                  <a:lnTo>
                    <a:pt x="366" y="156"/>
                  </a:lnTo>
                  <a:lnTo>
                    <a:pt x="363" y="153"/>
                  </a:lnTo>
                  <a:lnTo>
                    <a:pt x="363" y="150"/>
                  </a:lnTo>
                  <a:lnTo>
                    <a:pt x="366" y="147"/>
                  </a:lnTo>
                  <a:lnTo>
                    <a:pt x="366" y="144"/>
                  </a:lnTo>
                  <a:lnTo>
                    <a:pt x="363" y="144"/>
                  </a:lnTo>
                  <a:lnTo>
                    <a:pt x="363" y="141"/>
                  </a:lnTo>
                  <a:lnTo>
                    <a:pt x="366" y="141"/>
                  </a:lnTo>
                  <a:lnTo>
                    <a:pt x="369" y="144"/>
                  </a:lnTo>
                  <a:lnTo>
                    <a:pt x="372" y="144"/>
                  </a:lnTo>
                  <a:lnTo>
                    <a:pt x="372" y="141"/>
                  </a:lnTo>
                  <a:lnTo>
                    <a:pt x="372" y="138"/>
                  </a:lnTo>
                  <a:lnTo>
                    <a:pt x="369" y="135"/>
                  </a:lnTo>
                  <a:lnTo>
                    <a:pt x="375" y="135"/>
                  </a:lnTo>
                  <a:lnTo>
                    <a:pt x="375" y="132"/>
                  </a:lnTo>
                  <a:lnTo>
                    <a:pt x="378" y="126"/>
                  </a:lnTo>
                  <a:lnTo>
                    <a:pt x="378" y="123"/>
                  </a:lnTo>
                  <a:lnTo>
                    <a:pt x="378" y="120"/>
                  </a:lnTo>
                  <a:lnTo>
                    <a:pt x="381" y="114"/>
                  </a:lnTo>
                  <a:lnTo>
                    <a:pt x="384" y="114"/>
                  </a:lnTo>
                  <a:lnTo>
                    <a:pt x="393" y="120"/>
                  </a:lnTo>
                  <a:lnTo>
                    <a:pt x="399" y="123"/>
                  </a:lnTo>
                  <a:lnTo>
                    <a:pt x="405" y="123"/>
                  </a:lnTo>
                  <a:lnTo>
                    <a:pt x="405" y="126"/>
                  </a:lnTo>
                  <a:lnTo>
                    <a:pt x="408" y="129"/>
                  </a:lnTo>
                  <a:lnTo>
                    <a:pt x="405" y="135"/>
                  </a:lnTo>
                  <a:lnTo>
                    <a:pt x="408" y="138"/>
                  </a:lnTo>
                  <a:lnTo>
                    <a:pt x="411" y="138"/>
                  </a:lnTo>
                  <a:lnTo>
                    <a:pt x="414" y="138"/>
                  </a:lnTo>
                  <a:lnTo>
                    <a:pt x="417" y="135"/>
                  </a:lnTo>
                  <a:lnTo>
                    <a:pt x="420" y="138"/>
                  </a:lnTo>
                  <a:lnTo>
                    <a:pt x="423" y="141"/>
                  </a:lnTo>
                  <a:lnTo>
                    <a:pt x="426" y="138"/>
                  </a:lnTo>
                  <a:lnTo>
                    <a:pt x="429" y="138"/>
                  </a:lnTo>
                  <a:lnTo>
                    <a:pt x="429" y="141"/>
                  </a:lnTo>
                  <a:lnTo>
                    <a:pt x="432" y="144"/>
                  </a:lnTo>
                  <a:lnTo>
                    <a:pt x="435" y="141"/>
                  </a:lnTo>
                  <a:lnTo>
                    <a:pt x="438" y="141"/>
                  </a:lnTo>
                  <a:lnTo>
                    <a:pt x="444" y="144"/>
                  </a:lnTo>
                  <a:lnTo>
                    <a:pt x="447" y="144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0"/>
                  </a:lnTo>
                  <a:lnTo>
                    <a:pt x="447" y="153"/>
                  </a:lnTo>
                  <a:lnTo>
                    <a:pt x="450" y="153"/>
                  </a:lnTo>
                  <a:lnTo>
                    <a:pt x="450" y="150"/>
                  </a:lnTo>
                  <a:lnTo>
                    <a:pt x="453" y="150"/>
                  </a:lnTo>
                  <a:lnTo>
                    <a:pt x="456" y="147"/>
                  </a:lnTo>
                  <a:lnTo>
                    <a:pt x="459" y="144"/>
                  </a:lnTo>
                  <a:lnTo>
                    <a:pt x="459" y="141"/>
                  </a:lnTo>
                  <a:lnTo>
                    <a:pt x="462" y="138"/>
                  </a:lnTo>
                  <a:lnTo>
                    <a:pt x="462" y="135"/>
                  </a:lnTo>
                  <a:lnTo>
                    <a:pt x="462" y="132"/>
                  </a:lnTo>
                  <a:lnTo>
                    <a:pt x="465" y="129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74" y="123"/>
                  </a:lnTo>
                  <a:lnTo>
                    <a:pt x="477" y="123"/>
                  </a:lnTo>
                  <a:lnTo>
                    <a:pt x="483" y="126"/>
                  </a:lnTo>
                  <a:lnTo>
                    <a:pt x="486" y="126"/>
                  </a:lnTo>
                  <a:lnTo>
                    <a:pt x="489" y="126"/>
                  </a:lnTo>
                  <a:lnTo>
                    <a:pt x="489" y="123"/>
                  </a:lnTo>
                  <a:lnTo>
                    <a:pt x="492" y="120"/>
                  </a:lnTo>
                  <a:lnTo>
                    <a:pt x="495" y="123"/>
                  </a:lnTo>
                  <a:lnTo>
                    <a:pt x="498" y="120"/>
                  </a:lnTo>
                  <a:lnTo>
                    <a:pt x="501" y="120"/>
                  </a:lnTo>
                  <a:lnTo>
                    <a:pt x="504" y="126"/>
                  </a:lnTo>
                  <a:lnTo>
                    <a:pt x="507" y="126"/>
                  </a:lnTo>
                  <a:lnTo>
                    <a:pt x="510" y="126"/>
                  </a:lnTo>
                  <a:lnTo>
                    <a:pt x="513" y="129"/>
                  </a:lnTo>
                  <a:lnTo>
                    <a:pt x="507" y="132"/>
                  </a:lnTo>
                  <a:lnTo>
                    <a:pt x="510" y="132"/>
                  </a:lnTo>
                  <a:lnTo>
                    <a:pt x="510" y="135"/>
                  </a:lnTo>
                  <a:lnTo>
                    <a:pt x="513" y="138"/>
                  </a:lnTo>
                  <a:lnTo>
                    <a:pt x="516" y="138"/>
                  </a:lnTo>
                  <a:lnTo>
                    <a:pt x="516" y="135"/>
                  </a:lnTo>
                  <a:lnTo>
                    <a:pt x="519" y="132"/>
                  </a:lnTo>
                  <a:lnTo>
                    <a:pt x="522" y="126"/>
                  </a:lnTo>
                  <a:lnTo>
                    <a:pt x="525" y="126"/>
                  </a:lnTo>
                  <a:lnTo>
                    <a:pt x="528" y="126"/>
                  </a:lnTo>
                  <a:lnTo>
                    <a:pt x="528" y="129"/>
                  </a:lnTo>
                  <a:lnTo>
                    <a:pt x="528" y="132"/>
                  </a:lnTo>
                  <a:lnTo>
                    <a:pt x="531" y="135"/>
                  </a:lnTo>
                  <a:lnTo>
                    <a:pt x="535" y="135"/>
                  </a:lnTo>
                  <a:lnTo>
                    <a:pt x="538" y="135"/>
                  </a:lnTo>
                  <a:lnTo>
                    <a:pt x="541" y="138"/>
                  </a:lnTo>
                  <a:lnTo>
                    <a:pt x="538" y="138"/>
                  </a:lnTo>
                  <a:lnTo>
                    <a:pt x="538" y="141"/>
                  </a:lnTo>
                  <a:lnTo>
                    <a:pt x="535" y="141"/>
                  </a:lnTo>
                  <a:lnTo>
                    <a:pt x="535" y="144"/>
                  </a:lnTo>
                  <a:lnTo>
                    <a:pt x="535" y="147"/>
                  </a:lnTo>
                  <a:lnTo>
                    <a:pt x="538" y="147"/>
                  </a:lnTo>
                  <a:lnTo>
                    <a:pt x="538" y="144"/>
                  </a:lnTo>
                  <a:lnTo>
                    <a:pt x="538" y="147"/>
                  </a:lnTo>
                  <a:lnTo>
                    <a:pt x="541" y="147"/>
                  </a:lnTo>
                  <a:lnTo>
                    <a:pt x="541" y="150"/>
                  </a:lnTo>
                  <a:lnTo>
                    <a:pt x="544" y="150"/>
                  </a:lnTo>
                  <a:lnTo>
                    <a:pt x="541" y="153"/>
                  </a:lnTo>
                  <a:lnTo>
                    <a:pt x="541" y="156"/>
                  </a:lnTo>
                  <a:lnTo>
                    <a:pt x="538" y="156"/>
                  </a:lnTo>
                  <a:lnTo>
                    <a:pt x="538" y="159"/>
                  </a:lnTo>
                  <a:lnTo>
                    <a:pt x="535" y="159"/>
                  </a:lnTo>
                  <a:lnTo>
                    <a:pt x="538" y="162"/>
                  </a:lnTo>
                  <a:lnTo>
                    <a:pt x="535" y="162"/>
                  </a:lnTo>
                  <a:lnTo>
                    <a:pt x="535" y="159"/>
                  </a:lnTo>
                  <a:lnTo>
                    <a:pt x="535" y="162"/>
                  </a:lnTo>
                  <a:lnTo>
                    <a:pt x="535" y="165"/>
                  </a:lnTo>
                  <a:lnTo>
                    <a:pt x="538" y="165"/>
                  </a:lnTo>
                  <a:lnTo>
                    <a:pt x="538" y="168"/>
                  </a:lnTo>
                  <a:lnTo>
                    <a:pt x="535" y="168"/>
                  </a:lnTo>
                  <a:lnTo>
                    <a:pt x="535" y="171"/>
                  </a:lnTo>
                  <a:lnTo>
                    <a:pt x="531" y="171"/>
                  </a:lnTo>
                  <a:lnTo>
                    <a:pt x="528" y="171"/>
                  </a:lnTo>
                  <a:lnTo>
                    <a:pt x="528" y="175"/>
                  </a:lnTo>
                  <a:lnTo>
                    <a:pt x="525" y="175"/>
                  </a:lnTo>
                  <a:lnTo>
                    <a:pt x="522" y="175"/>
                  </a:lnTo>
                  <a:lnTo>
                    <a:pt x="522" y="178"/>
                  </a:lnTo>
                  <a:lnTo>
                    <a:pt x="519" y="178"/>
                  </a:lnTo>
                  <a:lnTo>
                    <a:pt x="519" y="181"/>
                  </a:lnTo>
                  <a:lnTo>
                    <a:pt x="516" y="181"/>
                  </a:lnTo>
                  <a:lnTo>
                    <a:pt x="513" y="181"/>
                  </a:lnTo>
                  <a:lnTo>
                    <a:pt x="510" y="181"/>
                  </a:lnTo>
                  <a:lnTo>
                    <a:pt x="510" y="178"/>
                  </a:lnTo>
                  <a:lnTo>
                    <a:pt x="507" y="175"/>
                  </a:lnTo>
                  <a:lnTo>
                    <a:pt x="504" y="175"/>
                  </a:lnTo>
                  <a:lnTo>
                    <a:pt x="501" y="178"/>
                  </a:lnTo>
                  <a:lnTo>
                    <a:pt x="498" y="178"/>
                  </a:lnTo>
                  <a:lnTo>
                    <a:pt x="498" y="181"/>
                  </a:lnTo>
                  <a:lnTo>
                    <a:pt x="495" y="187"/>
                  </a:lnTo>
                  <a:lnTo>
                    <a:pt x="498" y="190"/>
                  </a:lnTo>
                  <a:lnTo>
                    <a:pt x="495" y="190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3" y="190"/>
                  </a:lnTo>
                  <a:lnTo>
                    <a:pt x="477" y="187"/>
                  </a:lnTo>
                  <a:lnTo>
                    <a:pt x="477" y="193"/>
                  </a:lnTo>
                  <a:lnTo>
                    <a:pt x="474" y="196"/>
                  </a:lnTo>
                  <a:lnTo>
                    <a:pt x="471" y="193"/>
                  </a:lnTo>
                  <a:lnTo>
                    <a:pt x="468" y="190"/>
                  </a:lnTo>
                  <a:lnTo>
                    <a:pt x="465" y="196"/>
                  </a:lnTo>
                  <a:lnTo>
                    <a:pt x="462" y="196"/>
                  </a:lnTo>
                  <a:lnTo>
                    <a:pt x="459" y="199"/>
                  </a:lnTo>
                  <a:lnTo>
                    <a:pt x="462" y="202"/>
                  </a:lnTo>
                  <a:lnTo>
                    <a:pt x="462" y="208"/>
                  </a:lnTo>
                  <a:lnTo>
                    <a:pt x="465" y="211"/>
                  </a:lnTo>
                  <a:lnTo>
                    <a:pt x="465" y="217"/>
                  </a:lnTo>
                  <a:lnTo>
                    <a:pt x="465" y="220"/>
                  </a:lnTo>
                  <a:lnTo>
                    <a:pt x="465" y="223"/>
                  </a:lnTo>
                  <a:lnTo>
                    <a:pt x="462" y="223"/>
                  </a:lnTo>
                  <a:lnTo>
                    <a:pt x="468" y="226"/>
                  </a:lnTo>
                  <a:lnTo>
                    <a:pt x="471" y="229"/>
                  </a:lnTo>
                  <a:lnTo>
                    <a:pt x="471" y="232"/>
                  </a:lnTo>
                  <a:lnTo>
                    <a:pt x="474" y="232"/>
                  </a:lnTo>
                  <a:lnTo>
                    <a:pt x="471" y="238"/>
                  </a:lnTo>
                  <a:lnTo>
                    <a:pt x="465" y="238"/>
                  </a:lnTo>
                  <a:lnTo>
                    <a:pt x="462" y="235"/>
                  </a:lnTo>
                  <a:lnTo>
                    <a:pt x="456" y="235"/>
                  </a:lnTo>
                  <a:lnTo>
                    <a:pt x="453" y="238"/>
                  </a:lnTo>
                  <a:lnTo>
                    <a:pt x="450" y="238"/>
                  </a:lnTo>
                  <a:lnTo>
                    <a:pt x="447" y="235"/>
                  </a:lnTo>
                  <a:lnTo>
                    <a:pt x="450" y="238"/>
                  </a:lnTo>
                  <a:lnTo>
                    <a:pt x="450" y="241"/>
                  </a:lnTo>
                  <a:lnTo>
                    <a:pt x="450" y="244"/>
                  </a:lnTo>
                  <a:lnTo>
                    <a:pt x="441" y="244"/>
                  </a:lnTo>
                  <a:lnTo>
                    <a:pt x="435" y="250"/>
                  </a:lnTo>
                  <a:lnTo>
                    <a:pt x="438" y="256"/>
                  </a:lnTo>
                  <a:lnTo>
                    <a:pt x="435" y="256"/>
                  </a:lnTo>
                  <a:lnTo>
                    <a:pt x="435" y="259"/>
                  </a:lnTo>
                  <a:lnTo>
                    <a:pt x="438" y="259"/>
                  </a:lnTo>
                  <a:lnTo>
                    <a:pt x="438" y="262"/>
                  </a:lnTo>
                  <a:lnTo>
                    <a:pt x="432" y="271"/>
                  </a:lnTo>
                  <a:lnTo>
                    <a:pt x="429" y="274"/>
                  </a:lnTo>
                  <a:lnTo>
                    <a:pt x="426" y="277"/>
                  </a:lnTo>
                  <a:lnTo>
                    <a:pt x="426" y="283"/>
                  </a:lnTo>
                  <a:lnTo>
                    <a:pt x="423" y="286"/>
                  </a:lnTo>
                  <a:lnTo>
                    <a:pt x="420" y="289"/>
                  </a:lnTo>
                  <a:lnTo>
                    <a:pt x="420" y="292"/>
                  </a:lnTo>
                  <a:lnTo>
                    <a:pt x="417" y="295"/>
                  </a:lnTo>
                  <a:lnTo>
                    <a:pt x="423" y="298"/>
                  </a:lnTo>
                  <a:lnTo>
                    <a:pt x="426" y="298"/>
                  </a:lnTo>
                  <a:lnTo>
                    <a:pt x="429" y="298"/>
                  </a:lnTo>
                  <a:lnTo>
                    <a:pt x="435" y="298"/>
                  </a:lnTo>
                  <a:lnTo>
                    <a:pt x="438" y="298"/>
                  </a:lnTo>
                  <a:lnTo>
                    <a:pt x="441" y="298"/>
                  </a:lnTo>
                  <a:lnTo>
                    <a:pt x="447" y="295"/>
                  </a:lnTo>
                  <a:lnTo>
                    <a:pt x="450" y="295"/>
                  </a:lnTo>
                  <a:lnTo>
                    <a:pt x="453" y="295"/>
                  </a:lnTo>
                  <a:lnTo>
                    <a:pt x="456" y="295"/>
                  </a:lnTo>
                  <a:lnTo>
                    <a:pt x="465" y="295"/>
                  </a:lnTo>
                  <a:lnTo>
                    <a:pt x="468" y="295"/>
                  </a:lnTo>
                  <a:lnTo>
                    <a:pt x="468" y="298"/>
                  </a:lnTo>
                  <a:lnTo>
                    <a:pt x="471" y="301"/>
                  </a:lnTo>
                  <a:lnTo>
                    <a:pt x="474" y="301"/>
                  </a:lnTo>
                  <a:lnTo>
                    <a:pt x="477" y="301"/>
                  </a:lnTo>
                  <a:lnTo>
                    <a:pt x="480" y="301"/>
                  </a:lnTo>
                  <a:lnTo>
                    <a:pt x="483" y="301"/>
                  </a:lnTo>
                  <a:lnTo>
                    <a:pt x="489" y="304"/>
                  </a:lnTo>
                  <a:lnTo>
                    <a:pt x="492" y="304"/>
                  </a:lnTo>
                  <a:lnTo>
                    <a:pt x="492" y="307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2" y="316"/>
                  </a:lnTo>
                  <a:lnTo>
                    <a:pt x="498" y="319"/>
                  </a:lnTo>
                  <a:lnTo>
                    <a:pt x="498" y="322"/>
                  </a:lnTo>
                  <a:lnTo>
                    <a:pt x="492" y="322"/>
                  </a:lnTo>
                  <a:lnTo>
                    <a:pt x="489" y="322"/>
                  </a:lnTo>
                  <a:lnTo>
                    <a:pt x="486" y="322"/>
                  </a:lnTo>
                  <a:lnTo>
                    <a:pt x="486" y="325"/>
                  </a:lnTo>
                  <a:lnTo>
                    <a:pt x="480" y="328"/>
                  </a:lnTo>
                  <a:lnTo>
                    <a:pt x="477" y="328"/>
                  </a:lnTo>
                  <a:lnTo>
                    <a:pt x="477" y="331"/>
                  </a:lnTo>
                  <a:lnTo>
                    <a:pt x="474" y="334"/>
                  </a:lnTo>
                  <a:lnTo>
                    <a:pt x="477" y="337"/>
                  </a:lnTo>
                  <a:lnTo>
                    <a:pt x="480" y="337"/>
                  </a:lnTo>
                  <a:lnTo>
                    <a:pt x="483" y="337"/>
                  </a:lnTo>
                  <a:lnTo>
                    <a:pt x="483" y="334"/>
                  </a:lnTo>
                  <a:lnTo>
                    <a:pt x="486" y="334"/>
                  </a:lnTo>
                  <a:lnTo>
                    <a:pt x="486" y="337"/>
                  </a:lnTo>
                  <a:lnTo>
                    <a:pt x="489" y="340"/>
                  </a:lnTo>
                  <a:lnTo>
                    <a:pt x="492" y="340"/>
                  </a:lnTo>
                  <a:lnTo>
                    <a:pt x="501" y="343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5" y="346"/>
                  </a:lnTo>
                  <a:lnTo>
                    <a:pt x="495" y="349"/>
                  </a:lnTo>
                  <a:lnTo>
                    <a:pt x="495" y="352"/>
                  </a:lnTo>
                  <a:lnTo>
                    <a:pt x="495" y="355"/>
                  </a:lnTo>
                  <a:lnTo>
                    <a:pt x="492" y="355"/>
                  </a:lnTo>
                  <a:lnTo>
                    <a:pt x="489" y="355"/>
                  </a:lnTo>
                  <a:lnTo>
                    <a:pt x="486" y="355"/>
                  </a:lnTo>
                  <a:lnTo>
                    <a:pt x="483" y="355"/>
                  </a:lnTo>
                  <a:lnTo>
                    <a:pt x="483" y="358"/>
                  </a:lnTo>
                  <a:lnTo>
                    <a:pt x="480" y="358"/>
                  </a:lnTo>
                  <a:lnTo>
                    <a:pt x="477" y="358"/>
                  </a:lnTo>
                  <a:lnTo>
                    <a:pt x="474" y="358"/>
                  </a:lnTo>
                  <a:lnTo>
                    <a:pt x="474" y="361"/>
                  </a:lnTo>
                  <a:lnTo>
                    <a:pt x="471" y="361"/>
                  </a:lnTo>
                  <a:lnTo>
                    <a:pt x="471" y="364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1" y="367"/>
                  </a:lnTo>
                  <a:lnTo>
                    <a:pt x="468" y="367"/>
                  </a:lnTo>
                  <a:lnTo>
                    <a:pt x="465" y="367"/>
                  </a:lnTo>
                  <a:lnTo>
                    <a:pt x="462" y="367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6" y="364"/>
                  </a:lnTo>
                  <a:lnTo>
                    <a:pt x="453" y="364"/>
                  </a:lnTo>
                  <a:lnTo>
                    <a:pt x="450" y="364"/>
                  </a:lnTo>
                  <a:lnTo>
                    <a:pt x="447" y="364"/>
                  </a:lnTo>
                  <a:lnTo>
                    <a:pt x="447" y="361"/>
                  </a:lnTo>
                  <a:lnTo>
                    <a:pt x="444" y="361"/>
                  </a:lnTo>
                  <a:lnTo>
                    <a:pt x="441" y="361"/>
                  </a:lnTo>
                  <a:lnTo>
                    <a:pt x="441" y="358"/>
                  </a:lnTo>
                  <a:lnTo>
                    <a:pt x="438" y="361"/>
                  </a:lnTo>
                  <a:lnTo>
                    <a:pt x="441" y="361"/>
                  </a:lnTo>
                  <a:lnTo>
                    <a:pt x="444" y="361"/>
                  </a:lnTo>
                  <a:lnTo>
                    <a:pt x="444" y="364"/>
                  </a:lnTo>
                  <a:lnTo>
                    <a:pt x="441" y="364"/>
                  </a:lnTo>
                  <a:lnTo>
                    <a:pt x="438" y="364"/>
                  </a:lnTo>
                  <a:lnTo>
                    <a:pt x="438" y="367"/>
                  </a:lnTo>
                  <a:lnTo>
                    <a:pt x="438" y="364"/>
                  </a:lnTo>
                  <a:lnTo>
                    <a:pt x="435" y="364"/>
                  </a:lnTo>
                  <a:lnTo>
                    <a:pt x="432" y="364"/>
                  </a:lnTo>
                  <a:lnTo>
                    <a:pt x="432" y="361"/>
                  </a:lnTo>
                  <a:lnTo>
                    <a:pt x="429" y="361"/>
                  </a:lnTo>
                  <a:lnTo>
                    <a:pt x="426" y="361"/>
                  </a:lnTo>
                  <a:lnTo>
                    <a:pt x="423" y="361"/>
                  </a:lnTo>
                  <a:lnTo>
                    <a:pt x="420" y="358"/>
                  </a:lnTo>
                  <a:lnTo>
                    <a:pt x="420" y="361"/>
                  </a:lnTo>
                  <a:lnTo>
                    <a:pt x="420" y="358"/>
                  </a:lnTo>
                  <a:lnTo>
                    <a:pt x="417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8" y="358"/>
                  </a:lnTo>
                  <a:lnTo>
                    <a:pt x="408" y="355"/>
                  </a:lnTo>
                  <a:lnTo>
                    <a:pt x="405" y="355"/>
                  </a:lnTo>
                  <a:lnTo>
                    <a:pt x="402" y="355"/>
                  </a:lnTo>
                  <a:lnTo>
                    <a:pt x="402" y="358"/>
                  </a:lnTo>
                  <a:lnTo>
                    <a:pt x="399" y="358"/>
                  </a:lnTo>
                  <a:lnTo>
                    <a:pt x="399" y="361"/>
                  </a:lnTo>
                  <a:lnTo>
                    <a:pt x="396" y="361"/>
                  </a:lnTo>
                  <a:lnTo>
                    <a:pt x="393" y="361"/>
                  </a:lnTo>
                  <a:lnTo>
                    <a:pt x="390" y="361"/>
                  </a:lnTo>
                  <a:lnTo>
                    <a:pt x="390" y="364"/>
                  </a:lnTo>
                  <a:lnTo>
                    <a:pt x="387" y="361"/>
                  </a:lnTo>
                  <a:lnTo>
                    <a:pt x="384" y="361"/>
                  </a:lnTo>
                  <a:lnTo>
                    <a:pt x="381" y="361"/>
                  </a:lnTo>
                  <a:lnTo>
                    <a:pt x="378" y="361"/>
                  </a:lnTo>
                  <a:lnTo>
                    <a:pt x="375" y="361"/>
                  </a:lnTo>
                  <a:lnTo>
                    <a:pt x="375" y="364"/>
                  </a:lnTo>
                  <a:lnTo>
                    <a:pt x="372" y="364"/>
                  </a:lnTo>
                  <a:lnTo>
                    <a:pt x="369" y="364"/>
                  </a:lnTo>
                  <a:lnTo>
                    <a:pt x="369" y="367"/>
                  </a:lnTo>
                  <a:lnTo>
                    <a:pt x="366" y="367"/>
                  </a:lnTo>
                  <a:lnTo>
                    <a:pt x="366" y="370"/>
                  </a:lnTo>
                  <a:lnTo>
                    <a:pt x="366" y="373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3" y="376"/>
                  </a:lnTo>
                  <a:lnTo>
                    <a:pt x="360" y="376"/>
                  </a:lnTo>
                  <a:lnTo>
                    <a:pt x="357" y="376"/>
                  </a:lnTo>
                  <a:lnTo>
                    <a:pt x="357" y="379"/>
                  </a:lnTo>
                  <a:lnTo>
                    <a:pt x="354" y="379"/>
                  </a:lnTo>
                  <a:lnTo>
                    <a:pt x="351" y="382"/>
                  </a:lnTo>
                  <a:lnTo>
                    <a:pt x="348" y="385"/>
                  </a:lnTo>
                  <a:lnTo>
                    <a:pt x="351" y="385"/>
                  </a:lnTo>
                  <a:lnTo>
                    <a:pt x="351" y="388"/>
                  </a:lnTo>
                  <a:lnTo>
                    <a:pt x="348" y="388"/>
                  </a:lnTo>
                  <a:lnTo>
                    <a:pt x="348" y="391"/>
                  </a:lnTo>
                  <a:lnTo>
                    <a:pt x="345" y="394"/>
                  </a:lnTo>
                  <a:lnTo>
                    <a:pt x="342" y="394"/>
                  </a:lnTo>
                  <a:lnTo>
                    <a:pt x="339" y="394"/>
                  </a:lnTo>
                  <a:lnTo>
                    <a:pt x="336" y="397"/>
                  </a:lnTo>
                  <a:lnTo>
                    <a:pt x="333" y="397"/>
                  </a:lnTo>
                  <a:lnTo>
                    <a:pt x="330" y="397"/>
                  </a:lnTo>
                  <a:lnTo>
                    <a:pt x="327" y="397"/>
                  </a:lnTo>
                  <a:lnTo>
                    <a:pt x="327" y="394"/>
                  </a:lnTo>
                  <a:lnTo>
                    <a:pt x="324" y="394"/>
                  </a:lnTo>
                  <a:lnTo>
                    <a:pt x="321" y="394"/>
                  </a:lnTo>
                  <a:lnTo>
                    <a:pt x="318" y="394"/>
                  </a:lnTo>
                  <a:lnTo>
                    <a:pt x="315" y="394"/>
                  </a:lnTo>
                  <a:lnTo>
                    <a:pt x="312" y="394"/>
                  </a:lnTo>
                  <a:lnTo>
                    <a:pt x="309" y="394"/>
                  </a:lnTo>
                  <a:lnTo>
                    <a:pt x="309" y="397"/>
                  </a:lnTo>
                  <a:lnTo>
                    <a:pt x="306" y="397"/>
                  </a:lnTo>
                  <a:lnTo>
                    <a:pt x="303" y="397"/>
                  </a:lnTo>
                  <a:lnTo>
                    <a:pt x="303" y="400"/>
                  </a:lnTo>
                  <a:lnTo>
                    <a:pt x="300" y="400"/>
                  </a:lnTo>
                  <a:lnTo>
                    <a:pt x="297" y="400"/>
                  </a:lnTo>
                  <a:lnTo>
                    <a:pt x="294" y="400"/>
                  </a:lnTo>
                  <a:lnTo>
                    <a:pt x="291" y="400"/>
                  </a:lnTo>
                  <a:lnTo>
                    <a:pt x="291" y="397"/>
                  </a:lnTo>
                  <a:lnTo>
                    <a:pt x="288" y="397"/>
                  </a:lnTo>
                  <a:lnTo>
                    <a:pt x="285" y="397"/>
                  </a:lnTo>
                  <a:lnTo>
                    <a:pt x="282" y="394"/>
                  </a:lnTo>
                  <a:lnTo>
                    <a:pt x="279" y="394"/>
                  </a:lnTo>
                  <a:lnTo>
                    <a:pt x="276" y="394"/>
                  </a:lnTo>
                  <a:lnTo>
                    <a:pt x="273" y="394"/>
                  </a:lnTo>
                  <a:lnTo>
                    <a:pt x="270" y="394"/>
                  </a:lnTo>
                  <a:lnTo>
                    <a:pt x="267" y="394"/>
                  </a:lnTo>
                  <a:lnTo>
                    <a:pt x="264" y="394"/>
                  </a:lnTo>
                  <a:lnTo>
                    <a:pt x="261" y="397"/>
                  </a:lnTo>
                  <a:lnTo>
                    <a:pt x="261" y="400"/>
                  </a:lnTo>
                  <a:lnTo>
                    <a:pt x="261" y="403"/>
                  </a:lnTo>
                  <a:lnTo>
                    <a:pt x="261" y="406"/>
                  </a:lnTo>
                  <a:lnTo>
                    <a:pt x="261" y="403"/>
                  </a:lnTo>
                  <a:lnTo>
                    <a:pt x="258" y="403"/>
                  </a:lnTo>
                  <a:lnTo>
                    <a:pt x="255" y="403"/>
                  </a:lnTo>
                  <a:lnTo>
                    <a:pt x="252" y="403"/>
                  </a:lnTo>
                  <a:lnTo>
                    <a:pt x="249" y="403"/>
                  </a:lnTo>
                  <a:lnTo>
                    <a:pt x="246" y="403"/>
                  </a:lnTo>
                  <a:lnTo>
                    <a:pt x="243" y="403"/>
                  </a:lnTo>
                  <a:lnTo>
                    <a:pt x="240" y="403"/>
                  </a:lnTo>
                  <a:lnTo>
                    <a:pt x="237" y="403"/>
                  </a:lnTo>
                  <a:lnTo>
                    <a:pt x="234" y="403"/>
                  </a:lnTo>
                  <a:lnTo>
                    <a:pt x="231" y="406"/>
                  </a:lnTo>
                  <a:lnTo>
                    <a:pt x="228" y="406"/>
                  </a:lnTo>
                  <a:lnTo>
                    <a:pt x="225" y="409"/>
                  </a:lnTo>
                  <a:lnTo>
                    <a:pt x="225" y="412"/>
                  </a:lnTo>
                  <a:lnTo>
                    <a:pt x="222" y="412"/>
                  </a:lnTo>
                  <a:lnTo>
                    <a:pt x="222" y="415"/>
                  </a:lnTo>
                  <a:lnTo>
                    <a:pt x="219" y="415"/>
                  </a:lnTo>
                  <a:lnTo>
                    <a:pt x="216" y="418"/>
                  </a:lnTo>
                  <a:lnTo>
                    <a:pt x="213" y="421"/>
                  </a:lnTo>
                  <a:lnTo>
                    <a:pt x="210" y="421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7"/>
                  </a:lnTo>
                  <a:lnTo>
                    <a:pt x="207" y="427"/>
                  </a:lnTo>
                  <a:lnTo>
                    <a:pt x="204" y="427"/>
                  </a:lnTo>
                  <a:lnTo>
                    <a:pt x="201" y="427"/>
                  </a:lnTo>
                  <a:lnTo>
                    <a:pt x="198" y="430"/>
                  </a:lnTo>
                  <a:lnTo>
                    <a:pt x="195" y="433"/>
                  </a:lnTo>
                  <a:lnTo>
                    <a:pt x="192" y="436"/>
                  </a:lnTo>
                  <a:lnTo>
                    <a:pt x="195" y="439"/>
                  </a:lnTo>
                  <a:lnTo>
                    <a:pt x="192" y="439"/>
                  </a:lnTo>
                  <a:lnTo>
                    <a:pt x="189" y="439"/>
                  </a:lnTo>
                  <a:lnTo>
                    <a:pt x="189" y="442"/>
                  </a:lnTo>
                  <a:lnTo>
                    <a:pt x="186" y="439"/>
                  </a:lnTo>
                  <a:lnTo>
                    <a:pt x="183" y="439"/>
                  </a:lnTo>
                  <a:lnTo>
                    <a:pt x="183" y="436"/>
                  </a:lnTo>
                  <a:lnTo>
                    <a:pt x="180" y="436"/>
                  </a:lnTo>
                  <a:lnTo>
                    <a:pt x="177" y="433"/>
                  </a:lnTo>
                  <a:lnTo>
                    <a:pt x="174" y="433"/>
                  </a:lnTo>
                  <a:lnTo>
                    <a:pt x="171" y="433"/>
                  </a:lnTo>
                  <a:lnTo>
                    <a:pt x="168" y="433"/>
                  </a:lnTo>
                  <a:lnTo>
                    <a:pt x="165" y="433"/>
                  </a:lnTo>
                  <a:lnTo>
                    <a:pt x="162" y="433"/>
                  </a:lnTo>
                  <a:lnTo>
                    <a:pt x="162" y="436"/>
                  </a:lnTo>
                  <a:lnTo>
                    <a:pt x="159" y="436"/>
                  </a:lnTo>
                  <a:lnTo>
                    <a:pt x="159" y="433"/>
                  </a:lnTo>
                  <a:lnTo>
                    <a:pt x="156" y="433"/>
                  </a:lnTo>
                  <a:lnTo>
                    <a:pt x="156" y="430"/>
                  </a:lnTo>
                  <a:lnTo>
                    <a:pt x="153" y="430"/>
                  </a:lnTo>
                  <a:lnTo>
                    <a:pt x="153" y="427"/>
                  </a:lnTo>
                  <a:lnTo>
                    <a:pt x="150" y="427"/>
                  </a:lnTo>
                  <a:lnTo>
                    <a:pt x="150" y="424"/>
                  </a:lnTo>
                  <a:lnTo>
                    <a:pt x="147" y="424"/>
                  </a:lnTo>
                  <a:lnTo>
                    <a:pt x="144" y="424"/>
                  </a:lnTo>
                  <a:lnTo>
                    <a:pt x="144" y="421"/>
                  </a:lnTo>
                  <a:lnTo>
                    <a:pt x="141" y="421"/>
                  </a:lnTo>
                  <a:lnTo>
                    <a:pt x="141" y="418"/>
                  </a:lnTo>
                  <a:lnTo>
                    <a:pt x="138" y="418"/>
                  </a:lnTo>
                  <a:lnTo>
                    <a:pt x="135" y="418"/>
                  </a:lnTo>
                  <a:lnTo>
                    <a:pt x="135" y="421"/>
                  </a:lnTo>
                  <a:lnTo>
                    <a:pt x="132" y="421"/>
                  </a:lnTo>
                  <a:lnTo>
                    <a:pt x="132" y="418"/>
                  </a:lnTo>
                  <a:lnTo>
                    <a:pt x="132" y="421"/>
                  </a:lnTo>
                  <a:lnTo>
                    <a:pt x="129" y="421"/>
                  </a:lnTo>
                  <a:lnTo>
                    <a:pt x="132" y="418"/>
                  </a:lnTo>
                  <a:lnTo>
                    <a:pt x="132" y="415"/>
                  </a:lnTo>
                  <a:lnTo>
                    <a:pt x="135" y="415"/>
                  </a:lnTo>
                  <a:lnTo>
                    <a:pt x="135" y="412"/>
                  </a:lnTo>
                  <a:lnTo>
                    <a:pt x="138" y="412"/>
                  </a:lnTo>
                  <a:lnTo>
                    <a:pt x="138" y="409"/>
                  </a:lnTo>
                  <a:lnTo>
                    <a:pt x="135" y="409"/>
                  </a:lnTo>
                  <a:lnTo>
                    <a:pt x="135" y="406"/>
                  </a:lnTo>
                  <a:lnTo>
                    <a:pt x="135" y="403"/>
                  </a:lnTo>
                  <a:lnTo>
                    <a:pt x="132" y="403"/>
                  </a:lnTo>
                  <a:lnTo>
                    <a:pt x="132" y="400"/>
                  </a:lnTo>
                  <a:lnTo>
                    <a:pt x="129" y="397"/>
                  </a:lnTo>
                  <a:lnTo>
                    <a:pt x="126" y="397"/>
                  </a:lnTo>
                  <a:lnTo>
                    <a:pt x="126" y="400"/>
                  </a:lnTo>
                  <a:lnTo>
                    <a:pt x="123" y="400"/>
                  </a:lnTo>
                  <a:lnTo>
                    <a:pt x="120" y="400"/>
                  </a:lnTo>
                  <a:lnTo>
                    <a:pt x="117" y="400"/>
                  </a:lnTo>
                  <a:lnTo>
                    <a:pt x="114" y="397"/>
                  </a:lnTo>
                  <a:lnTo>
                    <a:pt x="117" y="397"/>
                  </a:lnTo>
                  <a:lnTo>
                    <a:pt x="114" y="394"/>
                  </a:lnTo>
                  <a:lnTo>
                    <a:pt x="111" y="391"/>
                  </a:lnTo>
                  <a:lnTo>
                    <a:pt x="108" y="391"/>
                  </a:lnTo>
                  <a:lnTo>
                    <a:pt x="105" y="391"/>
                  </a:lnTo>
                  <a:lnTo>
                    <a:pt x="102" y="394"/>
                  </a:lnTo>
                  <a:lnTo>
                    <a:pt x="99" y="394"/>
                  </a:lnTo>
                  <a:lnTo>
                    <a:pt x="96" y="394"/>
                  </a:lnTo>
                  <a:lnTo>
                    <a:pt x="93" y="394"/>
                  </a:lnTo>
                  <a:lnTo>
                    <a:pt x="93" y="397"/>
                  </a:lnTo>
                  <a:lnTo>
                    <a:pt x="93" y="394"/>
                  </a:lnTo>
                  <a:lnTo>
                    <a:pt x="90" y="394"/>
                  </a:lnTo>
                  <a:lnTo>
                    <a:pt x="90" y="397"/>
                  </a:lnTo>
                  <a:lnTo>
                    <a:pt x="90" y="394"/>
                  </a:lnTo>
                  <a:lnTo>
                    <a:pt x="90" y="391"/>
                  </a:lnTo>
                  <a:lnTo>
                    <a:pt x="90" y="388"/>
                  </a:lnTo>
                  <a:lnTo>
                    <a:pt x="90" y="385"/>
                  </a:lnTo>
                  <a:lnTo>
                    <a:pt x="93" y="385"/>
                  </a:lnTo>
                  <a:lnTo>
                    <a:pt x="93" y="382"/>
                  </a:lnTo>
                  <a:lnTo>
                    <a:pt x="93" y="379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3" y="373"/>
                  </a:lnTo>
                  <a:lnTo>
                    <a:pt x="93" y="370"/>
                  </a:lnTo>
                  <a:lnTo>
                    <a:pt x="90" y="370"/>
                  </a:lnTo>
                  <a:lnTo>
                    <a:pt x="90" y="367"/>
                  </a:lnTo>
                  <a:lnTo>
                    <a:pt x="87" y="364"/>
                  </a:lnTo>
                  <a:lnTo>
                    <a:pt x="84" y="364"/>
                  </a:lnTo>
                  <a:lnTo>
                    <a:pt x="81" y="364"/>
                  </a:lnTo>
                  <a:lnTo>
                    <a:pt x="78" y="364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69" y="364"/>
                  </a:lnTo>
                  <a:lnTo>
                    <a:pt x="69" y="367"/>
                  </a:lnTo>
                  <a:lnTo>
                    <a:pt x="66" y="367"/>
                  </a:lnTo>
                  <a:lnTo>
                    <a:pt x="63" y="367"/>
                  </a:lnTo>
                  <a:lnTo>
                    <a:pt x="60" y="367"/>
                  </a:lnTo>
                  <a:lnTo>
                    <a:pt x="60" y="370"/>
                  </a:lnTo>
                  <a:lnTo>
                    <a:pt x="57" y="370"/>
                  </a:lnTo>
                  <a:lnTo>
                    <a:pt x="57" y="373"/>
                  </a:lnTo>
                  <a:lnTo>
                    <a:pt x="57" y="376"/>
                  </a:lnTo>
                  <a:lnTo>
                    <a:pt x="60" y="376"/>
                  </a:lnTo>
                  <a:lnTo>
                    <a:pt x="60" y="379"/>
                  </a:lnTo>
                  <a:lnTo>
                    <a:pt x="63" y="379"/>
                  </a:lnTo>
                  <a:lnTo>
                    <a:pt x="63" y="382"/>
                  </a:lnTo>
                  <a:lnTo>
                    <a:pt x="60" y="382"/>
                  </a:lnTo>
                  <a:lnTo>
                    <a:pt x="63" y="385"/>
                  </a:lnTo>
                  <a:lnTo>
                    <a:pt x="60" y="385"/>
                  </a:lnTo>
                  <a:lnTo>
                    <a:pt x="60" y="388"/>
                  </a:lnTo>
                  <a:lnTo>
                    <a:pt x="60" y="391"/>
                  </a:lnTo>
                  <a:lnTo>
                    <a:pt x="63" y="391"/>
                  </a:lnTo>
                  <a:lnTo>
                    <a:pt x="60" y="391"/>
                  </a:lnTo>
                  <a:lnTo>
                    <a:pt x="57" y="391"/>
                  </a:lnTo>
                  <a:lnTo>
                    <a:pt x="57" y="388"/>
                  </a:lnTo>
                  <a:lnTo>
                    <a:pt x="54" y="388"/>
                  </a:lnTo>
                  <a:lnTo>
                    <a:pt x="54" y="385"/>
                  </a:lnTo>
                  <a:lnTo>
                    <a:pt x="54" y="382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48" y="373"/>
                  </a:lnTo>
                  <a:lnTo>
                    <a:pt x="48" y="370"/>
                  </a:lnTo>
                  <a:lnTo>
                    <a:pt x="51" y="370"/>
                  </a:lnTo>
                  <a:lnTo>
                    <a:pt x="51" y="367"/>
                  </a:lnTo>
                  <a:lnTo>
                    <a:pt x="51" y="364"/>
                  </a:lnTo>
                  <a:lnTo>
                    <a:pt x="54" y="364"/>
                  </a:lnTo>
                  <a:lnTo>
                    <a:pt x="51" y="361"/>
                  </a:lnTo>
                  <a:lnTo>
                    <a:pt x="51" y="364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51" y="355"/>
                  </a:lnTo>
                  <a:lnTo>
                    <a:pt x="54" y="352"/>
                  </a:lnTo>
                  <a:lnTo>
                    <a:pt x="54" y="349"/>
                  </a:lnTo>
                  <a:lnTo>
                    <a:pt x="54" y="346"/>
                  </a:lnTo>
                  <a:lnTo>
                    <a:pt x="57" y="346"/>
                  </a:lnTo>
                  <a:lnTo>
                    <a:pt x="57" y="349"/>
                  </a:lnTo>
                  <a:lnTo>
                    <a:pt x="60" y="349"/>
                  </a:lnTo>
                  <a:lnTo>
                    <a:pt x="60" y="346"/>
                  </a:lnTo>
                  <a:lnTo>
                    <a:pt x="63" y="346"/>
                  </a:lnTo>
                  <a:lnTo>
                    <a:pt x="63" y="343"/>
                  </a:lnTo>
                  <a:lnTo>
                    <a:pt x="63" y="340"/>
                  </a:lnTo>
                  <a:lnTo>
                    <a:pt x="60" y="337"/>
                  </a:lnTo>
                  <a:lnTo>
                    <a:pt x="60" y="334"/>
                  </a:lnTo>
                  <a:lnTo>
                    <a:pt x="60" y="331"/>
                  </a:lnTo>
                  <a:lnTo>
                    <a:pt x="57" y="331"/>
                  </a:lnTo>
                  <a:lnTo>
                    <a:pt x="57" y="328"/>
                  </a:lnTo>
                  <a:lnTo>
                    <a:pt x="60" y="328"/>
                  </a:lnTo>
                  <a:lnTo>
                    <a:pt x="60" y="325"/>
                  </a:lnTo>
                  <a:lnTo>
                    <a:pt x="57" y="325"/>
                  </a:lnTo>
                  <a:lnTo>
                    <a:pt x="57" y="322"/>
                  </a:lnTo>
                  <a:lnTo>
                    <a:pt x="57" y="319"/>
                  </a:lnTo>
                  <a:lnTo>
                    <a:pt x="54" y="319"/>
                  </a:lnTo>
                  <a:lnTo>
                    <a:pt x="54" y="316"/>
                  </a:lnTo>
                  <a:lnTo>
                    <a:pt x="51" y="316"/>
                  </a:lnTo>
                  <a:lnTo>
                    <a:pt x="51" y="313"/>
                  </a:lnTo>
                  <a:lnTo>
                    <a:pt x="48" y="313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8" y="304"/>
                  </a:lnTo>
                  <a:lnTo>
                    <a:pt x="45" y="301"/>
                  </a:lnTo>
                  <a:lnTo>
                    <a:pt x="45" y="298"/>
                  </a:lnTo>
                  <a:lnTo>
                    <a:pt x="42" y="298"/>
                  </a:lnTo>
                  <a:lnTo>
                    <a:pt x="42" y="295"/>
                  </a:lnTo>
                  <a:lnTo>
                    <a:pt x="39" y="295"/>
                  </a:lnTo>
                  <a:lnTo>
                    <a:pt x="36" y="295"/>
                  </a:lnTo>
                  <a:lnTo>
                    <a:pt x="36" y="292"/>
                  </a:lnTo>
                  <a:lnTo>
                    <a:pt x="33" y="292"/>
                  </a:lnTo>
                  <a:lnTo>
                    <a:pt x="36" y="289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80"/>
                  </a:lnTo>
                  <a:lnTo>
                    <a:pt x="30" y="277"/>
                  </a:lnTo>
                  <a:lnTo>
                    <a:pt x="27" y="277"/>
                  </a:lnTo>
                  <a:lnTo>
                    <a:pt x="27" y="274"/>
                  </a:lnTo>
                  <a:lnTo>
                    <a:pt x="24" y="274"/>
                  </a:lnTo>
                  <a:lnTo>
                    <a:pt x="24" y="271"/>
                  </a:lnTo>
                  <a:lnTo>
                    <a:pt x="21" y="271"/>
                  </a:lnTo>
                  <a:lnTo>
                    <a:pt x="21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4" y="268"/>
                  </a:lnTo>
                  <a:lnTo>
                    <a:pt x="24" y="271"/>
                  </a:lnTo>
                  <a:lnTo>
                    <a:pt x="27" y="271"/>
                  </a:lnTo>
                  <a:lnTo>
                    <a:pt x="27" y="274"/>
                  </a:lnTo>
                  <a:lnTo>
                    <a:pt x="30" y="274"/>
                  </a:lnTo>
                  <a:lnTo>
                    <a:pt x="30" y="277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27" y="268"/>
                  </a:lnTo>
                  <a:lnTo>
                    <a:pt x="24" y="265"/>
                  </a:lnTo>
                  <a:lnTo>
                    <a:pt x="24" y="262"/>
                  </a:lnTo>
                  <a:lnTo>
                    <a:pt x="27" y="262"/>
                  </a:lnTo>
                  <a:lnTo>
                    <a:pt x="24" y="259"/>
                  </a:lnTo>
                  <a:lnTo>
                    <a:pt x="24" y="256"/>
                  </a:lnTo>
                  <a:lnTo>
                    <a:pt x="21" y="256"/>
                  </a:lnTo>
                  <a:lnTo>
                    <a:pt x="18" y="256"/>
                  </a:lnTo>
                  <a:lnTo>
                    <a:pt x="18" y="259"/>
                  </a:lnTo>
                  <a:lnTo>
                    <a:pt x="21" y="259"/>
                  </a:lnTo>
                  <a:lnTo>
                    <a:pt x="18" y="259"/>
                  </a:lnTo>
                  <a:lnTo>
                    <a:pt x="15" y="259"/>
                  </a:lnTo>
                  <a:lnTo>
                    <a:pt x="15" y="262"/>
                  </a:lnTo>
                  <a:lnTo>
                    <a:pt x="15" y="259"/>
                  </a:lnTo>
                  <a:lnTo>
                    <a:pt x="12" y="259"/>
                  </a:lnTo>
                  <a:lnTo>
                    <a:pt x="15" y="259"/>
                  </a:lnTo>
                  <a:lnTo>
                    <a:pt x="15" y="256"/>
                  </a:lnTo>
                  <a:lnTo>
                    <a:pt x="12" y="256"/>
                  </a:lnTo>
                  <a:lnTo>
                    <a:pt x="9" y="256"/>
                  </a:lnTo>
                  <a:lnTo>
                    <a:pt x="12" y="256"/>
                  </a:lnTo>
                  <a:lnTo>
                    <a:pt x="12" y="253"/>
                  </a:lnTo>
                  <a:lnTo>
                    <a:pt x="12" y="250"/>
                  </a:lnTo>
                  <a:lnTo>
                    <a:pt x="12" y="247"/>
                  </a:lnTo>
                  <a:lnTo>
                    <a:pt x="9" y="247"/>
                  </a:lnTo>
                  <a:lnTo>
                    <a:pt x="9" y="244"/>
                  </a:lnTo>
                  <a:lnTo>
                    <a:pt x="12" y="244"/>
                  </a:lnTo>
                  <a:lnTo>
                    <a:pt x="12" y="241"/>
                  </a:lnTo>
                  <a:lnTo>
                    <a:pt x="9" y="241"/>
                  </a:lnTo>
                  <a:lnTo>
                    <a:pt x="9" y="238"/>
                  </a:lnTo>
                  <a:lnTo>
                    <a:pt x="12" y="238"/>
                  </a:lnTo>
                  <a:lnTo>
                    <a:pt x="12" y="235"/>
                  </a:lnTo>
                  <a:lnTo>
                    <a:pt x="12" y="232"/>
                  </a:lnTo>
                  <a:lnTo>
                    <a:pt x="12" y="229"/>
                  </a:lnTo>
                  <a:lnTo>
                    <a:pt x="15" y="229"/>
                  </a:lnTo>
                  <a:lnTo>
                    <a:pt x="15" y="226"/>
                  </a:lnTo>
                  <a:lnTo>
                    <a:pt x="15" y="229"/>
                  </a:lnTo>
                  <a:lnTo>
                    <a:pt x="18" y="229"/>
                  </a:lnTo>
                  <a:lnTo>
                    <a:pt x="18" y="226"/>
                  </a:lnTo>
                  <a:lnTo>
                    <a:pt x="21" y="226"/>
                  </a:lnTo>
                  <a:lnTo>
                    <a:pt x="18" y="226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32"/>
                  </a:lnTo>
                  <a:lnTo>
                    <a:pt x="24" y="232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3" y="232"/>
                  </a:lnTo>
                  <a:lnTo>
                    <a:pt x="36" y="232"/>
                  </a:lnTo>
                  <a:lnTo>
                    <a:pt x="36" y="229"/>
                  </a:lnTo>
                  <a:lnTo>
                    <a:pt x="39" y="226"/>
                  </a:lnTo>
                  <a:lnTo>
                    <a:pt x="42" y="223"/>
                  </a:lnTo>
                  <a:lnTo>
                    <a:pt x="45" y="220"/>
                  </a:lnTo>
                  <a:lnTo>
                    <a:pt x="45" y="217"/>
                  </a:lnTo>
                  <a:lnTo>
                    <a:pt x="45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08"/>
                  </a:lnTo>
                  <a:lnTo>
                    <a:pt x="48" y="205"/>
                  </a:lnTo>
                  <a:lnTo>
                    <a:pt x="48" y="202"/>
                  </a:lnTo>
                  <a:lnTo>
                    <a:pt x="48" y="199"/>
                  </a:lnTo>
                  <a:lnTo>
                    <a:pt x="48" y="196"/>
                  </a:lnTo>
                  <a:lnTo>
                    <a:pt x="48" y="190"/>
                  </a:lnTo>
                  <a:lnTo>
                    <a:pt x="48" y="187"/>
                  </a:lnTo>
                  <a:lnTo>
                    <a:pt x="51" y="187"/>
                  </a:lnTo>
                  <a:lnTo>
                    <a:pt x="51" y="184"/>
                  </a:lnTo>
                  <a:lnTo>
                    <a:pt x="51" y="181"/>
                  </a:lnTo>
                  <a:lnTo>
                    <a:pt x="48" y="181"/>
                  </a:lnTo>
                  <a:lnTo>
                    <a:pt x="48" y="178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5" y="150"/>
                  </a:lnTo>
                  <a:lnTo>
                    <a:pt x="42" y="150"/>
                  </a:lnTo>
                  <a:lnTo>
                    <a:pt x="45" y="150"/>
                  </a:lnTo>
                  <a:lnTo>
                    <a:pt x="45" y="147"/>
                  </a:lnTo>
                  <a:lnTo>
                    <a:pt x="45" y="144"/>
                  </a:lnTo>
                  <a:lnTo>
                    <a:pt x="42" y="141"/>
                  </a:lnTo>
                  <a:lnTo>
                    <a:pt x="42" y="138"/>
                  </a:lnTo>
                  <a:lnTo>
                    <a:pt x="42" y="135"/>
                  </a:lnTo>
                  <a:lnTo>
                    <a:pt x="39" y="135"/>
                  </a:lnTo>
                  <a:lnTo>
                    <a:pt x="39" y="132"/>
                  </a:lnTo>
                  <a:lnTo>
                    <a:pt x="39" y="129"/>
                  </a:lnTo>
                  <a:lnTo>
                    <a:pt x="39" y="126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3"/>
                  </a:lnTo>
                  <a:lnTo>
                    <a:pt x="33" y="120"/>
                  </a:lnTo>
                  <a:lnTo>
                    <a:pt x="33" y="117"/>
                  </a:lnTo>
                  <a:lnTo>
                    <a:pt x="30" y="117"/>
                  </a:lnTo>
                  <a:lnTo>
                    <a:pt x="30" y="114"/>
                  </a:lnTo>
                  <a:lnTo>
                    <a:pt x="30" y="111"/>
                  </a:lnTo>
                  <a:lnTo>
                    <a:pt x="27" y="111"/>
                  </a:lnTo>
                  <a:lnTo>
                    <a:pt x="27" y="108"/>
                  </a:lnTo>
                  <a:lnTo>
                    <a:pt x="24" y="108"/>
                  </a:lnTo>
                  <a:lnTo>
                    <a:pt x="24" y="105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2" y="90"/>
                  </a:lnTo>
                  <a:lnTo>
                    <a:pt x="12" y="87"/>
                  </a:lnTo>
                  <a:lnTo>
                    <a:pt x="12" y="84"/>
                  </a:lnTo>
                  <a:lnTo>
                    <a:pt x="9" y="84"/>
                  </a:lnTo>
                  <a:lnTo>
                    <a:pt x="9" y="81"/>
                  </a:lnTo>
                  <a:lnTo>
                    <a:pt x="6" y="78"/>
                  </a:lnTo>
                  <a:lnTo>
                    <a:pt x="3" y="75"/>
                  </a:lnTo>
                  <a:lnTo>
                    <a:pt x="0" y="72"/>
                  </a:lnTo>
                  <a:lnTo>
                    <a:pt x="6" y="75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05" name="Text Box 43">
              <a:extLst>
                <a:ext uri="{FF2B5EF4-FFF2-40B4-BE49-F238E27FC236}">
                  <a16:creationId xmlns:a16="http://schemas.microsoft.com/office/drawing/2014/main" id="{E03EFA58-D417-464C-9C08-E381E605C2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09715" y="3979863"/>
              <a:ext cx="901700" cy="37623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EC</a:t>
              </a:r>
            </a:p>
            <a:p>
              <a:pPr algn="ctr" eaLnBrk="1" hangingPunct="1"/>
              <a:r>
                <a:rPr lang="en-US" altLang="en-US" sz="1000" b="1" dirty="0"/>
                <a:t>0.4</a:t>
              </a:r>
            </a:p>
          </p:txBody>
        </p:sp>
        <p:sp>
          <p:nvSpPr>
            <p:cNvPr id="106" name="Text Box 44">
              <a:extLst>
                <a:ext uri="{FF2B5EF4-FFF2-40B4-BE49-F238E27FC236}">
                  <a16:creationId xmlns:a16="http://schemas.microsoft.com/office/drawing/2014/main" id="{F42799E3-FE16-4A68-9459-FB836F608F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1513" y="3502025"/>
              <a:ext cx="931862" cy="27305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C</a:t>
              </a:r>
            </a:p>
            <a:p>
              <a:pPr algn="ctr" eaLnBrk="1" hangingPunct="1"/>
              <a:r>
                <a:rPr lang="en-US" altLang="en-US" sz="1000" b="1" dirty="0"/>
                <a:t>20.8</a:t>
              </a:r>
            </a:p>
          </p:txBody>
        </p:sp>
        <p:sp>
          <p:nvSpPr>
            <p:cNvPr id="107" name="Text Box 45">
              <a:extLst>
                <a:ext uri="{FF2B5EF4-FFF2-40B4-BE49-F238E27FC236}">
                  <a16:creationId xmlns:a16="http://schemas.microsoft.com/office/drawing/2014/main" id="{EEAC3403-A617-4AF5-AF04-1EDAD5B0A0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11416" y="2902745"/>
              <a:ext cx="776287" cy="2778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W</a:t>
              </a:r>
            </a:p>
            <a:p>
              <a:pPr algn="ctr" eaLnBrk="1" hangingPunct="1"/>
              <a:r>
                <a:rPr lang="en-US" altLang="en-US" sz="1000" b="1" dirty="0"/>
                <a:t>4.8</a:t>
              </a:r>
            </a:p>
          </p:txBody>
        </p:sp>
        <p:sp>
          <p:nvSpPr>
            <p:cNvPr id="108" name="Text Box 46">
              <a:extLst>
                <a:ext uri="{FF2B5EF4-FFF2-40B4-BE49-F238E27FC236}">
                  <a16:creationId xmlns:a16="http://schemas.microsoft.com/office/drawing/2014/main" id="{74DA6EAB-4E44-4691-8CCB-52780E98B0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67523" y="3216750"/>
              <a:ext cx="668337" cy="328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FS</a:t>
              </a:r>
            </a:p>
            <a:p>
              <a:pPr algn="ctr" eaLnBrk="1" hangingPunct="1"/>
              <a:r>
                <a:rPr lang="en-US" altLang="en-US" sz="1000" b="1" dirty="0"/>
                <a:t>12.0</a:t>
              </a:r>
            </a:p>
          </p:txBody>
        </p:sp>
        <p:sp>
          <p:nvSpPr>
            <p:cNvPr id="109" name="Text Box 47">
              <a:extLst>
                <a:ext uri="{FF2B5EF4-FFF2-40B4-BE49-F238E27FC236}">
                  <a16:creationId xmlns:a16="http://schemas.microsoft.com/office/drawing/2014/main" id="{0201593E-5945-4637-AAF2-7FA0D0BBE0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46700" y="2619375"/>
              <a:ext cx="370182" cy="284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MP</a:t>
              </a:r>
            </a:p>
            <a:p>
              <a:pPr algn="ctr" eaLnBrk="1" hangingPunct="1"/>
              <a:r>
                <a:rPr lang="en-US" altLang="en-US" sz="1000" b="1" dirty="0"/>
                <a:t>1.3</a:t>
              </a:r>
            </a:p>
          </p:txBody>
        </p:sp>
        <p:sp>
          <p:nvSpPr>
            <p:cNvPr id="110" name="Text Box 48">
              <a:extLst>
                <a:ext uri="{FF2B5EF4-FFF2-40B4-BE49-F238E27FC236}">
                  <a16:creationId xmlns:a16="http://schemas.microsoft.com/office/drawing/2014/main" id="{965593D1-15B7-4D6C-9213-C1DC0FB067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02074" y="2356345"/>
              <a:ext cx="765175" cy="414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LP</a:t>
              </a:r>
            </a:p>
            <a:p>
              <a:pPr algn="ctr" eaLnBrk="1" hangingPunct="1"/>
              <a:r>
                <a:rPr lang="en-US" altLang="en-US" sz="1000" b="1" dirty="0"/>
                <a:t>0.6</a:t>
              </a:r>
            </a:p>
          </p:txBody>
        </p:sp>
        <p:sp>
          <p:nvSpPr>
            <p:cNvPr id="111" name="Text Box 49">
              <a:extLst>
                <a:ext uri="{FF2B5EF4-FFF2-40B4-BE49-F238E27FC236}">
                  <a16:creationId xmlns:a16="http://schemas.microsoft.com/office/drawing/2014/main" id="{28255D9A-2939-4F8B-B797-D0DB072BBF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3000" y="2403475"/>
              <a:ext cx="703263" cy="250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GP</a:t>
              </a:r>
            </a:p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3.8</a:t>
              </a:r>
              <a:endParaRPr lang="en-US" altLang="en-US" sz="1000" b="1" dirty="0"/>
            </a:p>
          </p:txBody>
        </p:sp>
        <p:sp>
          <p:nvSpPr>
            <p:cNvPr id="112" name="Text Box 50">
              <a:extLst>
                <a:ext uri="{FF2B5EF4-FFF2-40B4-BE49-F238E27FC236}">
                  <a16:creationId xmlns:a16="http://schemas.microsoft.com/office/drawing/2014/main" id="{8E086A6E-1F5D-4217-9062-EA8E354FEC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96185" y="3186112"/>
              <a:ext cx="687387" cy="4333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KZN</a:t>
              </a:r>
            </a:p>
            <a:p>
              <a:pPr algn="ctr" eaLnBrk="1" hangingPunct="1"/>
              <a:r>
                <a:rPr lang="en-US" altLang="en-US" sz="1000" b="1" dirty="0"/>
                <a:t>0.8</a:t>
              </a:r>
            </a:p>
          </p:txBody>
        </p:sp>
        <p:sp>
          <p:nvSpPr>
            <p:cNvPr id="113" name="Line 51">
              <a:extLst>
                <a:ext uri="{FF2B5EF4-FFF2-40B4-BE49-F238E27FC236}">
                  <a16:creationId xmlns:a16="http://schemas.microsoft.com/office/drawing/2014/main" id="{CA8608BB-0E65-4EB7-BFD4-DDAC6F25E5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8938" y="2568575"/>
              <a:ext cx="495300" cy="3857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14" name="Line 52">
              <a:extLst>
                <a:ext uri="{FF2B5EF4-FFF2-40B4-BE49-F238E27FC236}">
                  <a16:creationId xmlns:a16="http://schemas.microsoft.com/office/drawing/2014/main" id="{DD645883-0547-4E89-AC74-4D2A0B4FB5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80000" y="2733675"/>
              <a:ext cx="331788" cy="555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15" name="Text Box 44">
              <a:extLst>
                <a:ext uri="{FF2B5EF4-FFF2-40B4-BE49-F238E27FC236}">
                  <a16:creationId xmlns:a16="http://schemas.microsoft.com/office/drawing/2014/main" id="{D33D3CD2-0523-4A73-B09B-CA60D8A438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60366" y="4212018"/>
              <a:ext cx="931862" cy="196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WC</a:t>
              </a:r>
            </a:p>
            <a:p>
              <a:pPr algn="ctr" eaLnBrk="1" hangingPunct="1"/>
              <a:r>
                <a:rPr lang="en-US" altLang="en-US" sz="1000" b="1" dirty="0"/>
                <a:t>2.6</a:t>
              </a:r>
            </a:p>
          </p:txBody>
        </p:sp>
      </p:grpSp>
      <p:sp>
        <p:nvSpPr>
          <p:cNvPr id="219" name="TextBox 218">
            <a:extLst>
              <a:ext uri="{FF2B5EF4-FFF2-40B4-BE49-F238E27FC236}">
                <a16:creationId xmlns:a16="http://schemas.microsoft.com/office/drawing/2014/main" id="{E40724D5-F863-4762-A451-5F6D035E3B5C}"/>
              </a:ext>
            </a:extLst>
          </p:cNvPr>
          <p:cNvSpPr txBox="1"/>
          <p:nvPr/>
        </p:nvSpPr>
        <p:spPr>
          <a:xfrm>
            <a:off x="3622309" y="4582871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10 May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40415BE6-BF3D-4080-9E5A-11EC4CB959F4}"/>
              </a:ext>
            </a:extLst>
          </p:cNvPr>
          <p:cNvSpPr txBox="1"/>
          <p:nvPr/>
        </p:nvSpPr>
        <p:spPr>
          <a:xfrm>
            <a:off x="6793145" y="4519033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17 May</a:t>
            </a:r>
          </a:p>
        </p:txBody>
      </p:sp>
      <p:grpSp>
        <p:nvGrpSpPr>
          <p:cNvPr id="116" name="Group 5">
            <a:extLst>
              <a:ext uri="{FF2B5EF4-FFF2-40B4-BE49-F238E27FC236}">
                <a16:creationId xmlns:a16="http://schemas.microsoft.com/office/drawing/2014/main" id="{B2577162-376C-421C-8D31-65B541011CFB}"/>
              </a:ext>
            </a:extLst>
          </p:cNvPr>
          <p:cNvGrpSpPr>
            <a:grpSpLocks/>
          </p:cNvGrpSpPr>
          <p:nvPr/>
        </p:nvGrpSpPr>
        <p:grpSpPr bwMode="auto">
          <a:xfrm>
            <a:off x="5611535" y="1984863"/>
            <a:ext cx="3440221" cy="2673460"/>
            <a:chOff x="2747963" y="2200275"/>
            <a:chExt cx="2887662" cy="2397125"/>
          </a:xfrm>
        </p:grpSpPr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06EA9CB3-5A5A-4F85-8594-33ABB03DB1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89438" y="2200275"/>
              <a:ext cx="903287" cy="577850"/>
            </a:xfrm>
            <a:custGeom>
              <a:avLst/>
              <a:gdLst>
                <a:gd name="T0" fmla="*/ 194827 w 459"/>
                <a:gd name="T1" fmla="*/ 206375 h 294"/>
                <a:gd name="T2" fmla="*/ 224346 w 459"/>
                <a:gd name="T3" fmla="*/ 188686 h 294"/>
                <a:gd name="T4" fmla="*/ 253865 w 459"/>
                <a:gd name="T5" fmla="*/ 165100 h 294"/>
                <a:gd name="T6" fmla="*/ 277480 w 459"/>
                <a:gd name="T7" fmla="*/ 123825 h 294"/>
                <a:gd name="T8" fmla="*/ 312903 w 459"/>
                <a:gd name="T9" fmla="*/ 88446 h 294"/>
                <a:gd name="T10" fmla="*/ 377846 w 459"/>
                <a:gd name="T11" fmla="*/ 76654 h 294"/>
                <a:gd name="T12" fmla="*/ 419172 w 459"/>
                <a:gd name="T13" fmla="*/ 47171 h 294"/>
                <a:gd name="T14" fmla="*/ 448692 w 459"/>
                <a:gd name="T15" fmla="*/ 17689 h 294"/>
                <a:gd name="T16" fmla="*/ 501826 w 459"/>
                <a:gd name="T17" fmla="*/ 11793 h 294"/>
                <a:gd name="T18" fmla="*/ 554961 w 459"/>
                <a:gd name="T19" fmla="*/ 5896 h 294"/>
                <a:gd name="T20" fmla="*/ 608095 w 459"/>
                <a:gd name="T21" fmla="*/ 29482 h 294"/>
                <a:gd name="T22" fmla="*/ 661230 w 459"/>
                <a:gd name="T23" fmla="*/ 41275 h 294"/>
                <a:gd name="T24" fmla="*/ 702557 w 459"/>
                <a:gd name="T25" fmla="*/ 35379 h 294"/>
                <a:gd name="T26" fmla="*/ 755691 w 459"/>
                <a:gd name="T27" fmla="*/ 35379 h 294"/>
                <a:gd name="T28" fmla="*/ 797018 w 459"/>
                <a:gd name="T29" fmla="*/ 47171 h 294"/>
                <a:gd name="T30" fmla="*/ 832441 w 459"/>
                <a:gd name="T31" fmla="*/ 129721 h 294"/>
                <a:gd name="T32" fmla="*/ 861960 w 459"/>
                <a:gd name="T33" fmla="*/ 259443 h 294"/>
                <a:gd name="T34" fmla="*/ 903287 w 459"/>
                <a:gd name="T35" fmla="*/ 336096 h 294"/>
                <a:gd name="T36" fmla="*/ 856056 w 459"/>
                <a:gd name="T37" fmla="*/ 341993 h 294"/>
                <a:gd name="T38" fmla="*/ 808826 w 459"/>
                <a:gd name="T39" fmla="*/ 353786 h 294"/>
                <a:gd name="T40" fmla="*/ 820633 w 459"/>
                <a:gd name="T41" fmla="*/ 406854 h 294"/>
                <a:gd name="T42" fmla="*/ 856056 w 459"/>
                <a:gd name="T43" fmla="*/ 454025 h 294"/>
                <a:gd name="T44" fmla="*/ 814729 w 459"/>
                <a:gd name="T45" fmla="*/ 489404 h 294"/>
                <a:gd name="T46" fmla="*/ 814729 w 459"/>
                <a:gd name="T47" fmla="*/ 512989 h 294"/>
                <a:gd name="T48" fmla="*/ 797018 w 459"/>
                <a:gd name="T49" fmla="*/ 518886 h 294"/>
                <a:gd name="T50" fmla="*/ 797018 w 459"/>
                <a:gd name="T51" fmla="*/ 501196 h 294"/>
                <a:gd name="T52" fmla="*/ 767499 w 459"/>
                <a:gd name="T53" fmla="*/ 471714 h 294"/>
                <a:gd name="T54" fmla="*/ 761595 w 459"/>
                <a:gd name="T55" fmla="*/ 442232 h 294"/>
                <a:gd name="T56" fmla="*/ 714364 w 459"/>
                <a:gd name="T57" fmla="*/ 436336 h 294"/>
                <a:gd name="T58" fmla="*/ 655326 w 459"/>
                <a:gd name="T59" fmla="*/ 442232 h 294"/>
                <a:gd name="T60" fmla="*/ 625807 w 459"/>
                <a:gd name="T61" fmla="*/ 465818 h 294"/>
                <a:gd name="T62" fmla="*/ 596287 w 459"/>
                <a:gd name="T63" fmla="*/ 501196 h 294"/>
                <a:gd name="T64" fmla="*/ 554961 w 459"/>
                <a:gd name="T65" fmla="*/ 524782 h 294"/>
                <a:gd name="T66" fmla="*/ 507730 w 459"/>
                <a:gd name="T67" fmla="*/ 542471 h 294"/>
                <a:gd name="T68" fmla="*/ 495922 w 459"/>
                <a:gd name="T69" fmla="*/ 507093 h 294"/>
                <a:gd name="T70" fmla="*/ 501826 w 459"/>
                <a:gd name="T71" fmla="*/ 471714 h 294"/>
                <a:gd name="T72" fmla="*/ 460499 w 459"/>
                <a:gd name="T73" fmla="*/ 501196 h 294"/>
                <a:gd name="T74" fmla="*/ 401461 w 459"/>
                <a:gd name="T75" fmla="*/ 507093 h 294"/>
                <a:gd name="T76" fmla="*/ 354230 w 459"/>
                <a:gd name="T77" fmla="*/ 530679 h 294"/>
                <a:gd name="T78" fmla="*/ 348326 w 459"/>
                <a:gd name="T79" fmla="*/ 554264 h 294"/>
                <a:gd name="T80" fmla="*/ 377846 w 459"/>
                <a:gd name="T81" fmla="*/ 560161 h 294"/>
                <a:gd name="T82" fmla="*/ 336519 w 459"/>
                <a:gd name="T83" fmla="*/ 577850 h 294"/>
                <a:gd name="T84" fmla="*/ 289288 w 459"/>
                <a:gd name="T85" fmla="*/ 554264 h 294"/>
                <a:gd name="T86" fmla="*/ 301096 w 459"/>
                <a:gd name="T87" fmla="*/ 536575 h 294"/>
                <a:gd name="T88" fmla="*/ 259769 w 459"/>
                <a:gd name="T89" fmla="*/ 512989 h 294"/>
                <a:gd name="T90" fmla="*/ 194827 w 459"/>
                <a:gd name="T91" fmla="*/ 512989 h 294"/>
                <a:gd name="T92" fmla="*/ 153500 w 459"/>
                <a:gd name="T93" fmla="*/ 536575 h 294"/>
                <a:gd name="T94" fmla="*/ 123981 w 459"/>
                <a:gd name="T95" fmla="*/ 507093 h 294"/>
                <a:gd name="T96" fmla="*/ 53135 w 459"/>
                <a:gd name="T97" fmla="*/ 495300 h 294"/>
                <a:gd name="T98" fmla="*/ 5904 w 459"/>
                <a:gd name="T99" fmla="*/ 477611 h 294"/>
                <a:gd name="T100" fmla="*/ 0 w 459"/>
                <a:gd name="T101" fmla="*/ 454025 h 294"/>
                <a:gd name="T102" fmla="*/ 29519 w 459"/>
                <a:gd name="T103" fmla="*/ 412750 h 294"/>
                <a:gd name="T104" fmla="*/ 64942 w 459"/>
                <a:gd name="T105" fmla="*/ 389164 h 294"/>
                <a:gd name="T106" fmla="*/ 82654 w 459"/>
                <a:gd name="T107" fmla="*/ 341993 h 294"/>
                <a:gd name="T108" fmla="*/ 94461 w 459"/>
                <a:gd name="T109" fmla="*/ 294821 h 294"/>
                <a:gd name="T110" fmla="*/ 106269 w 459"/>
                <a:gd name="T111" fmla="*/ 265339 h 294"/>
                <a:gd name="T112" fmla="*/ 129884 w 459"/>
                <a:gd name="T113" fmla="*/ 247650 h 294"/>
                <a:gd name="T114" fmla="*/ 153500 w 459"/>
                <a:gd name="T115" fmla="*/ 229961 h 2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459" h="294">
                  <a:moveTo>
                    <a:pt x="84" y="120"/>
                  </a:moveTo>
                  <a:lnTo>
                    <a:pt x="87" y="120"/>
                  </a:lnTo>
                  <a:lnTo>
                    <a:pt x="87" y="117"/>
                  </a:lnTo>
                  <a:lnTo>
                    <a:pt x="87" y="114"/>
                  </a:lnTo>
                  <a:lnTo>
                    <a:pt x="90" y="114"/>
                  </a:lnTo>
                  <a:lnTo>
                    <a:pt x="93" y="114"/>
                  </a:lnTo>
                  <a:lnTo>
                    <a:pt x="96" y="114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9" y="108"/>
                  </a:lnTo>
                  <a:lnTo>
                    <a:pt x="99" y="105"/>
                  </a:lnTo>
                  <a:lnTo>
                    <a:pt x="99" y="102"/>
                  </a:lnTo>
                  <a:lnTo>
                    <a:pt x="99" y="99"/>
                  </a:lnTo>
                  <a:lnTo>
                    <a:pt x="102" y="99"/>
                  </a:lnTo>
                  <a:lnTo>
                    <a:pt x="105" y="99"/>
                  </a:lnTo>
                  <a:lnTo>
                    <a:pt x="105" y="102"/>
                  </a:lnTo>
                  <a:lnTo>
                    <a:pt x="105" y="99"/>
                  </a:lnTo>
                  <a:lnTo>
                    <a:pt x="108" y="99"/>
                  </a:lnTo>
                  <a:lnTo>
                    <a:pt x="111" y="102"/>
                  </a:lnTo>
                  <a:lnTo>
                    <a:pt x="111" y="99"/>
                  </a:lnTo>
                  <a:lnTo>
                    <a:pt x="114" y="99"/>
                  </a:lnTo>
                  <a:lnTo>
                    <a:pt x="114" y="96"/>
                  </a:lnTo>
                  <a:lnTo>
                    <a:pt x="117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7" y="93"/>
                  </a:lnTo>
                  <a:lnTo>
                    <a:pt x="117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87"/>
                  </a:lnTo>
                  <a:lnTo>
                    <a:pt x="126" y="87"/>
                  </a:lnTo>
                  <a:lnTo>
                    <a:pt x="126" y="84"/>
                  </a:lnTo>
                  <a:lnTo>
                    <a:pt x="129" y="84"/>
                  </a:lnTo>
                  <a:lnTo>
                    <a:pt x="129" y="81"/>
                  </a:lnTo>
                  <a:lnTo>
                    <a:pt x="129" y="78"/>
                  </a:lnTo>
                  <a:lnTo>
                    <a:pt x="129" y="75"/>
                  </a:lnTo>
                  <a:lnTo>
                    <a:pt x="132" y="75"/>
                  </a:lnTo>
                  <a:lnTo>
                    <a:pt x="135" y="75"/>
                  </a:lnTo>
                  <a:lnTo>
                    <a:pt x="135" y="72"/>
                  </a:lnTo>
                  <a:lnTo>
                    <a:pt x="138" y="72"/>
                  </a:lnTo>
                  <a:lnTo>
                    <a:pt x="138" y="69"/>
                  </a:lnTo>
                  <a:lnTo>
                    <a:pt x="138" y="66"/>
                  </a:lnTo>
                  <a:lnTo>
                    <a:pt x="138" y="63"/>
                  </a:lnTo>
                  <a:lnTo>
                    <a:pt x="141" y="63"/>
                  </a:lnTo>
                  <a:lnTo>
                    <a:pt x="144" y="60"/>
                  </a:lnTo>
                  <a:lnTo>
                    <a:pt x="147" y="60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50" y="51"/>
                  </a:lnTo>
                  <a:lnTo>
                    <a:pt x="153" y="51"/>
                  </a:lnTo>
                  <a:lnTo>
                    <a:pt x="153" y="48"/>
                  </a:lnTo>
                  <a:lnTo>
                    <a:pt x="156" y="48"/>
                  </a:lnTo>
                  <a:lnTo>
                    <a:pt x="156" y="45"/>
                  </a:lnTo>
                  <a:lnTo>
                    <a:pt x="159" y="45"/>
                  </a:lnTo>
                  <a:lnTo>
                    <a:pt x="162" y="42"/>
                  </a:lnTo>
                  <a:lnTo>
                    <a:pt x="165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4" y="42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2" y="36"/>
                  </a:lnTo>
                  <a:lnTo>
                    <a:pt x="195" y="36"/>
                  </a:lnTo>
                  <a:lnTo>
                    <a:pt x="198" y="36"/>
                  </a:lnTo>
                  <a:lnTo>
                    <a:pt x="201" y="33"/>
                  </a:lnTo>
                  <a:lnTo>
                    <a:pt x="204" y="33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30"/>
                  </a:lnTo>
                  <a:lnTo>
                    <a:pt x="213" y="30"/>
                  </a:lnTo>
                  <a:lnTo>
                    <a:pt x="213" y="27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6" y="18"/>
                  </a:lnTo>
                  <a:lnTo>
                    <a:pt x="216" y="15"/>
                  </a:lnTo>
                  <a:lnTo>
                    <a:pt x="219" y="15"/>
                  </a:lnTo>
                  <a:lnTo>
                    <a:pt x="219" y="12"/>
                  </a:lnTo>
                  <a:lnTo>
                    <a:pt x="219" y="9"/>
                  </a:lnTo>
                  <a:lnTo>
                    <a:pt x="222" y="9"/>
                  </a:lnTo>
                  <a:lnTo>
                    <a:pt x="225" y="9"/>
                  </a:lnTo>
                  <a:lnTo>
                    <a:pt x="228" y="9"/>
                  </a:lnTo>
                  <a:lnTo>
                    <a:pt x="231" y="9"/>
                  </a:lnTo>
                  <a:lnTo>
                    <a:pt x="234" y="6"/>
                  </a:lnTo>
                  <a:lnTo>
                    <a:pt x="237" y="6"/>
                  </a:lnTo>
                  <a:lnTo>
                    <a:pt x="240" y="6"/>
                  </a:lnTo>
                  <a:lnTo>
                    <a:pt x="243" y="6"/>
                  </a:lnTo>
                  <a:lnTo>
                    <a:pt x="246" y="9"/>
                  </a:lnTo>
                  <a:lnTo>
                    <a:pt x="246" y="6"/>
                  </a:lnTo>
                  <a:lnTo>
                    <a:pt x="246" y="9"/>
                  </a:lnTo>
                  <a:lnTo>
                    <a:pt x="249" y="6"/>
                  </a:lnTo>
                  <a:lnTo>
                    <a:pt x="252" y="6"/>
                  </a:lnTo>
                  <a:lnTo>
                    <a:pt x="255" y="6"/>
                  </a:lnTo>
                  <a:lnTo>
                    <a:pt x="258" y="6"/>
                  </a:lnTo>
                  <a:lnTo>
                    <a:pt x="261" y="6"/>
                  </a:lnTo>
                  <a:lnTo>
                    <a:pt x="261" y="3"/>
                  </a:lnTo>
                  <a:lnTo>
                    <a:pt x="264" y="3"/>
                  </a:lnTo>
                  <a:lnTo>
                    <a:pt x="267" y="3"/>
                  </a:lnTo>
                  <a:lnTo>
                    <a:pt x="270" y="3"/>
                  </a:lnTo>
                  <a:lnTo>
                    <a:pt x="273" y="0"/>
                  </a:lnTo>
                  <a:lnTo>
                    <a:pt x="273" y="3"/>
                  </a:lnTo>
                  <a:lnTo>
                    <a:pt x="276" y="3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9"/>
                  </a:lnTo>
                  <a:lnTo>
                    <a:pt x="300" y="9"/>
                  </a:lnTo>
                  <a:lnTo>
                    <a:pt x="303" y="9"/>
                  </a:lnTo>
                  <a:lnTo>
                    <a:pt x="303" y="12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12" y="18"/>
                  </a:lnTo>
                  <a:lnTo>
                    <a:pt x="315" y="18"/>
                  </a:lnTo>
                  <a:lnTo>
                    <a:pt x="318" y="18"/>
                  </a:lnTo>
                  <a:lnTo>
                    <a:pt x="321" y="15"/>
                  </a:lnTo>
                  <a:lnTo>
                    <a:pt x="321" y="18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18"/>
                  </a:lnTo>
                  <a:lnTo>
                    <a:pt x="342" y="18"/>
                  </a:lnTo>
                  <a:lnTo>
                    <a:pt x="345" y="18"/>
                  </a:lnTo>
                  <a:lnTo>
                    <a:pt x="348" y="18"/>
                  </a:lnTo>
                  <a:lnTo>
                    <a:pt x="348" y="21"/>
                  </a:lnTo>
                  <a:lnTo>
                    <a:pt x="348" y="18"/>
                  </a:lnTo>
                  <a:lnTo>
                    <a:pt x="351" y="18"/>
                  </a:lnTo>
                  <a:lnTo>
                    <a:pt x="354" y="21"/>
                  </a:lnTo>
                  <a:lnTo>
                    <a:pt x="354" y="18"/>
                  </a:lnTo>
                  <a:lnTo>
                    <a:pt x="357" y="18"/>
                  </a:lnTo>
                  <a:lnTo>
                    <a:pt x="360" y="18"/>
                  </a:lnTo>
                  <a:lnTo>
                    <a:pt x="363" y="18"/>
                  </a:lnTo>
                  <a:lnTo>
                    <a:pt x="366" y="18"/>
                  </a:lnTo>
                  <a:lnTo>
                    <a:pt x="369" y="18"/>
                  </a:lnTo>
                  <a:lnTo>
                    <a:pt x="369" y="15"/>
                  </a:lnTo>
                  <a:lnTo>
                    <a:pt x="372" y="15"/>
                  </a:lnTo>
                  <a:lnTo>
                    <a:pt x="375" y="18"/>
                  </a:lnTo>
                  <a:lnTo>
                    <a:pt x="378" y="15"/>
                  </a:lnTo>
                  <a:lnTo>
                    <a:pt x="378" y="18"/>
                  </a:lnTo>
                  <a:lnTo>
                    <a:pt x="381" y="18"/>
                  </a:lnTo>
                  <a:lnTo>
                    <a:pt x="384" y="18"/>
                  </a:lnTo>
                  <a:lnTo>
                    <a:pt x="387" y="18"/>
                  </a:lnTo>
                  <a:lnTo>
                    <a:pt x="387" y="21"/>
                  </a:lnTo>
                  <a:lnTo>
                    <a:pt x="390" y="21"/>
                  </a:lnTo>
                  <a:lnTo>
                    <a:pt x="393" y="21"/>
                  </a:lnTo>
                  <a:lnTo>
                    <a:pt x="396" y="21"/>
                  </a:lnTo>
                  <a:lnTo>
                    <a:pt x="396" y="18"/>
                  </a:lnTo>
                  <a:lnTo>
                    <a:pt x="399" y="18"/>
                  </a:lnTo>
                  <a:lnTo>
                    <a:pt x="399" y="21"/>
                  </a:lnTo>
                  <a:lnTo>
                    <a:pt x="402" y="21"/>
                  </a:lnTo>
                  <a:lnTo>
                    <a:pt x="402" y="24"/>
                  </a:lnTo>
                  <a:lnTo>
                    <a:pt x="405" y="24"/>
                  </a:lnTo>
                  <a:lnTo>
                    <a:pt x="405" y="21"/>
                  </a:lnTo>
                  <a:lnTo>
                    <a:pt x="408" y="24"/>
                  </a:lnTo>
                  <a:lnTo>
                    <a:pt x="408" y="27"/>
                  </a:lnTo>
                  <a:lnTo>
                    <a:pt x="411" y="27"/>
                  </a:lnTo>
                  <a:lnTo>
                    <a:pt x="411" y="30"/>
                  </a:lnTo>
                  <a:lnTo>
                    <a:pt x="411" y="33"/>
                  </a:lnTo>
                  <a:lnTo>
                    <a:pt x="414" y="36"/>
                  </a:lnTo>
                  <a:lnTo>
                    <a:pt x="414" y="39"/>
                  </a:lnTo>
                  <a:lnTo>
                    <a:pt x="414" y="42"/>
                  </a:lnTo>
                  <a:lnTo>
                    <a:pt x="417" y="54"/>
                  </a:lnTo>
                  <a:lnTo>
                    <a:pt x="423" y="66"/>
                  </a:lnTo>
                  <a:lnTo>
                    <a:pt x="426" y="81"/>
                  </a:lnTo>
                  <a:lnTo>
                    <a:pt x="429" y="84"/>
                  </a:lnTo>
                  <a:lnTo>
                    <a:pt x="429" y="87"/>
                  </a:lnTo>
                  <a:lnTo>
                    <a:pt x="429" y="90"/>
                  </a:lnTo>
                  <a:lnTo>
                    <a:pt x="432" y="93"/>
                  </a:lnTo>
                  <a:lnTo>
                    <a:pt x="432" y="99"/>
                  </a:lnTo>
                  <a:lnTo>
                    <a:pt x="432" y="111"/>
                  </a:lnTo>
                  <a:lnTo>
                    <a:pt x="432" y="120"/>
                  </a:lnTo>
                  <a:lnTo>
                    <a:pt x="432" y="123"/>
                  </a:lnTo>
                  <a:lnTo>
                    <a:pt x="435" y="129"/>
                  </a:lnTo>
                  <a:lnTo>
                    <a:pt x="438" y="132"/>
                  </a:lnTo>
                  <a:lnTo>
                    <a:pt x="441" y="135"/>
                  </a:lnTo>
                  <a:lnTo>
                    <a:pt x="444" y="138"/>
                  </a:lnTo>
                  <a:lnTo>
                    <a:pt x="444" y="141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3"/>
                  </a:lnTo>
                  <a:lnTo>
                    <a:pt x="447" y="156"/>
                  </a:lnTo>
                  <a:lnTo>
                    <a:pt x="450" y="162"/>
                  </a:lnTo>
                  <a:lnTo>
                    <a:pt x="453" y="165"/>
                  </a:lnTo>
                  <a:lnTo>
                    <a:pt x="459" y="168"/>
                  </a:lnTo>
                  <a:lnTo>
                    <a:pt x="459" y="171"/>
                  </a:lnTo>
                  <a:lnTo>
                    <a:pt x="456" y="171"/>
                  </a:lnTo>
                  <a:lnTo>
                    <a:pt x="453" y="171"/>
                  </a:lnTo>
                  <a:lnTo>
                    <a:pt x="450" y="171"/>
                  </a:lnTo>
                  <a:lnTo>
                    <a:pt x="447" y="171"/>
                  </a:lnTo>
                  <a:lnTo>
                    <a:pt x="447" y="174"/>
                  </a:lnTo>
                  <a:lnTo>
                    <a:pt x="447" y="177"/>
                  </a:lnTo>
                  <a:lnTo>
                    <a:pt x="444" y="177"/>
                  </a:lnTo>
                  <a:lnTo>
                    <a:pt x="441" y="177"/>
                  </a:lnTo>
                  <a:lnTo>
                    <a:pt x="441" y="174"/>
                  </a:lnTo>
                  <a:lnTo>
                    <a:pt x="438" y="174"/>
                  </a:lnTo>
                  <a:lnTo>
                    <a:pt x="435" y="174"/>
                  </a:lnTo>
                  <a:lnTo>
                    <a:pt x="435" y="177"/>
                  </a:lnTo>
                  <a:lnTo>
                    <a:pt x="432" y="174"/>
                  </a:lnTo>
                  <a:lnTo>
                    <a:pt x="432" y="177"/>
                  </a:lnTo>
                  <a:lnTo>
                    <a:pt x="429" y="177"/>
                  </a:lnTo>
                  <a:lnTo>
                    <a:pt x="426" y="174"/>
                  </a:lnTo>
                  <a:lnTo>
                    <a:pt x="423" y="174"/>
                  </a:lnTo>
                  <a:lnTo>
                    <a:pt x="423" y="177"/>
                  </a:lnTo>
                  <a:lnTo>
                    <a:pt x="420" y="177"/>
                  </a:lnTo>
                  <a:lnTo>
                    <a:pt x="417" y="177"/>
                  </a:lnTo>
                  <a:lnTo>
                    <a:pt x="414" y="180"/>
                  </a:lnTo>
                  <a:lnTo>
                    <a:pt x="411" y="180"/>
                  </a:lnTo>
                  <a:lnTo>
                    <a:pt x="408" y="180"/>
                  </a:lnTo>
                  <a:lnTo>
                    <a:pt x="411" y="183"/>
                  </a:lnTo>
                  <a:lnTo>
                    <a:pt x="417" y="183"/>
                  </a:lnTo>
                  <a:lnTo>
                    <a:pt x="426" y="180"/>
                  </a:lnTo>
                  <a:lnTo>
                    <a:pt x="426" y="186"/>
                  </a:lnTo>
                  <a:lnTo>
                    <a:pt x="423" y="189"/>
                  </a:lnTo>
                  <a:lnTo>
                    <a:pt x="420" y="189"/>
                  </a:lnTo>
                  <a:lnTo>
                    <a:pt x="423" y="195"/>
                  </a:lnTo>
                  <a:lnTo>
                    <a:pt x="423" y="201"/>
                  </a:lnTo>
                  <a:lnTo>
                    <a:pt x="417" y="204"/>
                  </a:lnTo>
                  <a:lnTo>
                    <a:pt x="417" y="207"/>
                  </a:lnTo>
                  <a:lnTo>
                    <a:pt x="414" y="210"/>
                  </a:lnTo>
                  <a:lnTo>
                    <a:pt x="420" y="213"/>
                  </a:lnTo>
                  <a:lnTo>
                    <a:pt x="417" y="216"/>
                  </a:lnTo>
                  <a:lnTo>
                    <a:pt x="426" y="216"/>
                  </a:lnTo>
                  <a:lnTo>
                    <a:pt x="423" y="219"/>
                  </a:lnTo>
                  <a:lnTo>
                    <a:pt x="420" y="219"/>
                  </a:lnTo>
                  <a:lnTo>
                    <a:pt x="423" y="222"/>
                  </a:lnTo>
                  <a:lnTo>
                    <a:pt x="426" y="225"/>
                  </a:lnTo>
                  <a:lnTo>
                    <a:pt x="429" y="228"/>
                  </a:lnTo>
                  <a:lnTo>
                    <a:pt x="435" y="228"/>
                  </a:lnTo>
                  <a:lnTo>
                    <a:pt x="435" y="231"/>
                  </a:lnTo>
                  <a:lnTo>
                    <a:pt x="435" y="234"/>
                  </a:lnTo>
                  <a:lnTo>
                    <a:pt x="432" y="234"/>
                  </a:lnTo>
                  <a:lnTo>
                    <a:pt x="429" y="234"/>
                  </a:lnTo>
                  <a:lnTo>
                    <a:pt x="429" y="237"/>
                  </a:lnTo>
                  <a:lnTo>
                    <a:pt x="426" y="237"/>
                  </a:lnTo>
                  <a:lnTo>
                    <a:pt x="423" y="240"/>
                  </a:lnTo>
                  <a:lnTo>
                    <a:pt x="417" y="240"/>
                  </a:lnTo>
                  <a:lnTo>
                    <a:pt x="414" y="240"/>
                  </a:lnTo>
                  <a:lnTo>
                    <a:pt x="414" y="243"/>
                  </a:lnTo>
                  <a:lnTo>
                    <a:pt x="414" y="246"/>
                  </a:lnTo>
                  <a:lnTo>
                    <a:pt x="414" y="249"/>
                  </a:lnTo>
                  <a:lnTo>
                    <a:pt x="417" y="249"/>
                  </a:lnTo>
                  <a:lnTo>
                    <a:pt x="417" y="252"/>
                  </a:lnTo>
                  <a:lnTo>
                    <a:pt x="420" y="252"/>
                  </a:lnTo>
                  <a:lnTo>
                    <a:pt x="423" y="252"/>
                  </a:lnTo>
                  <a:lnTo>
                    <a:pt x="423" y="255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3" y="261"/>
                  </a:lnTo>
                  <a:lnTo>
                    <a:pt x="420" y="261"/>
                  </a:lnTo>
                  <a:lnTo>
                    <a:pt x="417" y="261"/>
                  </a:lnTo>
                  <a:lnTo>
                    <a:pt x="414" y="261"/>
                  </a:lnTo>
                  <a:lnTo>
                    <a:pt x="411" y="261"/>
                  </a:lnTo>
                  <a:lnTo>
                    <a:pt x="411" y="264"/>
                  </a:lnTo>
                  <a:lnTo>
                    <a:pt x="408" y="264"/>
                  </a:lnTo>
                  <a:lnTo>
                    <a:pt x="408" y="261"/>
                  </a:lnTo>
                  <a:lnTo>
                    <a:pt x="405" y="261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2" y="267"/>
                  </a:lnTo>
                  <a:lnTo>
                    <a:pt x="399" y="267"/>
                  </a:lnTo>
                  <a:lnTo>
                    <a:pt x="399" y="264"/>
                  </a:lnTo>
                  <a:lnTo>
                    <a:pt x="396" y="264"/>
                  </a:lnTo>
                  <a:lnTo>
                    <a:pt x="396" y="261"/>
                  </a:lnTo>
                  <a:lnTo>
                    <a:pt x="402" y="261"/>
                  </a:lnTo>
                  <a:lnTo>
                    <a:pt x="405" y="261"/>
                  </a:lnTo>
                  <a:lnTo>
                    <a:pt x="408" y="261"/>
                  </a:lnTo>
                  <a:lnTo>
                    <a:pt x="408" y="255"/>
                  </a:lnTo>
                  <a:lnTo>
                    <a:pt x="405" y="255"/>
                  </a:lnTo>
                  <a:lnTo>
                    <a:pt x="402" y="255"/>
                  </a:lnTo>
                  <a:lnTo>
                    <a:pt x="402" y="252"/>
                  </a:lnTo>
                  <a:lnTo>
                    <a:pt x="402" y="249"/>
                  </a:lnTo>
                  <a:lnTo>
                    <a:pt x="396" y="249"/>
                  </a:lnTo>
                  <a:lnTo>
                    <a:pt x="393" y="249"/>
                  </a:lnTo>
                  <a:lnTo>
                    <a:pt x="396" y="246"/>
                  </a:lnTo>
                  <a:lnTo>
                    <a:pt x="393" y="246"/>
                  </a:lnTo>
                  <a:lnTo>
                    <a:pt x="393" y="243"/>
                  </a:lnTo>
                  <a:lnTo>
                    <a:pt x="396" y="243"/>
                  </a:lnTo>
                  <a:lnTo>
                    <a:pt x="390" y="243"/>
                  </a:lnTo>
                  <a:lnTo>
                    <a:pt x="390" y="240"/>
                  </a:lnTo>
                  <a:lnTo>
                    <a:pt x="390" y="237"/>
                  </a:lnTo>
                  <a:lnTo>
                    <a:pt x="396" y="237"/>
                  </a:lnTo>
                  <a:lnTo>
                    <a:pt x="399" y="237"/>
                  </a:lnTo>
                  <a:lnTo>
                    <a:pt x="399" y="234"/>
                  </a:lnTo>
                  <a:lnTo>
                    <a:pt x="399" y="231"/>
                  </a:lnTo>
                  <a:lnTo>
                    <a:pt x="399" y="228"/>
                  </a:lnTo>
                  <a:lnTo>
                    <a:pt x="396" y="228"/>
                  </a:lnTo>
                  <a:lnTo>
                    <a:pt x="393" y="228"/>
                  </a:lnTo>
                  <a:lnTo>
                    <a:pt x="390" y="228"/>
                  </a:lnTo>
                  <a:lnTo>
                    <a:pt x="390" y="225"/>
                  </a:lnTo>
                  <a:lnTo>
                    <a:pt x="387" y="225"/>
                  </a:lnTo>
                  <a:lnTo>
                    <a:pt x="384" y="225"/>
                  </a:lnTo>
                  <a:lnTo>
                    <a:pt x="381" y="225"/>
                  </a:lnTo>
                  <a:lnTo>
                    <a:pt x="381" y="219"/>
                  </a:lnTo>
                  <a:lnTo>
                    <a:pt x="378" y="219"/>
                  </a:lnTo>
                  <a:lnTo>
                    <a:pt x="375" y="222"/>
                  </a:lnTo>
                  <a:lnTo>
                    <a:pt x="369" y="219"/>
                  </a:lnTo>
                  <a:lnTo>
                    <a:pt x="366" y="216"/>
                  </a:lnTo>
                  <a:lnTo>
                    <a:pt x="366" y="213"/>
                  </a:lnTo>
                  <a:lnTo>
                    <a:pt x="363" y="216"/>
                  </a:lnTo>
                  <a:lnTo>
                    <a:pt x="363" y="219"/>
                  </a:lnTo>
                  <a:lnTo>
                    <a:pt x="363" y="222"/>
                  </a:lnTo>
                  <a:lnTo>
                    <a:pt x="363" y="219"/>
                  </a:lnTo>
                  <a:lnTo>
                    <a:pt x="360" y="219"/>
                  </a:lnTo>
                  <a:lnTo>
                    <a:pt x="360" y="222"/>
                  </a:lnTo>
                  <a:lnTo>
                    <a:pt x="357" y="222"/>
                  </a:lnTo>
                  <a:lnTo>
                    <a:pt x="354" y="222"/>
                  </a:lnTo>
                  <a:lnTo>
                    <a:pt x="351" y="222"/>
                  </a:lnTo>
                  <a:lnTo>
                    <a:pt x="351" y="228"/>
                  </a:lnTo>
                  <a:lnTo>
                    <a:pt x="348" y="234"/>
                  </a:lnTo>
                  <a:lnTo>
                    <a:pt x="342" y="228"/>
                  </a:lnTo>
                  <a:lnTo>
                    <a:pt x="336" y="228"/>
                  </a:lnTo>
                  <a:lnTo>
                    <a:pt x="333" y="225"/>
                  </a:lnTo>
                  <a:lnTo>
                    <a:pt x="330" y="225"/>
                  </a:lnTo>
                  <a:lnTo>
                    <a:pt x="330" y="228"/>
                  </a:lnTo>
                  <a:lnTo>
                    <a:pt x="327" y="228"/>
                  </a:lnTo>
                  <a:lnTo>
                    <a:pt x="327" y="231"/>
                  </a:lnTo>
                  <a:lnTo>
                    <a:pt x="327" y="234"/>
                  </a:lnTo>
                  <a:lnTo>
                    <a:pt x="324" y="234"/>
                  </a:lnTo>
                  <a:lnTo>
                    <a:pt x="324" y="237"/>
                  </a:lnTo>
                  <a:lnTo>
                    <a:pt x="324" y="234"/>
                  </a:lnTo>
                  <a:lnTo>
                    <a:pt x="321" y="234"/>
                  </a:lnTo>
                  <a:lnTo>
                    <a:pt x="321" y="237"/>
                  </a:lnTo>
                  <a:lnTo>
                    <a:pt x="318" y="237"/>
                  </a:lnTo>
                  <a:lnTo>
                    <a:pt x="318" y="240"/>
                  </a:lnTo>
                  <a:lnTo>
                    <a:pt x="315" y="240"/>
                  </a:lnTo>
                  <a:lnTo>
                    <a:pt x="315" y="243"/>
                  </a:lnTo>
                  <a:lnTo>
                    <a:pt x="312" y="243"/>
                  </a:lnTo>
                  <a:lnTo>
                    <a:pt x="312" y="246"/>
                  </a:lnTo>
                  <a:lnTo>
                    <a:pt x="309" y="246"/>
                  </a:lnTo>
                  <a:lnTo>
                    <a:pt x="309" y="249"/>
                  </a:lnTo>
                  <a:lnTo>
                    <a:pt x="306" y="249"/>
                  </a:lnTo>
                  <a:lnTo>
                    <a:pt x="306" y="252"/>
                  </a:lnTo>
                  <a:lnTo>
                    <a:pt x="303" y="252"/>
                  </a:lnTo>
                  <a:lnTo>
                    <a:pt x="303" y="255"/>
                  </a:lnTo>
                  <a:lnTo>
                    <a:pt x="300" y="255"/>
                  </a:lnTo>
                  <a:lnTo>
                    <a:pt x="300" y="258"/>
                  </a:lnTo>
                  <a:lnTo>
                    <a:pt x="297" y="258"/>
                  </a:lnTo>
                  <a:lnTo>
                    <a:pt x="294" y="255"/>
                  </a:lnTo>
                  <a:lnTo>
                    <a:pt x="294" y="258"/>
                  </a:lnTo>
                  <a:lnTo>
                    <a:pt x="291" y="261"/>
                  </a:lnTo>
                  <a:lnTo>
                    <a:pt x="291" y="264"/>
                  </a:lnTo>
                  <a:lnTo>
                    <a:pt x="288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2" y="267"/>
                  </a:lnTo>
                  <a:lnTo>
                    <a:pt x="282" y="270"/>
                  </a:lnTo>
                  <a:lnTo>
                    <a:pt x="282" y="273"/>
                  </a:lnTo>
                  <a:lnTo>
                    <a:pt x="279" y="273"/>
                  </a:lnTo>
                  <a:lnTo>
                    <a:pt x="276" y="273"/>
                  </a:lnTo>
                  <a:lnTo>
                    <a:pt x="273" y="273"/>
                  </a:lnTo>
                  <a:lnTo>
                    <a:pt x="270" y="270"/>
                  </a:lnTo>
                  <a:lnTo>
                    <a:pt x="270" y="273"/>
                  </a:lnTo>
                  <a:lnTo>
                    <a:pt x="267" y="273"/>
                  </a:lnTo>
                  <a:lnTo>
                    <a:pt x="264" y="273"/>
                  </a:lnTo>
                  <a:lnTo>
                    <a:pt x="264" y="276"/>
                  </a:lnTo>
                  <a:lnTo>
                    <a:pt x="258" y="276"/>
                  </a:lnTo>
                  <a:lnTo>
                    <a:pt x="258" y="273"/>
                  </a:lnTo>
                  <a:lnTo>
                    <a:pt x="255" y="273"/>
                  </a:lnTo>
                  <a:lnTo>
                    <a:pt x="255" y="270"/>
                  </a:lnTo>
                  <a:lnTo>
                    <a:pt x="258" y="270"/>
                  </a:lnTo>
                  <a:lnTo>
                    <a:pt x="255" y="267"/>
                  </a:lnTo>
                  <a:lnTo>
                    <a:pt x="255" y="264"/>
                  </a:lnTo>
                  <a:lnTo>
                    <a:pt x="252" y="264"/>
                  </a:lnTo>
                  <a:lnTo>
                    <a:pt x="249" y="264"/>
                  </a:lnTo>
                  <a:lnTo>
                    <a:pt x="249" y="261"/>
                  </a:lnTo>
                  <a:lnTo>
                    <a:pt x="252" y="261"/>
                  </a:lnTo>
                  <a:lnTo>
                    <a:pt x="252" y="258"/>
                  </a:lnTo>
                  <a:lnTo>
                    <a:pt x="249" y="258"/>
                  </a:lnTo>
                  <a:lnTo>
                    <a:pt x="252" y="255"/>
                  </a:lnTo>
                  <a:lnTo>
                    <a:pt x="249" y="249"/>
                  </a:lnTo>
                  <a:lnTo>
                    <a:pt x="252" y="252"/>
                  </a:lnTo>
                  <a:lnTo>
                    <a:pt x="252" y="249"/>
                  </a:lnTo>
                  <a:lnTo>
                    <a:pt x="255" y="249"/>
                  </a:lnTo>
                  <a:lnTo>
                    <a:pt x="255" y="246"/>
                  </a:lnTo>
                  <a:lnTo>
                    <a:pt x="255" y="243"/>
                  </a:lnTo>
                  <a:lnTo>
                    <a:pt x="252" y="243"/>
                  </a:lnTo>
                  <a:lnTo>
                    <a:pt x="252" y="240"/>
                  </a:lnTo>
                  <a:lnTo>
                    <a:pt x="255" y="240"/>
                  </a:lnTo>
                  <a:lnTo>
                    <a:pt x="252" y="240"/>
                  </a:lnTo>
                  <a:lnTo>
                    <a:pt x="249" y="243"/>
                  </a:lnTo>
                  <a:lnTo>
                    <a:pt x="246" y="246"/>
                  </a:lnTo>
                  <a:lnTo>
                    <a:pt x="246" y="243"/>
                  </a:lnTo>
                  <a:lnTo>
                    <a:pt x="243" y="246"/>
                  </a:lnTo>
                  <a:lnTo>
                    <a:pt x="240" y="246"/>
                  </a:lnTo>
                  <a:lnTo>
                    <a:pt x="237" y="246"/>
                  </a:lnTo>
                  <a:lnTo>
                    <a:pt x="237" y="249"/>
                  </a:lnTo>
                  <a:lnTo>
                    <a:pt x="234" y="255"/>
                  </a:lnTo>
                  <a:lnTo>
                    <a:pt x="231" y="255"/>
                  </a:lnTo>
                  <a:lnTo>
                    <a:pt x="234" y="255"/>
                  </a:lnTo>
                  <a:lnTo>
                    <a:pt x="234" y="258"/>
                  </a:lnTo>
                  <a:lnTo>
                    <a:pt x="231" y="258"/>
                  </a:lnTo>
                  <a:lnTo>
                    <a:pt x="225" y="261"/>
                  </a:lnTo>
                  <a:lnTo>
                    <a:pt x="225" y="258"/>
                  </a:lnTo>
                  <a:lnTo>
                    <a:pt x="222" y="258"/>
                  </a:lnTo>
                  <a:lnTo>
                    <a:pt x="222" y="255"/>
                  </a:lnTo>
                  <a:lnTo>
                    <a:pt x="216" y="255"/>
                  </a:lnTo>
                  <a:lnTo>
                    <a:pt x="213" y="255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4" y="258"/>
                  </a:lnTo>
                  <a:lnTo>
                    <a:pt x="204" y="255"/>
                  </a:lnTo>
                  <a:lnTo>
                    <a:pt x="201" y="255"/>
                  </a:lnTo>
                  <a:lnTo>
                    <a:pt x="198" y="255"/>
                  </a:lnTo>
                  <a:lnTo>
                    <a:pt x="195" y="261"/>
                  </a:lnTo>
                  <a:lnTo>
                    <a:pt x="192" y="261"/>
                  </a:lnTo>
                  <a:lnTo>
                    <a:pt x="189" y="261"/>
                  </a:lnTo>
                  <a:lnTo>
                    <a:pt x="186" y="261"/>
                  </a:lnTo>
                  <a:lnTo>
                    <a:pt x="186" y="264"/>
                  </a:lnTo>
                  <a:lnTo>
                    <a:pt x="183" y="264"/>
                  </a:lnTo>
                  <a:lnTo>
                    <a:pt x="186" y="270"/>
                  </a:lnTo>
                  <a:lnTo>
                    <a:pt x="180" y="270"/>
                  </a:lnTo>
                  <a:lnTo>
                    <a:pt x="177" y="273"/>
                  </a:lnTo>
                  <a:lnTo>
                    <a:pt x="174" y="273"/>
                  </a:lnTo>
                  <a:lnTo>
                    <a:pt x="174" y="276"/>
                  </a:lnTo>
                  <a:lnTo>
                    <a:pt x="171" y="276"/>
                  </a:lnTo>
                  <a:lnTo>
                    <a:pt x="168" y="276"/>
                  </a:lnTo>
                  <a:lnTo>
                    <a:pt x="165" y="279"/>
                  </a:lnTo>
                  <a:lnTo>
                    <a:pt x="168" y="282"/>
                  </a:lnTo>
                  <a:lnTo>
                    <a:pt x="165" y="285"/>
                  </a:lnTo>
                  <a:lnTo>
                    <a:pt x="171" y="282"/>
                  </a:lnTo>
                  <a:lnTo>
                    <a:pt x="174" y="282"/>
                  </a:lnTo>
                  <a:lnTo>
                    <a:pt x="177" y="282"/>
                  </a:lnTo>
                  <a:lnTo>
                    <a:pt x="177" y="279"/>
                  </a:lnTo>
                  <a:lnTo>
                    <a:pt x="180" y="279"/>
                  </a:lnTo>
                  <a:lnTo>
                    <a:pt x="183" y="276"/>
                  </a:lnTo>
                  <a:lnTo>
                    <a:pt x="189" y="276"/>
                  </a:lnTo>
                  <a:lnTo>
                    <a:pt x="186" y="279"/>
                  </a:lnTo>
                  <a:lnTo>
                    <a:pt x="186" y="282"/>
                  </a:lnTo>
                  <a:lnTo>
                    <a:pt x="189" y="285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6" y="291"/>
                  </a:lnTo>
                  <a:lnTo>
                    <a:pt x="183" y="288"/>
                  </a:lnTo>
                  <a:lnTo>
                    <a:pt x="180" y="288"/>
                  </a:lnTo>
                  <a:lnTo>
                    <a:pt x="177" y="288"/>
                  </a:lnTo>
                  <a:lnTo>
                    <a:pt x="177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65" y="294"/>
                  </a:lnTo>
                  <a:lnTo>
                    <a:pt x="165" y="291"/>
                  </a:lnTo>
                  <a:lnTo>
                    <a:pt x="162" y="291"/>
                  </a:lnTo>
                  <a:lnTo>
                    <a:pt x="159" y="291"/>
                  </a:lnTo>
                  <a:lnTo>
                    <a:pt x="159" y="294"/>
                  </a:lnTo>
                  <a:lnTo>
                    <a:pt x="159" y="291"/>
                  </a:lnTo>
                  <a:lnTo>
                    <a:pt x="156" y="288"/>
                  </a:lnTo>
                  <a:lnTo>
                    <a:pt x="156" y="285"/>
                  </a:lnTo>
                  <a:lnTo>
                    <a:pt x="153" y="285"/>
                  </a:lnTo>
                  <a:lnTo>
                    <a:pt x="150" y="282"/>
                  </a:lnTo>
                  <a:lnTo>
                    <a:pt x="147" y="282"/>
                  </a:lnTo>
                  <a:lnTo>
                    <a:pt x="144" y="282"/>
                  </a:lnTo>
                  <a:lnTo>
                    <a:pt x="144" y="279"/>
                  </a:lnTo>
                  <a:lnTo>
                    <a:pt x="144" y="276"/>
                  </a:lnTo>
                  <a:lnTo>
                    <a:pt x="141" y="279"/>
                  </a:lnTo>
                  <a:lnTo>
                    <a:pt x="141" y="273"/>
                  </a:lnTo>
                  <a:lnTo>
                    <a:pt x="144" y="273"/>
                  </a:lnTo>
                  <a:lnTo>
                    <a:pt x="147" y="273"/>
                  </a:lnTo>
                  <a:lnTo>
                    <a:pt x="147" y="276"/>
                  </a:lnTo>
                  <a:lnTo>
                    <a:pt x="150" y="276"/>
                  </a:lnTo>
                  <a:lnTo>
                    <a:pt x="153" y="276"/>
                  </a:lnTo>
                  <a:lnTo>
                    <a:pt x="153" y="273"/>
                  </a:lnTo>
                  <a:lnTo>
                    <a:pt x="153" y="270"/>
                  </a:lnTo>
                  <a:lnTo>
                    <a:pt x="156" y="270"/>
                  </a:lnTo>
                  <a:lnTo>
                    <a:pt x="156" y="267"/>
                  </a:lnTo>
                  <a:lnTo>
                    <a:pt x="147" y="267"/>
                  </a:lnTo>
                  <a:lnTo>
                    <a:pt x="144" y="264"/>
                  </a:lnTo>
                  <a:lnTo>
                    <a:pt x="141" y="264"/>
                  </a:lnTo>
                  <a:lnTo>
                    <a:pt x="138" y="264"/>
                  </a:lnTo>
                  <a:lnTo>
                    <a:pt x="135" y="264"/>
                  </a:lnTo>
                  <a:lnTo>
                    <a:pt x="132" y="264"/>
                  </a:lnTo>
                  <a:lnTo>
                    <a:pt x="135" y="261"/>
                  </a:lnTo>
                  <a:lnTo>
                    <a:pt x="132" y="261"/>
                  </a:lnTo>
                  <a:lnTo>
                    <a:pt x="129" y="261"/>
                  </a:lnTo>
                  <a:lnTo>
                    <a:pt x="129" y="264"/>
                  </a:lnTo>
                  <a:lnTo>
                    <a:pt x="126" y="264"/>
                  </a:lnTo>
                  <a:lnTo>
                    <a:pt x="123" y="264"/>
                  </a:lnTo>
                  <a:lnTo>
                    <a:pt x="120" y="261"/>
                  </a:lnTo>
                  <a:lnTo>
                    <a:pt x="117" y="261"/>
                  </a:lnTo>
                  <a:lnTo>
                    <a:pt x="114" y="261"/>
                  </a:lnTo>
                  <a:lnTo>
                    <a:pt x="111" y="261"/>
                  </a:lnTo>
                  <a:lnTo>
                    <a:pt x="108" y="264"/>
                  </a:lnTo>
                  <a:lnTo>
                    <a:pt x="102" y="261"/>
                  </a:lnTo>
                  <a:lnTo>
                    <a:pt x="99" y="261"/>
                  </a:lnTo>
                  <a:lnTo>
                    <a:pt x="99" y="264"/>
                  </a:lnTo>
                  <a:lnTo>
                    <a:pt x="99" y="267"/>
                  </a:lnTo>
                  <a:lnTo>
                    <a:pt x="99" y="270"/>
                  </a:lnTo>
                  <a:lnTo>
                    <a:pt x="96" y="270"/>
                  </a:lnTo>
                  <a:lnTo>
                    <a:pt x="96" y="273"/>
                  </a:lnTo>
                  <a:lnTo>
                    <a:pt x="93" y="270"/>
                  </a:lnTo>
                  <a:lnTo>
                    <a:pt x="90" y="270"/>
                  </a:lnTo>
                  <a:lnTo>
                    <a:pt x="87" y="270"/>
                  </a:lnTo>
                  <a:lnTo>
                    <a:pt x="84" y="270"/>
                  </a:lnTo>
                  <a:lnTo>
                    <a:pt x="81" y="270"/>
                  </a:lnTo>
                  <a:lnTo>
                    <a:pt x="78" y="273"/>
                  </a:lnTo>
                  <a:lnTo>
                    <a:pt x="75" y="267"/>
                  </a:lnTo>
                  <a:lnTo>
                    <a:pt x="72" y="267"/>
                  </a:lnTo>
                  <a:lnTo>
                    <a:pt x="69" y="270"/>
                  </a:lnTo>
                  <a:lnTo>
                    <a:pt x="69" y="267"/>
                  </a:lnTo>
                  <a:lnTo>
                    <a:pt x="66" y="267"/>
                  </a:lnTo>
                  <a:lnTo>
                    <a:pt x="66" y="264"/>
                  </a:lnTo>
                  <a:lnTo>
                    <a:pt x="69" y="264"/>
                  </a:lnTo>
                  <a:lnTo>
                    <a:pt x="69" y="261"/>
                  </a:lnTo>
                  <a:lnTo>
                    <a:pt x="66" y="258"/>
                  </a:lnTo>
                  <a:lnTo>
                    <a:pt x="63" y="261"/>
                  </a:lnTo>
                  <a:lnTo>
                    <a:pt x="63" y="258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1" y="237"/>
                  </a:lnTo>
                  <a:lnTo>
                    <a:pt x="48" y="237"/>
                  </a:lnTo>
                  <a:lnTo>
                    <a:pt x="48" y="243"/>
                  </a:lnTo>
                  <a:lnTo>
                    <a:pt x="45" y="243"/>
                  </a:lnTo>
                  <a:lnTo>
                    <a:pt x="42" y="246"/>
                  </a:lnTo>
                  <a:lnTo>
                    <a:pt x="30" y="249"/>
                  </a:lnTo>
                  <a:lnTo>
                    <a:pt x="30" y="252"/>
                  </a:lnTo>
                  <a:lnTo>
                    <a:pt x="27" y="252"/>
                  </a:lnTo>
                  <a:lnTo>
                    <a:pt x="24" y="252"/>
                  </a:lnTo>
                  <a:lnTo>
                    <a:pt x="18" y="246"/>
                  </a:lnTo>
                  <a:lnTo>
                    <a:pt x="18" y="252"/>
                  </a:lnTo>
                  <a:lnTo>
                    <a:pt x="15" y="249"/>
                  </a:lnTo>
                  <a:lnTo>
                    <a:pt x="12" y="249"/>
                  </a:lnTo>
                  <a:lnTo>
                    <a:pt x="12" y="246"/>
                  </a:lnTo>
                  <a:lnTo>
                    <a:pt x="9" y="246"/>
                  </a:lnTo>
                  <a:lnTo>
                    <a:pt x="3" y="246"/>
                  </a:lnTo>
                  <a:lnTo>
                    <a:pt x="6" y="246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6"/>
                  </a:lnTo>
                  <a:lnTo>
                    <a:pt x="3" y="243"/>
                  </a:lnTo>
                  <a:lnTo>
                    <a:pt x="3" y="240"/>
                  </a:lnTo>
                  <a:lnTo>
                    <a:pt x="0" y="240"/>
                  </a:lnTo>
                  <a:lnTo>
                    <a:pt x="0" y="237"/>
                  </a:lnTo>
                  <a:lnTo>
                    <a:pt x="3" y="237"/>
                  </a:lnTo>
                  <a:lnTo>
                    <a:pt x="3" y="234"/>
                  </a:lnTo>
                  <a:lnTo>
                    <a:pt x="0" y="234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0" y="231"/>
                  </a:lnTo>
                  <a:lnTo>
                    <a:pt x="3" y="231"/>
                  </a:lnTo>
                  <a:lnTo>
                    <a:pt x="3" y="228"/>
                  </a:lnTo>
                  <a:lnTo>
                    <a:pt x="6" y="228"/>
                  </a:lnTo>
                  <a:lnTo>
                    <a:pt x="6" y="225"/>
                  </a:lnTo>
                  <a:lnTo>
                    <a:pt x="6" y="222"/>
                  </a:lnTo>
                  <a:lnTo>
                    <a:pt x="9" y="219"/>
                  </a:lnTo>
                  <a:lnTo>
                    <a:pt x="9" y="216"/>
                  </a:lnTo>
                  <a:lnTo>
                    <a:pt x="12" y="216"/>
                  </a:lnTo>
                  <a:lnTo>
                    <a:pt x="12" y="213"/>
                  </a:lnTo>
                  <a:lnTo>
                    <a:pt x="15" y="213"/>
                  </a:lnTo>
                  <a:lnTo>
                    <a:pt x="15" y="210"/>
                  </a:lnTo>
                  <a:lnTo>
                    <a:pt x="18" y="210"/>
                  </a:lnTo>
                  <a:lnTo>
                    <a:pt x="18" y="207"/>
                  </a:lnTo>
                  <a:lnTo>
                    <a:pt x="21" y="207"/>
                  </a:lnTo>
                  <a:lnTo>
                    <a:pt x="21" y="204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7" y="201"/>
                  </a:lnTo>
                  <a:lnTo>
                    <a:pt x="30" y="201"/>
                  </a:lnTo>
                  <a:lnTo>
                    <a:pt x="30" y="198"/>
                  </a:lnTo>
                  <a:lnTo>
                    <a:pt x="33" y="201"/>
                  </a:lnTo>
                  <a:lnTo>
                    <a:pt x="33" y="198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9" y="195"/>
                  </a:lnTo>
                  <a:lnTo>
                    <a:pt x="39" y="192"/>
                  </a:lnTo>
                  <a:lnTo>
                    <a:pt x="39" y="189"/>
                  </a:lnTo>
                  <a:lnTo>
                    <a:pt x="39" y="186"/>
                  </a:lnTo>
                  <a:lnTo>
                    <a:pt x="39" y="183"/>
                  </a:lnTo>
                  <a:lnTo>
                    <a:pt x="39" y="180"/>
                  </a:lnTo>
                  <a:lnTo>
                    <a:pt x="39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5" y="168"/>
                  </a:lnTo>
                  <a:lnTo>
                    <a:pt x="45" y="165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1" y="141"/>
                  </a:lnTo>
                  <a:lnTo>
                    <a:pt x="51" y="138"/>
                  </a:lnTo>
                  <a:lnTo>
                    <a:pt x="51" y="141"/>
                  </a:lnTo>
                  <a:lnTo>
                    <a:pt x="54" y="141"/>
                  </a:lnTo>
                  <a:lnTo>
                    <a:pt x="57" y="141"/>
                  </a:lnTo>
                  <a:lnTo>
                    <a:pt x="57" y="138"/>
                  </a:lnTo>
                  <a:lnTo>
                    <a:pt x="54" y="138"/>
                  </a:lnTo>
                  <a:lnTo>
                    <a:pt x="54" y="135"/>
                  </a:lnTo>
                  <a:lnTo>
                    <a:pt x="57" y="135"/>
                  </a:lnTo>
                  <a:lnTo>
                    <a:pt x="60" y="135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6" y="129"/>
                  </a:lnTo>
                  <a:lnTo>
                    <a:pt x="66" y="126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8" y="120"/>
                  </a:lnTo>
                  <a:lnTo>
                    <a:pt x="78" y="117"/>
                  </a:lnTo>
                  <a:lnTo>
                    <a:pt x="81" y="117"/>
                  </a:lnTo>
                  <a:lnTo>
                    <a:pt x="78" y="117"/>
                  </a:lnTo>
                  <a:lnTo>
                    <a:pt x="78" y="120"/>
                  </a:lnTo>
                  <a:lnTo>
                    <a:pt x="81" y="120"/>
                  </a:lnTo>
                  <a:lnTo>
                    <a:pt x="81" y="117"/>
                  </a:lnTo>
                  <a:lnTo>
                    <a:pt x="84" y="117"/>
                  </a:lnTo>
                  <a:lnTo>
                    <a:pt x="84" y="12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26D96370-8652-40A5-84CA-576E5C33DD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91063" y="2530475"/>
              <a:ext cx="625475" cy="647700"/>
            </a:xfrm>
            <a:custGeom>
              <a:avLst/>
              <a:gdLst>
                <a:gd name="T0" fmla="*/ 536964 w 318"/>
                <a:gd name="T1" fmla="*/ 23553 h 330"/>
                <a:gd name="T2" fmla="*/ 542865 w 318"/>
                <a:gd name="T3" fmla="*/ 17665 h 330"/>
                <a:gd name="T4" fmla="*/ 578269 w 318"/>
                <a:gd name="T5" fmla="*/ 5888 h 330"/>
                <a:gd name="T6" fmla="*/ 607773 w 318"/>
                <a:gd name="T7" fmla="*/ 35329 h 330"/>
                <a:gd name="T8" fmla="*/ 619574 w 318"/>
                <a:gd name="T9" fmla="*/ 105987 h 330"/>
                <a:gd name="T10" fmla="*/ 625475 w 318"/>
                <a:gd name="T11" fmla="*/ 194310 h 330"/>
                <a:gd name="T12" fmla="*/ 619574 w 318"/>
                <a:gd name="T13" fmla="*/ 264968 h 330"/>
                <a:gd name="T14" fmla="*/ 613674 w 318"/>
                <a:gd name="T15" fmla="*/ 329738 h 330"/>
                <a:gd name="T16" fmla="*/ 578269 w 318"/>
                <a:gd name="T17" fmla="*/ 359179 h 330"/>
                <a:gd name="T18" fmla="*/ 477957 w 318"/>
                <a:gd name="T19" fmla="*/ 365067 h 330"/>
                <a:gd name="T20" fmla="*/ 454354 w 318"/>
                <a:gd name="T21" fmla="*/ 412173 h 330"/>
                <a:gd name="T22" fmla="*/ 424851 w 318"/>
                <a:gd name="T23" fmla="*/ 482831 h 330"/>
                <a:gd name="T24" fmla="*/ 436652 w 318"/>
                <a:gd name="T25" fmla="*/ 518160 h 330"/>
                <a:gd name="T26" fmla="*/ 460255 w 318"/>
                <a:gd name="T27" fmla="*/ 565265 h 330"/>
                <a:gd name="T28" fmla="*/ 495659 w 318"/>
                <a:gd name="T29" fmla="*/ 594706 h 330"/>
                <a:gd name="T30" fmla="*/ 460255 w 318"/>
                <a:gd name="T31" fmla="*/ 618259 h 330"/>
                <a:gd name="T32" fmla="*/ 430752 w 318"/>
                <a:gd name="T33" fmla="*/ 618259 h 330"/>
                <a:gd name="T34" fmla="*/ 354042 w 318"/>
                <a:gd name="T35" fmla="*/ 606483 h 330"/>
                <a:gd name="T36" fmla="*/ 318638 w 318"/>
                <a:gd name="T37" fmla="*/ 630035 h 330"/>
                <a:gd name="T38" fmla="*/ 265532 w 318"/>
                <a:gd name="T39" fmla="*/ 624147 h 330"/>
                <a:gd name="T40" fmla="*/ 236028 w 318"/>
                <a:gd name="T41" fmla="*/ 647700 h 330"/>
                <a:gd name="T42" fmla="*/ 212425 w 318"/>
                <a:gd name="T43" fmla="*/ 618259 h 330"/>
                <a:gd name="T44" fmla="*/ 177021 w 318"/>
                <a:gd name="T45" fmla="*/ 588818 h 330"/>
                <a:gd name="T46" fmla="*/ 141617 w 318"/>
                <a:gd name="T47" fmla="*/ 582930 h 330"/>
                <a:gd name="T48" fmla="*/ 129816 w 318"/>
                <a:gd name="T49" fmla="*/ 553489 h 330"/>
                <a:gd name="T50" fmla="*/ 94411 w 318"/>
                <a:gd name="T51" fmla="*/ 559377 h 330"/>
                <a:gd name="T52" fmla="*/ 70808 w 318"/>
                <a:gd name="T53" fmla="*/ 553489 h 330"/>
                <a:gd name="T54" fmla="*/ 47206 w 318"/>
                <a:gd name="T55" fmla="*/ 559377 h 330"/>
                <a:gd name="T56" fmla="*/ 29504 w 318"/>
                <a:gd name="T57" fmla="*/ 553489 h 330"/>
                <a:gd name="T58" fmla="*/ 5901 w 318"/>
                <a:gd name="T59" fmla="*/ 529936 h 330"/>
                <a:gd name="T60" fmla="*/ 29504 w 318"/>
                <a:gd name="T61" fmla="*/ 512272 h 330"/>
                <a:gd name="T62" fmla="*/ 47206 w 318"/>
                <a:gd name="T63" fmla="*/ 465166 h 330"/>
                <a:gd name="T64" fmla="*/ 88511 w 318"/>
                <a:gd name="T65" fmla="*/ 459278 h 330"/>
                <a:gd name="T66" fmla="*/ 88511 w 318"/>
                <a:gd name="T67" fmla="*/ 429837 h 330"/>
                <a:gd name="T68" fmla="*/ 41305 w 318"/>
                <a:gd name="T69" fmla="*/ 394508 h 330"/>
                <a:gd name="T70" fmla="*/ 88511 w 318"/>
                <a:gd name="T71" fmla="*/ 370955 h 330"/>
                <a:gd name="T72" fmla="*/ 123915 w 318"/>
                <a:gd name="T73" fmla="*/ 323850 h 330"/>
                <a:gd name="T74" fmla="*/ 141617 w 318"/>
                <a:gd name="T75" fmla="*/ 276745 h 330"/>
                <a:gd name="T76" fmla="*/ 153418 w 318"/>
                <a:gd name="T77" fmla="*/ 241415 h 330"/>
                <a:gd name="T78" fmla="*/ 100312 w 318"/>
                <a:gd name="T79" fmla="*/ 270856 h 330"/>
                <a:gd name="T80" fmla="*/ 100312 w 318"/>
                <a:gd name="T81" fmla="*/ 223751 h 330"/>
                <a:gd name="T82" fmla="*/ 76709 w 318"/>
                <a:gd name="T83" fmla="*/ 211975 h 330"/>
                <a:gd name="T84" fmla="*/ 29504 w 318"/>
                <a:gd name="T85" fmla="*/ 211975 h 330"/>
                <a:gd name="T86" fmla="*/ 76709 w 318"/>
                <a:gd name="T87" fmla="*/ 182534 h 330"/>
                <a:gd name="T88" fmla="*/ 135716 w 318"/>
                <a:gd name="T89" fmla="*/ 176645 h 330"/>
                <a:gd name="T90" fmla="*/ 177021 w 318"/>
                <a:gd name="T91" fmla="*/ 153093 h 330"/>
                <a:gd name="T92" fmla="*/ 194723 w 318"/>
                <a:gd name="T93" fmla="*/ 158981 h 330"/>
                <a:gd name="T94" fmla="*/ 200624 w 318"/>
                <a:gd name="T95" fmla="*/ 194310 h 330"/>
                <a:gd name="T96" fmla="*/ 236028 w 318"/>
                <a:gd name="T97" fmla="*/ 206086 h 330"/>
                <a:gd name="T98" fmla="*/ 277333 w 318"/>
                <a:gd name="T99" fmla="*/ 176645 h 330"/>
                <a:gd name="T100" fmla="*/ 312738 w 318"/>
                <a:gd name="T101" fmla="*/ 153093 h 330"/>
                <a:gd name="T102" fmla="*/ 342241 w 318"/>
                <a:gd name="T103" fmla="*/ 129540 h 330"/>
                <a:gd name="T104" fmla="*/ 395347 w 318"/>
                <a:gd name="T105" fmla="*/ 105987 h 330"/>
                <a:gd name="T106" fmla="*/ 436652 w 318"/>
                <a:gd name="T107" fmla="*/ 105987 h 330"/>
                <a:gd name="T108" fmla="*/ 483858 w 318"/>
                <a:gd name="T109" fmla="*/ 123652 h 330"/>
                <a:gd name="T110" fmla="*/ 472057 w 318"/>
                <a:gd name="T111" fmla="*/ 158981 h 330"/>
                <a:gd name="T112" fmla="*/ 477957 w 318"/>
                <a:gd name="T113" fmla="*/ 188422 h 330"/>
                <a:gd name="T114" fmla="*/ 495659 w 318"/>
                <a:gd name="T115" fmla="*/ 182534 h 330"/>
                <a:gd name="T116" fmla="*/ 531064 w 318"/>
                <a:gd name="T117" fmla="*/ 170757 h 330"/>
                <a:gd name="T118" fmla="*/ 536964 w 318"/>
                <a:gd name="T119" fmla="*/ 135428 h 330"/>
                <a:gd name="T120" fmla="*/ 531064 w 318"/>
                <a:gd name="T121" fmla="*/ 100099 h 3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18" h="330">
                  <a:moveTo>
                    <a:pt x="264" y="48"/>
                  </a:moveTo>
                  <a:lnTo>
                    <a:pt x="267" y="45"/>
                  </a:lnTo>
                  <a:lnTo>
                    <a:pt x="261" y="42"/>
                  </a:lnTo>
                  <a:lnTo>
                    <a:pt x="264" y="39"/>
                  </a:lnTo>
                  <a:lnTo>
                    <a:pt x="264" y="36"/>
                  </a:lnTo>
                  <a:lnTo>
                    <a:pt x="270" y="33"/>
                  </a:lnTo>
                  <a:lnTo>
                    <a:pt x="270" y="27"/>
                  </a:lnTo>
                  <a:lnTo>
                    <a:pt x="267" y="21"/>
                  </a:lnTo>
                  <a:lnTo>
                    <a:pt x="270" y="21"/>
                  </a:lnTo>
                  <a:lnTo>
                    <a:pt x="273" y="18"/>
                  </a:lnTo>
                  <a:lnTo>
                    <a:pt x="273" y="12"/>
                  </a:lnTo>
                  <a:lnTo>
                    <a:pt x="264" y="15"/>
                  </a:lnTo>
                  <a:lnTo>
                    <a:pt x="258" y="15"/>
                  </a:lnTo>
                  <a:lnTo>
                    <a:pt x="255" y="12"/>
                  </a:lnTo>
                  <a:lnTo>
                    <a:pt x="258" y="12"/>
                  </a:lnTo>
                  <a:lnTo>
                    <a:pt x="261" y="12"/>
                  </a:lnTo>
                  <a:lnTo>
                    <a:pt x="264" y="9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0" y="6"/>
                  </a:lnTo>
                  <a:lnTo>
                    <a:pt x="273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79" y="6"/>
                  </a:lnTo>
                  <a:lnTo>
                    <a:pt x="282" y="9"/>
                  </a:lnTo>
                  <a:lnTo>
                    <a:pt x="282" y="6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9"/>
                  </a:lnTo>
                  <a:lnTo>
                    <a:pt x="291" y="9"/>
                  </a:lnTo>
                  <a:lnTo>
                    <a:pt x="294" y="9"/>
                  </a:lnTo>
                  <a:lnTo>
                    <a:pt x="294" y="6"/>
                  </a:lnTo>
                  <a:lnTo>
                    <a:pt x="294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6" y="3"/>
                  </a:lnTo>
                  <a:lnTo>
                    <a:pt x="306" y="0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09" y="18"/>
                  </a:lnTo>
                  <a:lnTo>
                    <a:pt x="309" y="21"/>
                  </a:lnTo>
                  <a:lnTo>
                    <a:pt x="309" y="24"/>
                  </a:lnTo>
                  <a:lnTo>
                    <a:pt x="312" y="24"/>
                  </a:lnTo>
                  <a:lnTo>
                    <a:pt x="312" y="27"/>
                  </a:lnTo>
                  <a:lnTo>
                    <a:pt x="315" y="30"/>
                  </a:lnTo>
                  <a:lnTo>
                    <a:pt x="315" y="33"/>
                  </a:lnTo>
                  <a:lnTo>
                    <a:pt x="315" y="36"/>
                  </a:lnTo>
                  <a:lnTo>
                    <a:pt x="315" y="39"/>
                  </a:lnTo>
                  <a:lnTo>
                    <a:pt x="315" y="42"/>
                  </a:lnTo>
                  <a:lnTo>
                    <a:pt x="318" y="48"/>
                  </a:lnTo>
                  <a:lnTo>
                    <a:pt x="315" y="54"/>
                  </a:lnTo>
                  <a:lnTo>
                    <a:pt x="315" y="60"/>
                  </a:lnTo>
                  <a:lnTo>
                    <a:pt x="315" y="63"/>
                  </a:lnTo>
                  <a:lnTo>
                    <a:pt x="315" y="69"/>
                  </a:lnTo>
                  <a:lnTo>
                    <a:pt x="315" y="72"/>
                  </a:lnTo>
                  <a:lnTo>
                    <a:pt x="315" y="78"/>
                  </a:lnTo>
                  <a:lnTo>
                    <a:pt x="318" y="84"/>
                  </a:lnTo>
                  <a:lnTo>
                    <a:pt x="318" y="87"/>
                  </a:lnTo>
                  <a:lnTo>
                    <a:pt x="318" y="90"/>
                  </a:lnTo>
                  <a:lnTo>
                    <a:pt x="318" y="93"/>
                  </a:lnTo>
                  <a:lnTo>
                    <a:pt x="318" y="96"/>
                  </a:lnTo>
                  <a:lnTo>
                    <a:pt x="318" y="99"/>
                  </a:lnTo>
                  <a:lnTo>
                    <a:pt x="318" y="102"/>
                  </a:lnTo>
                  <a:lnTo>
                    <a:pt x="318" y="108"/>
                  </a:lnTo>
                  <a:lnTo>
                    <a:pt x="318" y="111"/>
                  </a:lnTo>
                  <a:lnTo>
                    <a:pt x="318" y="114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32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5" y="138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7"/>
                  </a:lnTo>
                  <a:lnTo>
                    <a:pt x="315" y="150"/>
                  </a:lnTo>
                  <a:lnTo>
                    <a:pt x="315" y="153"/>
                  </a:lnTo>
                  <a:lnTo>
                    <a:pt x="315" y="156"/>
                  </a:lnTo>
                  <a:lnTo>
                    <a:pt x="315" y="159"/>
                  </a:lnTo>
                  <a:lnTo>
                    <a:pt x="312" y="162"/>
                  </a:lnTo>
                  <a:lnTo>
                    <a:pt x="312" y="165"/>
                  </a:lnTo>
                  <a:lnTo>
                    <a:pt x="312" y="168"/>
                  </a:lnTo>
                  <a:lnTo>
                    <a:pt x="312" y="171"/>
                  </a:lnTo>
                  <a:lnTo>
                    <a:pt x="309" y="174"/>
                  </a:lnTo>
                  <a:lnTo>
                    <a:pt x="312" y="177"/>
                  </a:lnTo>
                  <a:lnTo>
                    <a:pt x="312" y="180"/>
                  </a:lnTo>
                  <a:lnTo>
                    <a:pt x="312" y="183"/>
                  </a:lnTo>
                  <a:lnTo>
                    <a:pt x="315" y="183"/>
                  </a:lnTo>
                  <a:lnTo>
                    <a:pt x="312" y="186"/>
                  </a:lnTo>
                  <a:lnTo>
                    <a:pt x="306" y="189"/>
                  </a:lnTo>
                  <a:lnTo>
                    <a:pt x="303" y="186"/>
                  </a:lnTo>
                  <a:lnTo>
                    <a:pt x="297" y="183"/>
                  </a:lnTo>
                  <a:lnTo>
                    <a:pt x="294" y="183"/>
                  </a:lnTo>
                  <a:lnTo>
                    <a:pt x="291" y="177"/>
                  </a:lnTo>
                  <a:lnTo>
                    <a:pt x="288" y="177"/>
                  </a:lnTo>
                  <a:lnTo>
                    <a:pt x="279" y="171"/>
                  </a:lnTo>
                  <a:lnTo>
                    <a:pt x="273" y="168"/>
                  </a:lnTo>
                  <a:lnTo>
                    <a:pt x="270" y="165"/>
                  </a:lnTo>
                  <a:lnTo>
                    <a:pt x="267" y="162"/>
                  </a:lnTo>
                  <a:lnTo>
                    <a:pt x="258" y="165"/>
                  </a:lnTo>
                  <a:lnTo>
                    <a:pt x="255" y="171"/>
                  </a:lnTo>
                  <a:lnTo>
                    <a:pt x="252" y="171"/>
                  </a:lnTo>
                  <a:lnTo>
                    <a:pt x="243" y="180"/>
                  </a:lnTo>
                  <a:lnTo>
                    <a:pt x="243" y="186"/>
                  </a:lnTo>
                  <a:lnTo>
                    <a:pt x="240" y="189"/>
                  </a:lnTo>
                  <a:lnTo>
                    <a:pt x="240" y="192"/>
                  </a:lnTo>
                  <a:lnTo>
                    <a:pt x="240" y="195"/>
                  </a:lnTo>
                  <a:lnTo>
                    <a:pt x="237" y="195"/>
                  </a:lnTo>
                  <a:lnTo>
                    <a:pt x="237" y="198"/>
                  </a:lnTo>
                  <a:lnTo>
                    <a:pt x="237" y="201"/>
                  </a:lnTo>
                  <a:lnTo>
                    <a:pt x="234" y="201"/>
                  </a:lnTo>
                  <a:lnTo>
                    <a:pt x="234" y="204"/>
                  </a:lnTo>
                  <a:lnTo>
                    <a:pt x="234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3"/>
                  </a:lnTo>
                  <a:lnTo>
                    <a:pt x="228" y="213"/>
                  </a:lnTo>
                  <a:lnTo>
                    <a:pt x="225" y="216"/>
                  </a:lnTo>
                  <a:lnTo>
                    <a:pt x="222" y="219"/>
                  </a:lnTo>
                  <a:lnTo>
                    <a:pt x="219" y="225"/>
                  </a:lnTo>
                  <a:lnTo>
                    <a:pt x="219" y="228"/>
                  </a:lnTo>
                  <a:lnTo>
                    <a:pt x="216" y="231"/>
                  </a:lnTo>
                  <a:lnTo>
                    <a:pt x="216" y="234"/>
                  </a:lnTo>
                  <a:lnTo>
                    <a:pt x="216" y="237"/>
                  </a:lnTo>
                  <a:lnTo>
                    <a:pt x="216" y="243"/>
                  </a:lnTo>
                  <a:lnTo>
                    <a:pt x="216" y="246"/>
                  </a:lnTo>
                  <a:lnTo>
                    <a:pt x="216" y="249"/>
                  </a:lnTo>
                  <a:lnTo>
                    <a:pt x="216" y="255"/>
                  </a:lnTo>
                  <a:lnTo>
                    <a:pt x="216" y="258"/>
                  </a:lnTo>
                  <a:lnTo>
                    <a:pt x="216" y="261"/>
                  </a:lnTo>
                  <a:lnTo>
                    <a:pt x="216" y="264"/>
                  </a:lnTo>
                  <a:lnTo>
                    <a:pt x="216" y="267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1"/>
                  </a:lnTo>
                  <a:lnTo>
                    <a:pt x="222" y="264"/>
                  </a:lnTo>
                  <a:lnTo>
                    <a:pt x="225" y="267"/>
                  </a:lnTo>
                  <a:lnTo>
                    <a:pt x="225" y="270"/>
                  </a:lnTo>
                  <a:lnTo>
                    <a:pt x="228" y="270"/>
                  </a:lnTo>
                  <a:lnTo>
                    <a:pt x="228" y="273"/>
                  </a:lnTo>
                  <a:lnTo>
                    <a:pt x="231" y="273"/>
                  </a:lnTo>
                  <a:lnTo>
                    <a:pt x="231" y="276"/>
                  </a:lnTo>
                  <a:lnTo>
                    <a:pt x="231" y="279"/>
                  </a:lnTo>
                  <a:lnTo>
                    <a:pt x="228" y="282"/>
                  </a:lnTo>
                  <a:lnTo>
                    <a:pt x="231" y="285"/>
                  </a:lnTo>
                  <a:lnTo>
                    <a:pt x="231" y="288"/>
                  </a:lnTo>
                  <a:lnTo>
                    <a:pt x="234" y="288"/>
                  </a:lnTo>
                  <a:lnTo>
                    <a:pt x="234" y="291"/>
                  </a:lnTo>
                  <a:lnTo>
                    <a:pt x="237" y="291"/>
                  </a:lnTo>
                  <a:lnTo>
                    <a:pt x="237" y="294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43" y="297"/>
                  </a:lnTo>
                  <a:lnTo>
                    <a:pt x="243" y="300"/>
                  </a:lnTo>
                  <a:lnTo>
                    <a:pt x="246" y="300"/>
                  </a:lnTo>
                  <a:lnTo>
                    <a:pt x="246" y="303"/>
                  </a:lnTo>
                  <a:lnTo>
                    <a:pt x="249" y="303"/>
                  </a:lnTo>
                  <a:lnTo>
                    <a:pt x="252" y="303"/>
                  </a:lnTo>
                  <a:lnTo>
                    <a:pt x="255" y="306"/>
                  </a:lnTo>
                  <a:lnTo>
                    <a:pt x="252" y="309"/>
                  </a:lnTo>
                  <a:lnTo>
                    <a:pt x="249" y="312"/>
                  </a:lnTo>
                  <a:lnTo>
                    <a:pt x="246" y="318"/>
                  </a:lnTo>
                  <a:lnTo>
                    <a:pt x="243" y="318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5"/>
                  </a:lnTo>
                  <a:lnTo>
                    <a:pt x="237" y="315"/>
                  </a:lnTo>
                  <a:lnTo>
                    <a:pt x="234" y="315"/>
                  </a:lnTo>
                  <a:lnTo>
                    <a:pt x="231" y="315"/>
                  </a:lnTo>
                  <a:lnTo>
                    <a:pt x="231" y="318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5" y="315"/>
                  </a:lnTo>
                  <a:lnTo>
                    <a:pt x="225" y="312"/>
                  </a:lnTo>
                  <a:lnTo>
                    <a:pt x="222" y="312"/>
                  </a:lnTo>
                  <a:lnTo>
                    <a:pt x="222" y="315"/>
                  </a:lnTo>
                  <a:lnTo>
                    <a:pt x="219" y="315"/>
                  </a:lnTo>
                  <a:lnTo>
                    <a:pt x="213" y="312"/>
                  </a:lnTo>
                  <a:lnTo>
                    <a:pt x="207" y="309"/>
                  </a:lnTo>
                  <a:lnTo>
                    <a:pt x="204" y="309"/>
                  </a:lnTo>
                  <a:lnTo>
                    <a:pt x="198" y="312"/>
                  </a:lnTo>
                  <a:lnTo>
                    <a:pt x="195" y="312"/>
                  </a:lnTo>
                  <a:lnTo>
                    <a:pt x="192" y="312"/>
                  </a:lnTo>
                  <a:lnTo>
                    <a:pt x="189" y="312"/>
                  </a:lnTo>
                  <a:lnTo>
                    <a:pt x="186" y="312"/>
                  </a:lnTo>
                  <a:lnTo>
                    <a:pt x="183" y="312"/>
                  </a:lnTo>
                  <a:lnTo>
                    <a:pt x="183" y="309"/>
                  </a:lnTo>
                  <a:lnTo>
                    <a:pt x="180" y="309"/>
                  </a:lnTo>
                  <a:lnTo>
                    <a:pt x="180" y="312"/>
                  </a:lnTo>
                  <a:lnTo>
                    <a:pt x="177" y="312"/>
                  </a:lnTo>
                  <a:lnTo>
                    <a:pt x="174" y="312"/>
                  </a:lnTo>
                  <a:lnTo>
                    <a:pt x="171" y="312"/>
                  </a:lnTo>
                  <a:lnTo>
                    <a:pt x="171" y="315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5" y="315"/>
                  </a:lnTo>
                  <a:lnTo>
                    <a:pt x="165" y="318"/>
                  </a:lnTo>
                  <a:lnTo>
                    <a:pt x="162" y="318"/>
                  </a:lnTo>
                  <a:lnTo>
                    <a:pt x="162" y="321"/>
                  </a:lnTo>
                  <a:lnTo>
                    <a:pt x="159" y="321"/>
                  </a:lnTo>
                  <a:lnTo>
                    <a:pt x="156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1"/>
                  </a:lnTo>
                  <a:lnTo>
                    <a:pt x="147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8"/>
                  </a:lnTo>
                  <a:lnTo>
                    <a:pt x="138" y="318"/>
                  </a:lnTo>
                  <a:lnTo>
                    <a:pt x="135" y="318"/>
                  </a:lnTo>
                  <a:lnTo>
                    <a:pt x="135" y="321"/>
                  </a:lnTo>
                  <a:lnTo>
                    <a:pt x="132" y="321"/>
                  </a:lnTo>
                  <a:lnTo>
                    <a:pt x="132" y="324"/>
                  </a:lnTo>
                  <a:lnTo>
                    <a:pt x="132" y="327"/>
                  </a:lnTo>
                  <a:lnTo>
                    <a:pt x="132" y="324"/>
                  </a:lnTo>
                  <a:lnTo>
                    <a:pt x="129" y="324"/>
                  </a:lnTo>
                  <a:lnTo>
                    <a:pt x="126" y="324"/>
                  </a:lnTo>
                  <a:lnTo>
                    <a:pt x="123" y="324"/>
                  </a:lnTo>
                  <a:lnTo>
                    <a:pt x="123" y="327"/>
                  </a:lnTo>
                  <a:lnTo>
                    <a:pt x="123" y="330"/>
                  </a:lnTo>
                  <a:lnTo>
                    <a:pt x="120" y="330"/>
                  </a:lnTo>
                  <a:lnTo>
                    <a:pt x="117" y="330"/>
                  </a:lnTo>
                  <a:lnTo>
                    <a:pt x="114" y="330"/>
                  </a:lnTo>
                  <a:lnTo>
                    <a:pt x="114" y="327"/>
                  </a:lnTo>
                  <a:lnTo>
                    <a:pt x="114" y="324"/>
                  </a:lnTo>
                  <a:lnTo>
                    <a:pt x="111" y="324"/>
                  </a:lnTo>
                  <a:lnTo>
                    <a:pt x="111" y="321"/>
                  </a:lnTo>
                  <a:lnTo>
                    <a:pt x="111" y="318"/>
                  </a:lnTo>
                  <a:lnTo>
                    <a:pt x="108" y="318"/>
                  </a:lnTo>
                  <a:lnTo>
                    <a:pt x="108" y="321"/>
                  </a:lnTo>
                  <a:lnTo>
                    <a:pt x="108" y="318"/>
                  </a:lnTo>
                  <a:lnTo>
                    <a:pt x="108" y="315"/>
                  </a:lnTo>
                  <a:lnTo>
                    <a:pt x="105" y="315"/>
                  </a:lnTo>
                  <a:lnTo>
                    <a:pt x="105" y="312"/>
                  </a:lnTo>
                  <a:lnTo>
                    <a:pt x="105" y="309"/>
                  </a:lnTo>
                  <a:lnTo>
                    <a:pt x="102" y="309"/>
                  </a:lnTo>
                  <a:lnTo>
                    <a:pt x="102" y="306"/>
                  </a:lnTo>
                  <a:lnTo>
                    <a:pt x="99" y="306"/>
                  </a:lnTo>
                  <a:lnTo>
                    <a:pt x="96" y="306"/>
                  </a:lnTo>
                  <a:lnTo>
                    <a:pt x="93" y="306"/>
                  </a:lnTo>
                  <a:lnTo>
                    <a:pt x="93" y="303"/>
                  </a:lnTo>
                  <a:lnTo>
                    <a:pt x="90" y="303"/>
                  </a:lnTo>
                  <a:lnTo>
                    <a:pt x="90" y="300"/>
                  </a:lnTo>
                  <a:lnTo>
                    <a:pt x="87" y="300"/>
                  </a:lnTo>
                  <a:lnTo>
                    <a:pt x="84" y="300"/>
                  </a:lnTo>
                  <a:lnTo>
                    <a:pt x="84" y="297"/>
                  </a:lnTo>
                  <a:lnTo>
                    <a:pt x="81" y="297"/>
                  </a:lnTo>
                  <a:lnTo>
                    <a:pt x="81" y="294"/>
                  </a:lnTo>
                  <a:lnTo>
                    <a:pt x="81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297"/>
                  </a:lnTo>
                  <a:lnTo>
                    <a:pt x="72" y="297"/>
                  </a:lnTo>
                  <a:lnTo>
                    <a:pt x="72" y="294"/>
                  </a:lnTo>
                  <a:lnTo>
                    <a:pt x="72" y="291"/>
                  </a:lnTo>
                  <a:lnTo>
                    <a:pt x="69" y="291"/>
                  </a:lnTo>
                  <a:lnTo>
                    <a:pt x="69" y="288"/>
                  </a:lnTo>
                  <a:lnTo>
                    <a:pt x="72" y="288"/>
                  </a:lnTo>
                  <a:lnTo>
                    <a:pt x="69" y="288"/>
                  </a:lnTo>
                  <a:lnTo>
                    <a:pt x="69" y="285"/>
                  </a:lnTo>
                  <a:lnTo>
                    <a:pt x="69" y="282"/>
                  </a:lnTo>
                  <a:lnTo>
                    <a:pt x="69" y="285"/>
                  </a:lnTo>
                  <a:lnTo>
                    <a:pt x="66" y="285"/>
                  </a:lnTo>
                  <a:lnTo>
                    <a:pt x="66" y="282"/>
                  </a:lnTo>
                  <a:lnTo>
                    <a:pt x="63" y="282"/>
                  </a:lnTo>
                  <a:lnTo>
                    <a:pt x="60" y="282"/>
                  </a:lnTo>
                  <a:lnTo>
                    <a:pt x="60" y="285"/>
                  </a:lnTo>
                  <a:lnTo>
                    <a:pt x="57" y="285"/>
                  </a:lnTo>
                  <a:lnTo>
                    <a:pt x="54" y="285"/>
                  </a:lnTo>
                  <a:lnTo>
                    <a:pt x="57" y="285"/>
                  </a:lnTo>
                  <a:lnTo>
                    <a:pt x="57" y="288"/>
                  </a:lnTo>
                  <a:lnTo>
                    <a:pt x="54" y="288"/>
                  </a:lnTo>
                  <a:lnTo>
                    <a:pt x="54" y="285"/>
                  </a:lnTo>
                  <a:lnTo>
                    <a:pt x="51" y="285"/>
                  </a:lnTo>
                  <a:lnTo>
                    <a:pt x="48" y="285"/>
                  </a:lnTo>
                  <a:lnTo>
                    <a:pt x="48" y="282"/>
                  </a:lnTo>
                  <a:lnTo>
                    <a:pt x="48" y="285"/>
                  </a:lnTo>
                  <a:lnTo>
                    <a:pt x="45" y="285"/>
                  </a:lnTo>
                  <a:lnTo>
                    <a:pt x="45" y="282"/>
                  </a:lnTo>
                  <a:lnTo>
                    <a:pt x="42" y="282"/>
                  </a:lnTo>
                  <a:lnTo>
                    <a:pt x="42" y="279"/>
                  </a:lnTo>
                  <a:lnTo>
                    <a:pt x="39" y="279"/>
                  </a:lnTo>
                  <a:lnTo>
                    <a:pt x="36" y="279"/>
                  </a:lnTo>
                  <a:lnTo>
                    <a:pt x="33" y="279"/>
                  </a:lnTo>
                  <a:lnTo>
                    <a:pt x="33" y="282"/>
                  </a:lnTo>
                  <a:lnTo>
                    <a:pt x="36" y="282"/>
                  </a:lnTo>
                  <a:lnTo>
                    <a:pt x="36" y="285"/>
                  </a:lnTo>
                  <a:lnTo>
                    <a:pt x="33" y="285"/>
                  </a:lnTo>
                  <a:lnTo>
                    <a:pt x="33" y="282"/>
                  </a:lnTo>
                  <a:lnTo>
                    <a:pt x="33" y="285"/>
                  </a:lnTo>
                  <a:lnTo>
                    <a:pt x="30" y="285"/>
                  </a:lnTo>
                  <a:lnTo>
                    <a:pt x="27" y="285"/>
                  </a:lnTo>
                  <a:lnTo>
                    <a:pt x="27" y="288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27" y="285"/>
                  </a:lnTo>
                  <a:lnTo>
                    <a:pt x="24" y="285"/>
                  </a:lnTo>
                  <a:lnTo>
                    <a:pt x="24" y="282"/>
                  </a:lnTo>
                  <a:lnTo>
                    <a:pt x="24" y="279"/>
                  </a:lnTo>
                  <a:lnTo>
                    <a:pt x="21" y="279"/>
                  </a:lnTo>
                  <a:lnTo>
                    <a:pt x="21" y="282"/>
                  </a:lnTo>
                  <a:lnTo>
                    <a:pt x="18" y="279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85"/>
                  </a:lnTo>
                  <a:lnTo>
                    <a:pt x="15" y="282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79"/>
                  </a:lnTo>
                  <a:lnTo>
                    <a:pt x="15" y="276"/>
                  </a:lnTo>
                  <a:lnTo>
                    <a:pt x="12" y="276"/>
                  </a:lnTo>
                  <a:lnTo>
                    <a:pt x="9" y="276"/>
                  </a:lnTo>
                  <a:lnTo>
                    <a:pt x="9" y="279"/>
                  </a:lnTo>
                  <a:lnTo>
                    <a:pt x="9" y="276"/>
                  </a:lnTo>
                  <a:lnTo>
                    <a:pt x="6" y="276"/>
                  </a:lnTo>
                  <a:lnTo>
                    <a:pt x="3" y="273"/>
                  </a:lnTo>
                  <a:lnTo>
                    <a:pt x="0" y="273"/>
                  </a:lnTo>
                  <a:lnTo>
                    <a:pt x="0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6" y="264"/>
                  </a:lnTo>
                  <a:lnTo>
                    <a:pt x="9" y="261"/>
                  </a:lnTo>
                  <a:lnTo>
                    <a:pt x="12" y="261"/>
                  </a:lnTo>
                  <a:lnTo>
                    <a:pt x="15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2" y="255"/>
                  </a:lnTo>
                  <a:lnTo>
                    <a:pt x="15" y="249"/>
                  </a:lnTo>
                  <a:lnTo>
                    <a:pt x="18" y="249"/>
                  </a:lnTo>
                  <a:lnTo>
                    <a:pt x="21" y="249"/>
                  </a:lnTo>
                  <a:lnTo>
                    <a:pt x="21" y="246"/>
                  </a:lnTo>
                  <a:lnTo>
                    <a:pt x="24" y="246"/>
                  </a:lnTo>
                  <a:lnTo>
                    <a:pt x="24" y="243"/>
                  </a:lnTo>
                  <a:lnTo>
                    <a:pt x="24" y="240"/>
                  </a:lnTo>
                  <a:lnTo>
                    <a:pt x="24" y="237"/>
                  </a:lnTo>
                  <a:lnTo>
                    <a:pt x="30" y="237"/>
                  </a:lnTo>
                  <a:lnTo>
                    <a:pt x="27" y="237"/>
                  </a:lnTo>
                  <a:lnTo>
                    <a:pt x="30" y="237"/>
                  </a:lnTo>
                  <a:lnTo>
                    <a:pt x="30" y="240"/>
                  </a:lnTo>
                  <a:lnTo>
                    <a:pt x="33" y="240"/>
                  </a:lnTo>
                  <a:lnTo>
                    <a:pt x="33" y="237"/>
                  </a:lnTo>
                  <a:lnTo>
                    <a:pt x="36" y="237"/>
                  </a:lnTo>
                  <a:lnTo>
                    <a:pt x="39" y="237"/>
                  </a:lnTo>
                  <a:lnTo>
                    <a:pt x="42" y="237"/>
                  </a:lnTo>
                  <a:lnTo>
                    <a:pt x="45" y="237"/>
                  </a:lnTo>
                  <a:lnTo>
                    <a:pt x="45" y="234"/>
                  </a:lnTo>
                  <a:lnTo>
                    <a:pt x="45" y="231"/>
                  </a:lnTo>
                  <a:lnTo>
                    <a:pt x="48" y="231"/>
                  </a:lnTo>
                  <a:lnTo>
                    <a:pt x="45" y="231"/>
                  </a:lnTo>
                  <a:lnTo>
                    <a:pt x="45" y="228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54" y="225"/>
                  </a:lnTo>
                  <a:lnTo>
                    <a:pt x="51" y="222"/>
                  </a:lnTo>
                  <a:lnTo>
                    <a:pt x="48" y="222"/>
                  </a:lnTo>
                  <a:lnTo>
                    <a:pt x="48" y="216"/>
                  </a:lnTo>
                  <a:lnTo>
                    <a:pt x="45" y="219"/>
                  </a:lnTo>
                  <a:lnTo>
                    <a:pt x="42" y="219"/>
                  </a:lnTo>
                  <a:lnTo>
                    <a:pt x="39" y="222"/>
                  </a:lnTo>
                  <a:lnTo>
                    <a:pt x="36" y="219"/>
                  </a:lnTo>
                  <a:lnTo>
                    <a:pt x="33" y="216"/>
                  </a:lnTo>
                  <a:lnTo>
                    <a:pt x="33" y="213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7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1" y="201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4" y="195"/>
                  </a:lnTo>
                  <a:lnTo>
                    <a:pt x="27" y="192"/>
                  </a:lnTo>
                  <a:lnTo>
                    <a:pt x="30" y="195"/>
                  </a:lnTo>
                  <a:lnTo>
                    <a:pt x="30" y="189"/>
                  </a:lnTo>
                  <a:lnTo>
                    <a:pt x="33" y="186"/>
                  </a:lnTo>
                  <a:lnTo>
                    <a:pt x="39" y="189"/>
                  </a:lnTo>
                  <a:lnTo>
                    <a:pt x="45" y="189"/>
                  </a:lnTo>
                  <a:lnTo>
                    <a:pt x="45" y="186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4" y="189"/>
                  </a:lnTo>
                  <a:lnTo>
                    <a:pt x="54" y="186"/>
                  </a:lnTo>
                  <a:lnTo>
                    <a:pt x="54" y="183"/>
                  </a:lnTo>
                  <a:lnTo>
                    <a:pt x="54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60" y="171"/>
                  </a:lnTo>
                  <a:lnTo>
                    <a:pt x="60" y="168"/>
                  </a:lnTo>
                  <a:lnTo>
                    <a:pt x="63" y="165"/>
                  </a:lnTo>
                  <a:lnTo>
                    <a:pt x="60" y="162"/>
                  </a:lnTo>
                  <a:lnTo>
                    <a:pt x="63" y="159"/>
                  </a:lnTo>
                  <a:lnTo>
                    <a:pt x="66" y="156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75" y="138"/>
                  </a:lnTo>
                  <a:lnTo>
                    <a:pt x="78" y="138"/>
                  </a:lnTo>
                  <a:lnTo>
                    <a:pt x="78" y="135"/>
                  </a:lnTo>
                  <a:lnTo>
                    <a:pt x="81" y="135"/>
                  </a:lnTo>
                  <a:lnTo>
                    <a:pt x="84" y="129"/>
                  </a:lnTo>
                  <a:lnTo>
                    <a:pt x="84" y="126"/>
                  </a:lnTo>
                  <a:lnTo>
                    <a:pt x="81" y="129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75" y="126"/>
                  </a:lnTo>
                  <a:lnTo>
                    <a:pt x="69" y="126"/>
                  </a:lnTo>
                  <a:lnTo>
                    <a:pt x="66" y="129"/>
                  </a:lnTo>
                  <a:lnTo>
                    <a:pt x="63" y="129"/>
                  </a:lnTo>
                  <a:lnTo>
                    <a:pt x="63" y="132"/>
                  </a:lnTo>
                  <a:lnTo>
                    <a:pt x="60" y="132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4" y="135"/>
                  </a:lnTo>
                  <a:lnTo>
                    <a:pt x="54" y="138"/>
                  </a:lnTo>
                  <a:lnTo>
                    <a:pt x="51" y="138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5" y="132"/>
                  </a:lnTo>
                  <a:lnTo>
                    <a:pt x="45" y="129"/>
                  </a:lnTo>
                  <a:lnTo>
                    <a:pt x="48" y="126"/>
                  </a:lnTo>
                  <a:lnTo>
                    <a:pt x="51" y="123"/>
                  </a:lnTo>
                  <a:lnTo>
                    <a:pt x="54" y="120"/>
                  </a:lnTo>
                  <a:lnTo>
                    <a:pt x="54" y="117"/>
                  </a:lnTo>
                  <a:lnTo>
                    <a:pt x="54" y="114"/>
                  </a:lnTo>
                  <a:lnTo>
                    <a:pt x="51" y="114"/>
                  </a:lnTo>
                  <a:lnTo>
                    <a:pt x="51" y="111"/>
                  </a:lnTo>
                  <a:lnTo>
                    <a:pt x="54" y="114"/>
                  </a:lnTo>
                  <a:lnTo>
                    <a:pt x="57" y="111"/>
                  </a:lnTo>
                  <a:lnTo>
                    <a:pt x="54" y="111"/>
                  </a:lnTo>
                  <a:lnTo>
                    <a:pt x="57" y="108"/>
                  </a:lnTo>
                  <a:lnTo>
                    <a:pt x="54" y="111"/>
                  </a:lnTo>
                  <a:lnTo>
                    <a:pt x="51" y="111"/>
                  </a:lnTo>
                  <a:lnTo>
                    <a:pt x="51" y="108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7" y="111"/>
                  </a:lnTo>
                  <a:lnTo>
                    <a:pt x="24" y="111"/>
                  </a:lnTo>
                  <a:lnTo>
                    <a:pt x="24" y="114"/>
                  </a:lnTo>
                  <a:lnTo>
                    <a:pt x="21" y="114"/>
                  </a:lnTo>
                  <a:lnTo>
                    <a:pt x="18" y="114"/>
                  </a:lnTo>
                  <a:lnTo>
                    <a:pt x="12" y="117"/>
                  </a:lnTo>
                  <a:lnTo>
                    <a:pt x="15" y="114"/>
                  </a:lnTo>
                  <a:lnTo>
                    <a:pt x="12" y="111"/>
                  </a:lnTo>
                  <a:lnTo>
                    <a:pt x="15" y="108"/>
                  </a:lnTo>
                  <a:lnTo>
                    <a:pt x="18" y="108"/>
                  </a:lnTo>
                  <a:lnTo>
                    <a:pt x="21" y="108"/>
                  </a:lnTo>
                  <a:lnTo>
                    <a:pt x="21" y="105"/>
                  </a:lnTo>
                  <a:lnTo>
                    <a:pt x="24" y="105"/>
                  </a:lnTo>
                  <a:lnTo>
                    <a:pt x="27" y="102"/>
                  </a:lnTo>
                  <a:lnTo>
                    <a:pt x="33" y="102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9" y="93"/>
                  </a:lnTo>
                  <a:lnTo>
                    <a:pt x="42" y="93"/>
                  </a:lnTo>
                  <a:lnTo>
                    <a:pt x="45" y="87"/>
                  </a:lnTo>
                  <a:lnTo>
                    <a:pt x="48" y="87"/>
                  </a:lnTo>
                  <a:lnTo>
                    <a:pt x="51" y="87"/>
                  </a:lnTo>
                  <a:lnTo>
                    <a:pt x="51" y="90"/>
                  </a:lnTo>
                  <a:lnTo>
                    <a:pt x="54" y="87"/>
                  </a:lnTo>
                  <a:lnTo>
                    <a:pt x="57" y="87"/>
                  </a:lnTo>
                  <a:lnTo>
                    <a:pt x="60" y="87"/>
                  </a:lnTo>
                  <a:lnTo>
                    <a:pt x="63" y="87"/>
                  </a:lnTo>
                  <a:lnTo>
                    <a:pt x="69" y="87"/>
                  </a:lnTo>
                  <a:lnTo>
                    <a:pt x="69" y="90"/>
                  </a:lnTo>
                  <a:lnTo>
                    <a:pt x="72" y="90"/>
                  </a:lnTo>
                  <a:lnTo>
                    <a:pt x="72" y="93"/>
                  </a:lnTo>
                  <a:lnTo>
                    <a:pt x="78" y="90"/>
                  </a:lnTo>
                  <a:lnTo>
                    <a:pt x="81" y="90"/>
                  </a:lnTo>
                  <a:lnTo>
                    <a:pt x="81" y="87"/>
                  </a:lnTo>
                  <a:lnTo>
                    <a:pt x="78" y="87"/>
                  </a:lnTo>
                  <a:lnTo>
                    <a:pt x="81" y="87"/>
                  </a:lnTo>
                  <a:lnTo>
                    <a:pt x="84" y="81"/>
                  </a:lnTo>
                  <a:lnTo>
                    <a:pt x="84" y="78"/>
                  </a:lnTo>
                  <a:lnTo>
                    <a:pt x="87" y="78"/>
                  </a:lnTo>
                  <a:lnTo>
                    <a:pt x="90" y="78"/>
                  </a:lnTo>
                  <a:lnTo>
                    <a:pt x="93" y="75"/>
                  </a:lnTo>
                  <a:lnTo>
                    <a:pt x="93" y="78"/>
                  </a:lnTo>
                  <a:lnTo>
                    <a:pt x="96" y="75"/>
                  </a:lnTo>
                  <a:lnTo>
                    <a:pt x="99" y="72"/>
                  </a:lnTo>
                  <a:lnTo>
                    <a:pt x="102" y="72"/>
                  </a:lnTo>
                  <a:lnTo>
                    <a:pt x="99" y="72"/>
                  </a:lnTo>
                  <a:lnTo>
                    <a:pt x="99" y="75"/>
                  </a:lnTo>
                  <a:lnTo>
                    <a:pt x="102" y="75"/>
                  </a:lnTo>
                  <a:lnTo>
                    <a:pt x="102" y="78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96" y="81"/>
                  </a:lnTo>
                  <a:lnTo>
                    <a:pt x="99" y="87"/>
                  </a:lnTo>
                  <a:lnTo>
                    <a:pt x="96" y="90"/>
                  </a:lnTo>
                  <a:lnTo>
                    <a:pt x="99" y="90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2" y="99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5" y="105"/>
                  </a:lnTo>
                  <a:lnTo>
                    <a:pt x="105" y="108"/>
                  </a:lnTo>
                  <a:lnTo>
                    <a:pt x="111" y="108"/>
                  </a:lnTo>
                  <a:lnTo>
                    <a:pt x="111" y="105"/>
                  </a:lnTo>
                  <a:lnTo>
                    <a:pt x="114" y="105"/>
                  </a:lnTo>
                  <a:lnTo>
                    <a:pt x="117" y="105"/>
                  </a:lnTo>
                  <a:lnTo>
                    <a:pt x="117" y="102"/>
                  </a:lnTo>
                  <a:lnTo>
                    <a:pt x="120" y="105"/>
                  </a:lnTo>
                  <a:lnTo>
                    <a:pt x="123" y="105"/>
                  </a:lnTo>
                  <a:lnTo>
                    <a:pt x="126" y="105"/>
                  </a:lnTo>
                  <a:lnTo>
                    <a:pt x="129" y="105"/>
                  </a:lnTo>
                  <a:lnTo>
                    <a:pt x="129" y="102"/>
                  </a:lnTo>
                  <a:lnTo>
                    <a:pt x="129" y="99"/>
                  </a:lnTo>
                  <a:lnTo>
                    <a:pt x="132" y="102"/>
                  </a:lnTo>
                  <a:lnTo>
                    <a:pt x="132" y="99"/>
                  </a:lnTo>
                  <a:lnTo>
                    <a:pt x="135" y="99"/>
                  </a:lnTo>
                  <a:lnTo>
                    <a:pt x="138" y="96"/>
                  </a:lnTo>
                  <a:lnTo>
                    <a:pt x="138" y="93"/>
                  </a:lnTo>
                  <a:lnTo>
                    <a:pt x="141" y="90"/>
                  </a:lnTo>
                  <a:lnTo>
                    <a:pt x="141" y="87"/>
                  </a:lnTo>
                  <a:lnTo>
                    <a:pt x="144" y="90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62" y="75"/>
                  </a:lnTo>
                  <a:lnTo>
                    <a:pt x="162" y="72"/>
                  </a:lnTo>
                  <a:lnTo>
                    <a:pt x="165" y="72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1" y="69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3"/>
                  </a:lnTo>
                  <a:lnTo>
                    <a:pt x="174" y="60"/>
                  </a:lnTo>
                  <a:lnTo>
                    <a:pt x="177" y="60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3" y="60"/>
                  </a:lnTo>
                  <a:lnTo>
                    <a:pt x="189" y="60"/>
                  </a:lnTo>
                  <a:lnTo>
                    <a:pt x="195" y="66"/>
                  </a:lnTo>
                  <a:lnTo>
                    <a:pt x="198" y="60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54"/>
                  </a:lnTo>
                  <a:lnTo>
                    <a:pt x="207" y="54"/>
                  </a:lnTo>
                  <a:lnTo>
                    <a:pt x="207" y="51"/>
                  </a:lnTo>
                  <a:lnTo>
                    <a:pt x="210" y="51"/>
                  </a:lnTo>
                  <a:lnTo>
                    <a:pt x="210" y="54"/>
                  </a:lnTo>
                  <a:lnTo>
                    <a:pt x="210" y="51"/>
                  </a:lnTo>
                  <a:lnTo>
                    <a:pt x="210" y="48"/>
                  </a:lnTo>
                  <a:lnTo>
                    <a:pt x="213" y="45"/>
                  </a:lnTo>
                  <a:lnTo>
                    <a:pt x="213" y="48"/>
                  </a:lnTo>
                  <a:lnTo>
                    <a:pt x="216" y="51"/>
                  </a:lnTo>
                  <a:lnTo>
                    <a:pt x="222" y="54"/>
                  </a:lnTo>
                  <a:lnTo>
                    <a:pt x="225" y="51"/>
                  </a:lnTo>
                  <a:lnTo>
                    <a:pt x="228" y="51"/>
                  </a:lnTo>
                  <a:lnTo>
                    <a:pt x="228" y="57"/>
                  </a:lnTo>
                  <a:lnTo>
                    <a:pt x="231" y="57"/>
                  </a:lnTo>
                  <a:lnTo>
                    <a:pt x="234" y="57"/>
                  </a:lnTo>
                  <a:lnTo>
                    <a:pt x="237" y="57"/>
                  </a:lnTo>
                  <a:lnTo>
                    <a:pt x="237" y="60"/>
                  </a:lnTo>
                  <a:lnTo>
                    <a:pt x="240" y="60"/>
                  </a:lnTo>
                  <a:lnTo>
                    <a:pt x="243" y="60"/>
                  </a:lnTo>
                  <a:lnTo>
                    <a:pt x="246" y="60"/>
                  </a:lnTo>
                  <a:lnTo>
                    <a:pt x="246" y="63"/>
                  </a:lnTo>
                  <a:lnTo>
                    <a:pt x="246" y="66"/>
                  </a:lnTo>
                  <a:lnTo>
                    <a:pt x="246" y="69"/>
                  </a:lnTo>
                  <a:lnTo>
                    <a:pt x="243" y="69"/>
                  </a:lnTo>
                  <a:lnTo>
                    <a:pt x="237" y="69"/>
                  </a:lnTo>
                  <a:lnTo>
                    <a:pt x="237" y="72"/>
                  </a:lnTo>
                  <a:lnTo>
                    <a:pt x="237" y="75"/>
                  </a:lnTo>
                  <a:lnTo>
                    <a:pt x="243" y="75"/>
                  </a:lnTo>
                  <a:lnTo>
                    <a:pt x="240" y="75"/>
                  </a:lnTo>
                  <a:lnTo>
                    <a:pt x="240" y="78"/>
                  </a:lnTo>
                  <a:lnTo>
                    <a:pt x="243" y="78"/>
                  </a:lnTo>
                  <a:lnTo>
                    <a:pt x="240" y="81"/>
                  </a:lnTo>
                  <a:lnTo>
                    <a:pt x="243" y="81"/>
                  </a:lnTo>
                  <a:lnTo>
                    <a:pt x="249" y="81"/>
                  </a:lnTo>
                  <a:lnTo>
                    <a:pt x="249" y="84"/>
                  </a:lnTo>
                  <a:lnTo>
                    <a:pt x="249" y="87"/>
                  </a:lnTo>
                  <a:lnTo>
                    <a:pt x="252" y="87"/>
                  </a:lnTo>
                  <a:lnTo>
                    <a:pt x="255" y="87"/>
                  </a:lnTo>
                  <a:lnTo>
                    <a:pt x="255" y="93"/>
                  </a:lnTo>
                  <a:lnTo>
                    <a:pt x="252" y="93"/>
                  </a:lnTo>
                  <a:lnTo>
                    <a:pt x="249" y="93"/>
                  </a:lnTo>
                  <a:lnTo>
                    <a:pt x="243" y="93"/>
                  </a:lnTo>
                  <a:lnTo>
                    <a:pt x="243" y="96"/>
                  </a:lnTo>
                  <a:lnTo>
                    <a:pt x="246" y="96"/>
                  </a:lnTo>
                  <a:lnTo>
                    <a:pt x="246" y="99"/>
                  </a:lnTo>
                  <a:lnTo>
                    <a:pt x="249" y="99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3"/>
                  </a:lnTo>
                  <a:lnTo>
                    <a:pt x="255" y="93"/>
                  </a:lnTo>
                  <a:lnTo>
                    <a:pt x="255" y="96"/>
                  </a:lnTo>
                  <a:lnTo>
                    <a:pt x="258" y="96"/>
                  </a:lnTo>
                  <a:lnTo>
                    <a:pt x="258" y="93"/>
                  </a:lnTo>
                  <a:lnTo>
                    <a:pt x="261" y="93"/>
                  </a:lnTo>
                  <a:lnTo>
                    <a:pt x="264" y="93"/>
                  </a:lnTo>
                  <a:lnTo>
                    <a:pt x="267" y="93"/>
                  </a:lnTo>
                  <a:lnTo>
                    <a:pt x="270" y="93"/>
                  </a:lnTo>
                  <a:lnTo>
                    <a:pt x="267" y="90"/>
                  </a:lnTo>
                  <a:lnTo>
                    <a:pt x="273" y="90"/>
                  </a:lnTo>
                  <a:lnTo>
                    <a:pt x="270" y="87"/>
                  </a:lnTo>
                  <a:lnTo>
                    <a:pt x="270" y="84"/>
                  </a:lnTo>
                  <a:lnTo>
                    <a:pt x="267" y="84"/>
                  </a:lnTo>
                  <a:lnTo>
                    <a:pt x="264" y="84"/>
                  </a:lnTo>
                  <a:lnTo>
                    <a:pt x="264" y="81"/>
                  </a:lnTo>
                  <a:lnTo>
                    <a:pt x="261" y="81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2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3" y="69"/>
                  </a:lnTo>
                  <a:lnTo>
                    <a:pt x="276" y="69"/>
                  </a:lnTo>
                  <a:lnTo>
                    <a:pt x="276" y="66"/>
                  </a:lnTo>
                  <a:lnTo>
                    <a:pt x="279" y="66"/>
                  </a:lnTo>
                  <a:lnTo>
                    <a:pt x="282" y="66"/>
                  </a:lnTo>
                  <a:lnTo>
                    <a:pt x="282" y="63"/>
                  </a:lnTo>
                  <a:lnTo>
                    <a:pt x="282" y="60"/>
                  </a:lnTo>
                  <a:lnTo>
                    <a:pt x="276" y="60"/>
                  </a:lnTo>
                  <a:lnTo>
                    <a:pt x="273" y="57"/>
                  </a:lnTo>
                  <a:lnTo>
                    <a:pt x="270" y="54"/>
                  </a:lnTo>
                  <a:lnTo>
                    <a:pt x="267" y="51"/>
                  </a:lnTo>
                  <a:lnTo>
                    <a:pt x="270" y="51"/>
                  </a:lnTo>
                  <a:lnTo>
                    <a:pt x="273" y="48"/>
                  </a:lnTo>
                  <a:lnTo>
                    <a:pt x="264" y="48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20" name="Freeform 30">
              <a:extLst>
                <a:ext uri="{FF2B5EF4-FFF2-40B4-BE49-F238E27FC236}">
                  <a16:creationId xmlns:a16="http://schemas.microsoft.com/office/drawing/2014/main" id="{F1D039F3-EA8B-472D-BECA-FEF2D75CE5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2375" y="2654300"/>
              <a:ext cx="939800" cy="638175"/>
            </a:xfrm>
            <a:custGeom>
              <a:avLst/>
              <a:gdLst>
                <a:gd name="T0" fmla="*/ 633087 w 478"/>
                <a:gd name="T1" fmla="*/ 23636 h 324"/>
                <a:gd name="T2" fmla="*/ 686172 w 478"/>
                <a:gd name="T3" fmla="*/ 41363 h 324"/>
                <a:gd name="T4" fmla="*/ 756952 w 478"/>
                <a:gd name="T5" fmla="*/ 53181 h 324"/>
                <a:gd name="T6" fmla="*/ 798240 w 478"/>
                <a:gd name="T7" fmla="*/ 76817 h 324"/>
                <a:gd name="T8" fmla="*/ 851325 w 478"/>
                <a:gd name="T9" fmla="*/ 59090 h 324"/>
                <a:gd name="T10" fmla="*/ 904410 w 478"/>
                <a:gd name="T11" fmla="*/ 64999 h 324"/>
                <a:gd name="T12" fmla="*/ 904410 w 478"/>
                <a:gd name="T13" fmla="*/ 82726 h 324"/>
                <a:gd name="T14" fmla="*/ 939800 w 478"/>
                <a:gd name="T15" fmla="*/ 135908 h 324"/>
                <a:gd name="T16" fmla="*/ 910308 w 478"/>
                <a:gd name="T17" fmla="*/ 129999 h 324"/>
                <a:gd name="T18" fmla="*/ 886715 w 478"/>
                <a:gd name="T19" fmla="*/ 177271 h 324"/>
                <a:gd name="T20" fmla="*/ 874918 w 478"/>
                <a:gd name="T21" fmla="*/ 224543 h 324"/>
                <a:gd name="T22" fmla="*/ 833630 w 478"/>
                <a:gd name="T23" fmla="*/ 212725 h 324"/>
                <a:gd name="T24" fmla="*/ 798240 w 478"/>
                <a:gd name="T25" fmla="*/ 254088 h 324"/>
                <a:gd name="T26" fmla="*/ 762850 w 478"/>
                <a:gd name="T27" fmla="*/ 313178 h 324"/>
                <a:gd name="T28" fmla="*/ 810037 w 478"/>
                <a:gd name="T29" fmla="*/ 319088 h 324"/>
                <a:gd name="T30" fmla="*/ 815935 w 478"/>
                <a:gd name="T31" fmla="*/ 354542 h 324"/>
                <a:gd name="T32" fmla="*/ 810037 w 478"/>
                <a:gd name="T33" fmla="*/ 401814 h 324"/>
                <a:gd name="T34" fmla="*/ 768749 w 478"/>
                <a:gd name="T35" fmla="*/ 413632 h 324"/>
                <a:gd name="T36" fmla="*/ 739257 w 478"/>
                <a:gd name="T37" fmla="*/ 419541 h 324"/>
                <a:gd name="T38" fmla="*/ 709765 w 478"/>
                <a:gd name="T39" fmla="*/ 425450 h 324"/>
                <a:gd name="T40" fmla="*/ 674375 w 478"/>
                <a:gd name="T41" fmla="*/ 431359 h 324"/>
                <a:gd name="T42" fmla="*/ 638985 w 478"/>
                <a:gd name="T43" fmla="*/ 454995 h 324"/>
                <a:gd name="T44" fmla="*/ 638985 w 478"/>
                <a:gd name="T45" fmla="*/ 490449 h 324"/>
                <a:gd name="T46" fmla="*/ 621290 w 478"/>
                <a:gd name="T47" fmla="*/ 502267 h 324"/>
                <a:gd name="T48" fmla="*/ 591799 w 478"/>
                <a:gd name="T49" fmla="*/ 531813 h 324"/>
                <a:gd name="T50" fmla="*/ 568205 w 478"/>
                <a:gd name="T51" fmla="*/ 567267 h 324"/>
                <a:gd name="T52" fmla="*/ 532815 w 478"/>
                <a:gd name="T53" fmla="*/ 537722 h 324"/>
                <a:gd name="T54" fmla="*/ 485629 w 478"/>
                <a:gd name="T55" fmla="*/ 561358 h 324"/>
                <a:gd name="T56" fmla="*/ 432544 w 478"/>
                <a:gd name="T57" fmla="*/ 584994 h 324"/>
                <a:gd name="T58" fmla="*/ 414849 w 478"/>
                <a:gd name="T59" fmla="*/ 620448 h 324"/>
                <a:gd name="T60" fmla="*/ 367662 w 478"/>
                <a:gd name="T61" fmla="*/ 602721 h 324"/>
                <a:gd name="T62" fmla="*/ 361764 w 478"/>
                <a:gd name="T63" fmla="*/ 549540 h 324"/>
                <a:gd name="T64" fmla="*/ 344069 w 478"/>
                <a:gd name="T65" fmla="*/ 573176 h 324"/>
                <a:gd name="T66" fmla="*/ 332272 w 478"/>
                <a:gd name="T67" fmla="*/ 596812 h 324"/>
                <a:gd name="T68" fmla="*/ 326374 w 478"/>
                <a:gd name="T69" fmla="*/ 626357 h 324"/>
                <a:gd name="T70" fmla="*/ 296882 w 478"/>
                <a:gd name="T71" fmla="*/ 608630 h 324"/>
                <a:gd name="T72" fmla="*/ 273289 w 478"/>
                <a:gd name="T73" fmla="*/ 561358 h 324"/>
                <a:gd name="T74" fmla="*/ 235933 w 478"/>
                <a:gd name="T75" fmla="*/ 514085 h 324"/>
                <a:gd name="T76" fmla="*/ 212340 w 478"/>
                <a:gd name="T77" fmla="*/ 519994 h 324"/>
                <a:gd name="T78" fmla="*/ 171051 w 478"/>
                <a:gd name="T79" fmla="*/ 525903 h 324"/>
                <a:gd name="T80" fmla="*/ 117967 w 478"/>
                <a:gd name="T81" fmla="*/ 502267 h 324"/>
                <a:gd name="T82" fmla="*/ 64882 w 478"/>
                <a:gd name="T83" fmla="*/ 454995 h 324"/>
                <a:gd name="T84" fmla="*/ 76678 w 478"/>
                <a:gd name="T85" fmla="*/ 372269 h 324"/>
                <a:gd name="T86" fmla="*/ 35390 w 478"/>
                <a:gd name="T87" fmla="*/ 354542 h 324"/>
                <a:gd name="T88" fmla="*/ 17695 w 478"/>
                <a:gd name="T89" fmla="*/ 283633 h 324"/>
                <a:gd name="T90" fmla="*/ 11797 w 478"/>
                <a:gd name="T91" fmla="*/ 248179 h 324"/>
                <a:gd name="T92" fmla="*/ 17695 w 478"/>
                <a:gd name="T93" fmla="*/ 218634 h 324"/>
                <a:gd name="T94" fmla="*/ 35390 w 478"/>
                <a:gd name="T95" fmla="*/ 183180 h 324"/>
                <a:gd name="T96" fmla="*/ 47187 w 478"/>
                <a:gd name="T97" fmla="*/ 141817 h 324"/>
                <a:gd name="T98" fmla="*/ 82577 w 478"/>
                <a:gd name="T99" fmla="*/ 124090 h 324"/>
                <a:gd name="T100" fmla="*/ 123865 w 478"/>
                <a:gd name="T101" fmla="*/ 118181 h 324"/>
                <a:gd name="T102" fmla="*/ 165153 w 478"/>
                <a:gd name="T103" fmla="*/ 135908 h 324"/>
                <a:gd name="T104" fmla="*/ 194645 w 478"/>
                <a:gd name="T105" fmla="*/ 159544 h 324"/>
                <a:gd name="T106" fmla="*/ 235933 w 478"/>
                <a:gd name="T107" fmla="*/ 183180 h 324"/>
                <a:gd name="T108" fmla="*/ 279187 w 478"/>
                <a:gd name="T109" fmla="*/ 189089 h 324"/>
                <a:gd name="T110" fmla="*/ 320476 w 478"/>
                <a:gd name="T111" fmla="*/ 206816 h 324"/>
                <a:gd name="T112" fmla="*/ 385357 w 478"/>
                <a:gd name="T113" fmla="*/ 206816 h 324"/>
                <a:gd name="T114" fmla="*/ 420747 w 478"/>
                <a:gd name="T115" fmla="*/ 200907 h 324"/>
                <a:gd name="T116" fmla="*/ 479731 w 478"/>
                <a:gd name="T117" fmla="*/ 189089 h 324"/>
                <a:gd name="T118" fmla="*/ 509222 w 478"/>
                <a:gd name="T119" fmla="*/ 129999 h 324"/>
                <a:gd name="T120" fmla="*/ 532815 w 478"/>
                <a:gd name="T121" fmla="*/ 64999 h 324"/>
                <a:gd name="T122" fmla="*/ 532815 w 478"/>
                <a:gd name="T123" fmla="*/ 23636 h 324"/>
                <a:gd name="T124" fmla="*/ 585900 w 478"/>
                <a:gd name="T125" fmla="*/ 5909 h 3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78" h="324">
                  <a:moveTo>
                    <a:pt x="319" y="0"/>
                  </a:moveTo>
                  <a:lnTo>
                    <a:pt x="322" y="0"/>
                  </a:lnTo>
                  <a:lnTo>
                    <a:pt x="322" y="3"/>
                  </a:lnTo>
                  <a:lnTo>
                    <a:pt x="319" y="3"/>
                  </a:lnTo>
                  <a:lnTo>
                    <a:pt x="322" y="3"/>
                  </a:lnTo>
                  <a:lnTo>
                    <a:pt x="322" y="6"/>
                  </a:lnTo>
                  <a:lnTo>
                    <a:pt x="319" y="6"/>
                  </a:lnTo>
                  <a:lnTo>
                    <a:pt x="319" y="9"/>
                  </a:lnTo>
                  <a:lnTo>
                    <a:pt x="322" y="9"/>
                  </a:lnTo>
                  <a:lnTo>
                    <a:pt x="322" y="12"/>
                  </a:lnTo>
                  <a:lnTo>
                    <a:pt x="322" y="15"/>
                  </a:lnTo>
                  <a:lnTo>
                    <a:pt x="322" y="12"/>
                  </a:lnTo>
                  <a:lnTo>
                    <a:pt x="325" y="12"/>
                  </a:lnTo>
                  <a:lnTo>
                    <a:pt x="325" y="15"/>
                  </a:lnTo>
                  <a:lnTo>
                    <a:pt x="322" y="15"/>
                  </a:lnTo>
                  <a:lnTo>
                    <a:pt x="328" y="15"/>
                  </a:lnTo>
                  <a:lnTo>
                    <a:pt x="331" y="15"/>
                  </a:lnTo>
                  <a:lnTo>
                    <a:pt x="331" y="18"/>
                  </a:lnTo>
                  <a:lnTo>
                    <a:pt x="334" y="18"/>
                  </a:lnTo>
                  <a:lnTo>
                    <a:pt x="337" y="21"/>
                  </a:lnTo>
                  <a:lnTo>
                    <a:pt x="337" y="15"/>
                  </a:lnTo>
                  <a:lnTo>
                    <a:pt x="343" y="21"/>
                  </a:lnTo>
                  <a:lnTo>
                    <a:pt x="346" y="21"/>
                  </a:lnTo>
                  <a:lnTo>
                    <a:pt x="349" y="21"/>
                  </a:lnTo>
                  <a:lnTo>
                    <a:pt x="349" y="18"/>
                  </a:lnTo>
                  <a:lnTo>
                    <a:pt x="361" y="15"/>
                  </a:lnTo>
                  <a:lnTo>
                    <a:pt x="364" y="12"/>
                  </a:lnTo>
                  <a:lnTo>
                    <a:pt x="367" y="12"/>
                  </a:lnTo>
                  <a:lnTo>
                    <a:pt x="367" y="6"/>
                  </a:lnTo>
                  <a:lnTo>
                    <a:pt x="370" y="6"/>
                  </a:lnTo>
                  <a:lnTo>
                    <a:pt x="373" y="18"/>
                  </a:lnTo>
                  <a:lnTo>
                    <a:pt x="373" y="21"/>
                  </a:lnTo>
                  <a:lnTo>
                    <a:pt x="376" y="24"/>
                  </a:lnTo>
                  <a:lnTo>
                    <a:pt x="382" y="27"/>
                  </a:lnTo>
                  <a:lnTo>
                    <a:pt x="382" y="30"/>
                  </a:lnTo>
                  <a:lnTo>
                    <a:pt x="385" y="27"/>
                  </a:lnTo>
                  <a:lnTo>
                    <a:pt x="388" y="30"/>
                  </a:lnTo>
                  <a:lnTo>
                    <a:pt x="388" y="33"/>
                  </a:lnTo>
                  <a:lnTo>
                    <a:pt x="385" y="33"/>
                  </a:lnTo>
                  <a:lnTo>
                    <a:pt x="385" y="36"/>
                  </a:lnTo>
                  <a:lnTo>
                    <a:pt x="388" y="36"/>
                  </a:lnTo>
                  <a:lnTo>
                    <a:pt x="388" y="39"/>
                  </a:lnTo>
                  <a:lnTo>
                    <a:pt x="391" y="36"/>
                  </a:lnTo>
                  <a:lnTo>
                    <a:pt x="394" y="36"/>
                  </a:lnTo>
                  <a:lnTo>
                    <a:pt x="397" y="42"/>
                  </a:lnTo>
                  <a:lnTo>
                    <a:pt x="400" y="39"/>
                  </a:lnTo>
                  <a:lnTo>
                    <a:pt x="403" y="39"/>
                  </a:lnTo>
                  <a:lnTo>
                    <a:pt x="406" y="39"/>
                  </a:lnTo>
                  <a:lnTo>
                    <a:pt x="409" y="39"/>
                  </a:lnTo>
                  <a:lnTo>
                    <a:pt x="412" y="39"/>
                  </a:lnTo>
                  <a:lnTo>
                    <a:pt x="415" y="42"/>
                  </a:lnTo>
                  <a:lnTo>
                    <a:pt x="415" y="39"/>
                  </a:lnTo>
                  <a:lnTo>
                    <a:pt x="418" y="39"/>
                  </a:lnTo>
                  <a:lnTo>
                    <a:pt x="418" y="36"/>
                  </a:lnTo>
                  <a:lnTo>
                    <a:pt x="418" y="33"/>
                  </a:lnTo>
                  <a:lnTo>
                    <a:pt x="418" y="30"/>
                  </a:lnTo>
                  <a:lnTo>
                    <a:pt x="421" y="30"/>
                  </a:lnTo>
                  <a:lnTo>
                    <a:pt x="427" y="33"/>
                  </a:lnTo>
                  <a:lnTo>
                    <a:pt x="430" y="30"/>
                  </a:lnTo>
                  <a:lnTo>
                    <a:pt x="433" y="30"/>
                  </a:lnTo>
                  <a:lnTo>
                    <a:pt x="436" y="30"/>
                  </a:lnTo>
                  <a:lnTo>
                    <a:pt x="439" y="30"/>
                  </a:lnTo>
                  <a:lnTo>
                    <a:pt x="442" y="33"/>
                  </a:lnTo>
                  <a:lnTo>
                    <a:pt x="445" y="33"/>
                  </a:lnTo>
                  <a:lnTo>
                    <a:pt x="448" y="33"/>
                  </a:lnTo>
                  <a:lnTo>
                    <a:pt x="448" y="30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1" y="33"/>
                  </a:lnTo>
                  <a:lnTo>
                    <a:pt x="454" y="33"/>
                  </a:lnTo>
                  <a:lnTo>
                    <a:pt x="457" y="33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6"/>
                  </a:lnTo>
                  <a:lnTo>
                    <a:pt x="475" y="36"/>
                  </a:lnTo>
                  <a:lnTo>
                    <a:pt x="475" y="39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5"/>
                  </a:lnTo>
                  <a:lnTo>
                    <a:pt x="469" y="45"/>
                  </a:lnTo>
                  <a:lnTo>
                    <a:pt x="466" y="45"/>
                  </a:lnTo>
                  <a:lnTo>
                    <a:pt x="466" y="42"/>
                  </a:lnTo>
                  <a:lnTo>
                    <a:pt x="463" y="42"/>
                  </a:lnTo>
                  <a:lnTo>
                    <a:pt x="460" y="42"/>
                  </a:lnTo>
                  <a:lnTo>
                    <a:pt x="460" y="48"/>
                  </a:lnTo>
                  <a:lnTo>
                    <a:pt x="463" y="45"/>
                  </a:lnTo>
                  <a:lnTo>
                    <a:pt x="463" y="48"/>
                  </a:lnTo>
                  <a:lnTo>
                    <a:pt x="463" y="51"/>
                  </a:lnTo>
                  <a:lnTo>
                    <a:pt x="466" y="51"/>
                  </a:lnTo>
                  <a:lnTo>
                    <a:pt x="469" y="51"/>
                  </a:lnTo>
                  <a:lnTo>
                    <a:pt x="472" y="54"/>
                  </a:lnTo>
                  <a:lnTo>
                    <a:pt x="475" y="54"/>
                  </a:lnTo>
                  <a:lnTo>
                    <a:pt x="475" y="57"/>
                  </a:lnTo>
                  <a:lnTo>
                    <a:pt x="478" y="60"/>
                  </a:lnTo>
                  <a:lnTo>
                    <a:pt x="478" y="63"/>
                  </a:lnTo>
                  <a:lnTo>
                    <a:pt x="478" y="69"/>
                  </a:lnTo>
                  <a:lnTo>
                    <a:pt x="475" y="69"/>
                  </a:lnTo>
                  <a:lnTo>
                    <a:pt x="472" y="69"/>
                  </a:lnTo>
                  <a:lnTo>
                    <a:pt x="472" y="72"/>
                  </a:lnTo>
                  <a:lnTo>
                    <a:pt x="469" y="72"/>
                  </a:lnTo>
                  <a:lnTo>
                    <a:pt x="466" y="72"/>
                  </a:lnTo>
                  <a:lnTo>
                    <a:pt x="463" y="75"/>
                  </a:lnTo>
                  <a:lnTo>
                    <a:pt x="463" y="72"/>
                  </a:lnTo>
                  <a:lnTo>
                    <a:pt x="463" y="69"/>
                  </a:lnTo>
                  <a:lnTo>
                    <a:pt x="466" y="69"/>
                  </a:lnTo>
                  <a:lnTo>
                    <a:pt x="466" y="66"/>
                  </a:lnTo>
                  <a:lnTo>
                    <a:pt x="463" y="69"/>
                  </a:lnTo>
                  <a:lnTo>
                    <a:pt x="463" y="66"/>
                  </a:lnTo>
                  <a:lnTo>
                    <a:pt x="460" y="69"/>
                  </a:lnTo>
                  <a:lnTo>
                    <a:pt x="457" y="69"/>
                  </a:lnTo>
                  <a:lnTo>
                    <a:pt x="457" y="72"/>
                  </a:lnTo>
                  <a:lnTo>
                    <a:pt x="460" y="75"/>
                  </a:lnTo>
                  <a:lnTo>
                    <a:pt x="460" y="78"/>
                  </a:lnTo>
                  <a:lnTo>
                    <a:pt x="460" y="81"/>
                  </a:lnTo>
                  <a:lnTo>
                    <a:pt x="460" y="84"/>
                  </a:lnTo>
                  <a:lnTo>
                    <a:pt x="457" y="84"/>
                  </a:lnTo>
                  <a:lnTo>
                    <a:pt x="457" y="87"/>
                  </a:lnTo>
                  <a:lnTo>
                    <a:pt x="454" y="87"/>
                  </a:lnTo>
                  <a:lnTo>
                    <a:pt x="454" y="90"/>
                  </a:lnTo>
                  <a:lnTo>
                    <a:pt x="451" y="90"/>
                  </a:lnTo>
                  <a:lnTo>
                    <a:pt x="451" y="93"/>
                  </a:lnTo>
                  <a:lnTo>
                    <a:pt x="448" y="93"/>
                  </a:lnTo>
                  <a:lnTo>
                    <a:pt x="448" y="96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48" y="102"/>
                  </a:lnTo>
                  <a:lnTo>
                    <a:pt x="448" y="105"/>
                  </a:lnTo>
                  <a:lnTo>
                    <a:pt x="448" y="108"/>
                  </a:lnTo>
                  <a:lnTo>
                    <a:pt x="445" y="108"/>
                  </a:lnTo>
                  <a:lnTo>
                    <a:pt x="448" y="111"/>
                  </a:lnTo>
                  <a:lnTo>
                    <a:pt x="445" y="111"/>
                  </a:lnTo>
                  <a:lnTo>
                    <a:pt x="445" y="114"/>
                  </a:lnTo>
                  <a:lnTo>
                    <a:pt x="445" y="111"/>
                  </a:lnTo>
                  <a:lnTo>
                    <a:pt x="442" y="111"/>
                  </a:lnTo>
                  <a:lnTo>
                    <a:pt x="442" y="114"/>
                  </a:lnTo>
                  <a:lnTo>
                    <a:pt x="439" y="114"/>
                  </a:lnTo>
                  <a:lnTo>
                    <a:pt x="436" y="114"/>
                  </a:lnTo>
                  <a:lnTo>
                    <a:pt x="433" y="117"/>
                  </a:lnTo>
                  <a:lnTo>
                    <a:pt x="430" y="117"/>
                  </a:lnTo>
                  <a:lnTo>
                    <a:pt x="430" y="114"/>
                  </a:lnTo>
                  <a:lnTo>
                    <a:pt x="430" y="111"/>
                  </a:lnTo>
                  <a:lnTo>
                    <a:pt x="427" y="114"/>
                  </a:lnTo>
                  <a:lnTo>
                    <a:pt x="424" y="111"/>
                  </a:lnTo>
                  <a:lnTo>
                    <a:pt x="424" y="108"/>
                  </a:lnTo>
                  <a:lnTo>
                    <a:pt x="421" y="108"/>
                  </a:lnTo>
                  <a:lnTo>
                    <a:pt x="418" y="108"/>
                  </a:lnTo>
                  <a:lnTo>
                    <a:pt x="418" y="111"/>
                  </a:lnTo>
                  <a:lnTo>
                    <a:pt x="415" y="111"/>
                  </a:lnTo>
                  <a:lnTo>
                    <a:pt x="412" y="114"/>
                  </a:lnTo>
                  <a:lnTo>
                    <a:pt x="409" y="114"/>
                  </a:lnTo>
                  <a:lnTo>
                    <a:pt x="406" y="114"/>
                  </a:lnTo>
                  <a:lnTo>
                    <a:pt x="409" y="117"/>
                  </a:lnTo>
                  <a:lnTo>
                    <a:pt x="406" y="117"/>
                  </a:lnTo>
                  <a:lnTo>
                    <a:pt x="406" y="123"/>
                  </a:lnTo>
                  <a:lnTo>
                    <a:pt x="406" y="126"/>
                  </a:lnTo>
                  <a:lnTo>
                    <a:pt x="406" y="129"/>
                  </a:lnTo>
                  <a:lnTo>
                    <a:pt x="403" y="135"/>
                  </a:lnTo>
                  <a:lnTo>
                    <a:pt x="403" y="138"/>
                  </a:lnTo>
                  <a:lnTo>
                    <a:pt x="400" y="138"/>
                  </a:lnTo>
                  <a:lnTo>
                    <a:pt x="400" y="141"/>
                  </a:lnTo>
                  <a:lnTo>
                    <a:pt x="394" y="138"/>
                  </a:lnTo>
                  <a:lnTo>
                    <a:pt x="394" y="141"/>
                  </a:lnTo>
                  <a:lnTo>
                    <a:pt x="394" y="147"/>
                  </a:lnTo>
                  <a:lnTo>
                    <a:pt x="397" y="153"/>
                  </a:lnTo>
                  <a:lnTo>
                    <a:pt x="394" y="153"/>
                  </a:lnTo>
                  <a:lnTo>
                    <a:pt x="391" y="156"/>
                  </a:lnTo>
                  <a:lnTo>
                    <a:pt x="388" y="156"/>
                  </a:lnTo>
                  <a:lnTo>
                    <a:pt x="388" y="159"/>
                  </a:lnTo>
                  <a:lnTo>
                    <a:pt x="385" y="162"/>
                  </a:lnTo>
                  <a:lnTo>
                    <a:pt x="388" y="168"/>
                  </a:lnTo>
                  <a:lnTo>
                    <a:pt x="388" y="174"/>
                  </a:lnTo>
                  <a:lnTo>
                    <a:pt x="391" y="171"/>
                  </a:lnTo>
                  <a:lnTo>
                    <a:pt x="394" y="171"/>
                  </a:lnTo>
                  <a:lnTo>
                    <a:pt x="397" y="168"/>
                  </a:lnTo>
                  <a:lnTo>
                    <a:pt x="400" y="168"/>
                  </a:lnTo>
                  <a:lnTo>
                    <a:pt x="400" y="165"/>
                  </a:lnTo>
                  <a:lnTo>
                    <a:pt x="403" y="165"/>
                  </a:lnTo>
                  <a:lnTo>
                    <a:pt x="406" y="165"/>
                  </a:lnTo>
                  <a:lnTo>
                    <a:pt x="409" y="162"/>
                  </a:lnTo>
                  <a:lnTo>
                    <a:pt x="412" y="162"/>
                  </a:lnTo>
                  <a:lnTo>
                    <a:pt x="415" y="162"/>
                  </a:lnTo>
                  <a:lnTo>
                    <a:pt x="415" y="165"/>
                  </a:lnTo>
                  <a:lnTo>
                    <a:pt x="415" y="168"/>
                  </a:lnTo>
                  <a:lnTo>
                    <a:pt x="418" y="168"/>
                  </a:lnTo>
                  <a:lnTo>
                    <a:pt x="421" y="165"/>
                  </a:lnTo>
                  <a:lnTo>
                    <a:pt x="421" y="168"/>
                  </a:lnTo>
                  <a:lnTo>
                    <a:pt x="421" y="171"/>
                  </a:lnTo>
                  <a:lnTo>
                    <a:pt x="418" y="174"/>
                  </a:lnTo>
                  <a:lnTo>
                    <a:pt x="421" y="177"/>
                  </a:lnTo>
                  <a:lnTo>
                    <a:pt x="418" y="177"/>
                  </a:lnTo>
                  <a:lnTo>
                    <a:pt x="418" y="180"/>
                  </a:lnTo>
                  <a:lnTo>
                    <a:pt x="415" y="180"/>
                  </a:lnTo>
                  <a:lnTo>
                    <a:pt x="418" y="180"/>
                  </a:lnTo>
                  <a:lnTo>
                    <a:pt x="418" y="183"/>
                  </a:lnTo>
                  <a:lnTo>
                    <a:pt x="415" y="186"/>
                  </a:lnTo>
                  <a:lnTo>
                    <a:pt x="418" y="189"/>
                  </a:lnTo>
                  <a:lnTo>
                    <a:pt x="418" y="192"/>
                  </a:lnTo>
                  <a:lnTo>
                    <a:pt x="418" y="189"/>
                  </a:lnTo>
                  <a:lnTo>
                    <a:pt x="418" y="195"/>
                  </a:lnTo>
                  <a:lnTo>
                    <a:pt x="418" y="198"/>
                  </a:lnTo>
                  <a:lnTo>
                    <a:pt x="415" y="198"/>
                  </a:lnTo>
                  <a:lnTo>
                    <a:pt x="412" y="198"/>
                  </a:lnTo>
                  <a:lnTo>
                    <a:pt x="412" y="201"/>
                  </a:lnTo>
                  <a:lnTo>
                    <a:pt x="412" y="204"/>
                  </a:lnTo>
                  <a:lnTo>
                    <a:pt x="409" y="204"/>
                  </a:lnTo>
                  <a:lnTo>
                    <a:pt x="409" y="207"/>
                  </a:lnTo>
                  <a:lnTo>
                    <a:pt x="409" y="210"/>
                  </a:lnTo>
                  <a:lnTo>
                    <a:pt x="406" y="210"/>
                  </a:lnTo>
                  <a:lnTo>
                    <a:pt x="406" y="213"/>
                  </a:lnTo>
                  <a:lnTo>
                    <a:pt x="403" y="213"/>
                  </a:lnTo>
                  <a:lnTo>
                    <a:pt x="403" y="210"/>
                  </a:lnTo>
                  <a:lnTo>
                    <a:pt x="400" y="210"/>
                  </a:lnTo>
                  <a:lnTo>
                    <a:pt x="400" y="207"/>
                  </a:lnTo>
                  <a:lnTo>
                    <a:pt x="397" y="207"/>
                  </a:lnTo>
                  <a:lnTo>
                    <a:pt x="394" y="207"/>
                  </a:lnTo>
                  <a:lnTo>
                    <a:pt x="391" y="210"/>
                  </a:lnTo>
                  <a:lnTo>
                    <a:pt x="391" y="213"/>
                  </a:lnTo>
                  <a:lnTo>
                    <a:pt x="388" y="213"/>
                  </a:lnTo>
                  <a:lnTo>
                    <a:pt x="388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6"/>
                  </a:lnTo>
                  <a:lnTo>
                    <a:pt x="382" y="216"/>
                  </a:lnTo>
                  <a:lnTo>
                    <a:pt x="385" y="216"/>
                  </a:lnTo>
                  <a:lnTo>
                    <a:pt x="385" y="213"/>
                  </a:lnTo>
                  <a:lnTo>
                    <a:pt x="382" y="213"/>
                  </a:lnTo>
                  <a:lnTo>
                    <a:pt x="379" y="213"/>
                  </a:lnTo>
                  <a:lnTo>
                    <a:pt x="376" y="213"/>
                  </a:lnTo>
                  <a:lnTo>
                    <a:pt x="373" y="213"/>
                  </a:lnTo>
                  <a:lnTo>
                    <a:pt x="370" y="213"/>
                  </a:lnTo>
                  <a:lnTo>
                    <a:pt x="367" y="213"/>
                  </a:lnTo>
                  <a:lnTo>
                    <a:pt x="367" y="210"/>
                  </a:lnTo>
                  <a:lnTo>
                    <a:pt x="364" y="210"/>
                  </a:lnTo>
                  <a:lnTo>
                    <a:pt x="364" y="207"/>
                  </a:lnTo>
                  <a:lnTo>
                    <a:pt x="364" y="210"/>
                  </a:lnTo>
                  <a:lnTo>
                    <a:pt x="361" y="210"/>
                  </a:lnTo>
                  <a:lnTo>
                    <a:pt x="361" y="213"/>
                  </a:lnTo>
                  <a:lnTo>
                    <a:pt x="364" y="213"/>
                  </a:lnTo>
                  <a:lnTo>
                    <a:pt x="361" y="213"/>
                  </a:lnTo>
                  <a:lnTo>
                    <a:pt x="361" y="216"/>
                  </a:lnTo>
                  <a:lnTo>
                    <a:pt x="364" y="216"/>
                  </a:lnTo>
                  <a:lnTo>
                    <a:pt x="361" y="216"/>
                  </a:lnTo>
                  <a:lnTo>
                    <a:pt x="361" y="213"/>
                  </a:lnTo>
                  <a:lnTo>
                    <a:pt x="358" y="213"/>
                  </a:lnTo>
                  <a:lnTo>
                    <a:pt x="355" y="213"/>
                  </a:lnTo>
                  <a:lnTo>
                    <a:pt x="355" y="216"/>
                  </a:lnTo>
                  <a:lnTo>
                    <a:pt x="352" y="216"/>
                  </a:lnTo>
                  <a:lnTo>
                    <a:pt x="352" y="213"/>
                  </a:lnTo>
                  <a:lnTo>
                    <a:pt x="349" y="213"/>
                  </a:lnTo>
                  <a:lnTo>
                    <a:pt x="349" y="216"/>
                  </a:lnTo>
                  <a:lnTo>
                    <a:pt x="346" y="216"/>
                  </a:lnTo>
                  <a:lnTo>
                    <a:pt x="343" y="219"/>
                  </a:lnTo>
                  <a:lnTo>
                    <a:pt x="343" y="222"/>
                  </a:lnTo>
                  <a:lnTo>
                    <a:pt x="343" y="219"/>
                  </a:lnTo>
                  <a:lnTo>
                    <a:pt x="340" y="219"/>
                  </a:lnTo>
                  <a:lnTo>
                    <a:pt x="337" y="219"/>
                  </a:lnTo>
                  <a:lnTo>
                    <a:pt x="337" y="222"/>
                  </a:lnTo>
                  <a:lnTo>
                    <a:pt x="334" y="222"/>
                  </a:lnTo>
                  <a:lnTo>
                    <a:pt x="334" y="225"/>
                  </a:lnTo>
                  <a:lnTo>
                    <a:pt x="334" y="228"/>
                  </a:lnTo>
                  <a:lnTo>
                    <a:pt x="331" y="228"/>
                  </a:lnTo>
                  <a:lnTo>
                    <a:pt x="328" y="228"/>
                  </a:lnTo>
                  <a:lnTo>
                    <a:pt x="328" y="231"/>
                  </a:lnTo>
                  <a:lnTo>
                    <a:pt x="325" y="231"/>
                  </a:lnTo>
                  <a:lnTo>
                    <a:pt x="325" y="234"/>
                  </a:lnTo>
                  <a:lnTo>
                    <a:pt x="322" y="234"/>
                  </a:lnTo>
                  <a:lnTo>
                    <a:pt x="319" y="234"/>
                  </a:lnTo>
                  <a:lnTo>
                    <a:pt x="319" y="237"/>
                  </a:lnTo>
                  <a:lnTo>
                    <a:pt x="322" y="237"/>
                  </a:lnTo>
                  <a:lnTo>
                    <a:pt x="322" y="240"/>
                  </a:lnTo>
                  <a:lnTo>
                    <a:pt x="325" y="240"/>
                  </a:lnTo>
                  <a:lnTo>
                    <a:pt x="325" y="243"/>
                  </a:lnTo>
                  <a:lnTo>
                    <a:pt x="328" y="243"/>
                  </a:lnTo>
                  <a:lnTo>
                    <a:pt x="328" y="246"/>
                  </a:lnTo>
                  <a:lnTo>
                    <a:pt x="325" y="246"/>
                  </a:lnTo>
                  <a:lnTo>
                    <a:pt x="325" y="249"/>
                  </a:lnTo>
                  <a:lnTo>
                    <a:pt x="322" y="249"/>
                  </a:lnTo>
                  <a:lnTo>
                    <a:pt x="322" y="252"/>
                  </a:lnTo>
                  <a:lnTo>
                    <a:pt x="322" y="255"/>
                  </a:lnTo>
                  <a:lnTo>
                    <a:pt x="325" y="255"/>
                  </a:lnTo>
                  <a:lnTo>
                    <a:pt x="328" y="255"/>
                  </a:lnTo>
                  <a:lnTo>
                    <a:pt x="328" y="258"/>
                  </a:lnTo>
                  <a:lnTo>
                    <a:pt x="325" y="255"/>
                  </a:lnTo>
                  <a:lnTo>
                    <a:pt x="322" y="255"/>
                  </a:lnTo>
                  <a:lnTo>
                    <a:pt x="322" y="258"/>
                  </a:lnTo>
                  <a:lnTo>
                    <a:pt x="319" y="258"/>
                  </a:lnTo>
                  <a:lnTo>
                    <a:pt x="319" y="255"/>
                  </a:lnTo>
                  <a:lnTo>
                    <a:pt x="316" y="255"/>
                  </a:lnTo>
                  <a:lnTo>
                    <a:pt x="313" y="255"/>
                  </a:lnTo>
                  <a:lnTo>
                    <a:pt x="313" y="258"/>
                  </a:lnTo>
                  <a:lnTo>
                    <a:pt x="313" y="261"/>
                  </a:lnTo>
                  <a:lnTo>
                    <a:pt x="313" y="258"/>
                  </a:lnTo>
                  <a:lnTo>
                    <a:pt x="310" y="258"/>
                  </a:lnTo>
                  <a:lnTo>
                    <a:pt x="307" y="258"/>
                  </a:lnTo>
                  <a:lnTo>
                    <a:pt x="307" y="261"/>
                  </a:lnTo>
                  <a:lnTo>
                    <a:pt x="304" y="261"/>
                  </a:lnTo>
                  <a:lnTo>
                    <a:pt x="304" y="264"/>
                  </a:lnTo>
                  <a:lnTo>
                    <a:pt x="304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298" y="270"/>
                  </a:lnTo>
                  <a:lnTo>
                    <a:pt x="298" y="273"/>
                  </a:lnTo>
                  <a:lnTo>
                    <a:pt x="295" y="273"/>
                  </a:lnTo>
                  <a:lnTo>
                    <a:pt x="295" y="276"/>
                  </a:lnTo>
                  <a:lnTo>
                    <a:pt x="292" y="276"/>
                  </a:lnTo>
                  <a:lnTo>
                    <a:pt x="292" y="279"/>
                  </a:lnTo>
                  <a:lnTo>
                    <a:pt x="292" y="282"/>
                  </a:lnTo>
                  <a:lnTo>
                    <a:pt x="289" y="282"/>
                  </a:lnTo>
                  <a:lnTo>
                    <a:pt x="289" y="285"/>
                  </a:lnTo>
                  <a:lnTo>
                    <a:pt x="292" y="285"/>
                  </a:lnTo>
                  <a:lnTo>
                    <a:pt x="289" y="285"/>
                  </a:lnTo>
                  <a:lnTo>
                    <a:pt x="289" y="288"/>
                  </a:lnTo>
                  <a:lnTo>
                    <a:pt x="286" y="288"/>
                  </a:lnTo>
                  <a:lnTo>
                    <a:pt x="286" y="285"/>
                  </a:lnTo>
                  <a:lnTo>
                    <a:pt x="286" y="282"/>
                  </a:lnTo>
                  <a:lnTo>
                    <a:pt x="286" y="279"/>
                  </a:lnTo>
                  <a:lnTo>
                    <a:pt x="283" y="279"/>
                  </a:lnTo>
                  <a:lnTo>
                    <a:pt x="280" y="279"/>
                  </a:lnTo>
                  <a:lnTo>
                    <a:pt x="280" y="276"/>
                  </a:lnTo>
                  <a:lnTo>
                    <a:pt x="277" y="276"/>
                  </a:lnTo>
                  <a:lnTo>
                    <a:pt x="277" y="279"/>
                  </a:lnTo>
                  <a:lnTo>
                    <a:pt x="274" y="279"/>
                  </a:lnTo>
                  <a:lnTo>
                    <a:pt x="271" y="276"/>
                  </a:lnTo>
                  <a:lnTo>
                    <a:pt x="271" y="273"/>
                  </a:lnTo>
                  <a:lnTo>
                    <a:pt x="268" y="273"/>
                  </a:lnTo>
                  <a:lnTo>
                    <a:pt x="265" y="276"/>
                  </a:lnTo>
                  <a:lnTo>
                    <a:pt x="262" y="276"/>
                  </a:lnTo>
                  <a:lnTo>
                    <a:pt x="262" y="279"/>
                  </a:lnTo>
                  <a:lnTo>
                    <a:pt x="259" y="279"/>
                  </a:lnTo>
                  <a:lnTo>
                    <a:pt x="259" y="282"/>
                  </a:lnTo>
                  <a:lnTo>
                    <a:pt x="259" y="285"/>
                  </a:lnTo>
                  <a:lnTo>
                    <a:pt x="256" y="285"/>
                  </a:lnTo>
                  <a:lnTo>
                    <a:pt x="253" y="282"/>
                  </a:lnTo>
                  <a:lnTo>
                    <a:pt x="250" y="282"/>
                  </a:lnTo>
                  <a:lnTo>
                    <a:pt x="250" y="285"/>
                  </a:lnTo>
                  <a:lnTo>
                    <a:pt x="247" y="285"/>
                  </a:lnTo>
                  <a:lnTo>
                    <a:pt x="244" y="285"/>
                  </a:lnTo>
                  <a:lnTo>
                    <a:pt x="241" y="285"/>
                  </a:lnTo>
                  <a:lnTo>
                    <a:pt x="238" y="288"/>
                  </a:lnTo>
                  <a:lnTo>
                    <a:pt x="235" y="288"/>
                  </a:lnTo>
                  <a:lnTo>
                    <a:pt x="232" y="288"/>
                  </a:lnTo>
                  <a:lnTo>
                    <a:pt x="232" y="291"/>
                  </a:lnTo>
                  <a:lnTo>
                    <a:pt x="229" y="291"/>
                  </a:lnTo>
                  <a:lnTo>
                    <a:pt x="229" y="294"/>
                  </a:lnTo>
                  <a:lnTo>
                    <a:pt x="226" y="294"/>
                  </a:lnTo>
                  <a:lnTo>
                    <a:pt x="223" y="294"/>
                  </a:lnTo>
                  <a:lnTo>
                    <a:pt x="223" y="297"/>
                  </a:lnTo>
                  <a:lnTo>
                    <a:pt x="220" y="297"/>
                  </a:lnTo>
                  <a:lnTo>
                    <a:pt x="220" y="300"/>
                  </a:lnTo>
                  <a:lnTo>
                    <a:pt x="223" y="300"/>
                  </a:lnTo>
                  <a:lnTo>
                    <a:pt x="223" y="303"/>
                  </a:lnTo>
                  <a:lnTo>
                    <a:pt x="220" y="303"/>
                  </a:lnTo>
                  <a:lnTo>
                    <a:pt x="217" y="303"/>
                  </a:lnTo>
                  <a:lnTo>
                    <a:pt x="217" y="306"/>
                  </a:lnTo>
                  <a:lnTo>
                    <a:pt x="214" y="306"/>
                  </a:lnTo>
                  <a:lnTo>
                    <a:pt x="211" y="306"/>
                  </a:lnTo>
                  <a:lnTo>
                    <a:pt x="211" y="309"/>
                  </a:lnTo>
                  <a:lnTo>
                    <a:pt x="211" y="312"/>
                  </a:lnTo>
                  <a:lnTo>
                    <a:pt x="208" y="312"/>
                  </a:lnTo>
                  <a:lnTo>
                    <a:pt x="211" y="315"/>
                  </a:lnTo>
                  <a:lnTo>
                    <a:pt x="208" y="315"/>
                  </a:lnTo>
                  <a:lnTo>
                    <a:pt x="208" y="318"/>
                  </a:lnTo>
                  <a:lnTo>
                    <a:pt x="208" y="321"/>
                  </a:lnTo>
                  <a:lnTo>
                    <a:pt x="205" y="321"/>
                  </a:lnTo>
                  <a:lnTo>
                    <a:pt x="202" y="321"/>
                  </a:lnTo>
                  <a:lnTo>
                    <a:pt x="199" y="321"/>
                  </a:lnTo>
                  <a:lnTo>
                    <a:pt x="199" y="324"/>
                  </a:lnTo>
                  <a:lnTo>
                    <a:pt x="196" y="324"/>
                  </a:lnTo>
                  <a:lnTo>
                    <a:pt x="190" y="315"/>
                  </a:lnTo>
                  <a:lnTo>
                    <a:pt x="190" y="312"/>
                  </a:lnTo>
                  <a:lnTo>
                    <a:pt x="187" y="309"/>
                  </a:lnTo>
                  <a:lnTo>
                    <a:pt x="187" y="306"/>
                  </a:lnTo>
                  <a:lnTo>
                    <a:pt x="190" y="303"/>
                  </a:lnTo>
                  <a:lnTo>
                    <a:pt x="193" y="300"/>
                  </a:lnTo>
                  <a:lnTo>
                    <a:pt x="202" y="291"/>
                  </a:lnTo>
                  <a:lnTo>
                    <a:pt x="205" y="285"/>
                  </a:lnTo>
                  <a:lnTo>
                    <a:pt x="202" y="285"/>
                  </a:lnTo>
                  <a:lnTo>
                    <a:pt x="199" y="285"/>
                  </a:lnTo>
                  <a:lnTo>
                    <a:pt x="196" y="285"/>
                  </a:lnTo>
                  <a:lnTo>
                    <a:pt x="190" y="285"/>
                  </a:lnTo>
                  <a:lnTo>
                    <a:pt x="187" y="285"/>
                  </a:lnTo>
                  <a:lnTo>
                    <a:pt x="184" y="285"/>
                  </a:lnTo>
                  <a:lnTo>
                    <a:pt x="184" y="282"/>
                  </a:lnTo>
                  <a:lnTo>
                    <a:pt x="184" y="279"/>
                  </a:lnTo>
                  <a:lnTo>
                    <a:pt x="184" y="276"/>
                  </a:lnTo>
                  <a:lnTo>
                    <a:pt x="181" y="276"/>
                  </a:lnTo>
                  <a:lnTo>
                    <a:pt x="181" y="279"/>
                  </a:lnTo>
                  <a:lnTo>
                    <a:pt x="178" y="279"/>
                  </a:lnTo>
                  <a:lnTo>
                    <a:pt x="175" y="279"/>
                  </a:lnTo>
                  <a:lnTo>
                    <a:pt x="175" y="282"/>
                  </a:lnTo>
                  <a:lnTo>
                    <a:pt x="175" y="285"/>
                  </a:lnTo>
                  <a:lnTo>
                    <a:pt x="175" y="288"/>
                  </a:lnTo>
                  <a:lnTo>
                    <a:pt x="178" y="285"/>
                  </a:lnTo>
                  <a:lnTo>
                    <a:pt x="178" y="288"/>
                  </a:lnTo>
                  <a:lnTo>
                    <a:pt x="178" y="291"/>
                  </a:lnTo>
                  <a:lnTo>
                    <a:pt x="175" y="291"/>
                  </a:lnTo>
                  <a:lnTo>
                    <a:pt x="178" y="291"/>
                  </a:lnTo>
                  <a:lnTo>
                    <a:pt x="178" y="294"/>
                  </a:lnTo>
                  <a:lnTo>
                    <a:pt x="175" y="294"/>
                  </a:lnTo>
                  <a:lnTo>
                    <a:pt x="178" y="294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5" y="300"/>
                  </a:lnTo>
                  <a:lnTo>
                    <a:pt x="172" y="300"/>
                  </a:lnTo>
                  <a:lnTo>
                    <a:pt x="172" y="303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9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9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3" y="324"/>
                  </a:lnTo>
                  <a:lnTo>
                    <a:pt x="160" y="321"/>
                  </a:lnTo>
                  <a:lnTo>
                    <a:pt x="157" y="318"/>
                  </a:lnTo>
                  <a:lnTo>
                    <a:pt x="154" y="318"/>
                  </a:lnTo>
                  <a:lnTo>
                    <a:pt x="157" y="315"/>
                  </a:lnTo>
                  <a:lnTo>
                    <a:pt x="157" y="312"/>
                  </a:lnTo>
                  <a:lnTo>
                    <a:pt x="151" y="306"/>
                  </a:lnTo>
                  <a:lnTo>
                    <a:pt x="151" y="309"/>
                  </a:lnTo>
                  <a:lnTo>
                    <a:pt x="148" y="306"/>
                  </a:lnTo>
                  <a:lnTo>
                    <a:pt x="151" y="300"/>
                  </a:lnTo>
                  <a:lnTo>
                    <a:pt x="154" y="300"/>
                  </a:lnTo>
                  <a:lnTo>
                    <a:pt x="154" y="297"/>
                  </a:lnTo>
                  <a:lnTo>
                    <a:pt x="154" y="294"/>
                  </a:lnTo>
                  <a:lnTo>
                    <a:pt x="151" y="291"/>
                  </a:lnTo>
                  <a:lnTo>
                    <a:pt x="154" y="285"/>
                  </a:lnTo>
                  <a:lnTo>
                    <a:pt x="151" y="285"/>
                  </a:lnTo>
                  <a:lnTo>
                    <a:pt x="148" y="285"/>
                  </a:lnTo>
                  <a:lnTo>
                    <a:pt x="145" y="285"/>
                  </a:lnTo>
                  <a:lnTo>
                    <a:pt x="142" y="285"/>
                  </a:lnTo>
                  <a:lnTo>
                    <a:pt x="139" y="285"/>
                  </a:lnTo>
                  <a:lnTo>
                    <a:pt x="136" y="288"/>
                  </a:lnTo>
                  <a:lnTo>
                    <a:pt x="133" y="288"/>
                  </a:lnTo>
                  <a:lnTo>
                    <a:pt x="130" y="288"/>
                  </a:lnTo>
                  <a:lnTo>
                    <a:pt x="127" y="288"/>
                  </a:lnTo>
                  <a:lnTo>
                    <a:pt x="123" y="285"/>
                  </a:lnTo>
                  <a:lnTo>
                    <a:pt x="127" y="282"/>
                  </a:lnTo>
                  <a:lnTo>
                    <a:pt x="127" y="279"/>
                  </a:lnTo>
                  <a:lnTo>
                    <a:pt x="120" y="276"/>
                  </a:lnTo>
                  <a:lnTo>
                    <a:pt x="120" y="273"/>
                  </a:lnTo>
                  <a:lnTo>
                    <a:pt x="120" y="267"/>
                  </a:lnTo>
                  <a:lnTo>
                    <a:pt x="120" y="264"/>
                  </a:lnTo>
                  <a:lnTo>
                    <a:pt x="120" y="261"/>
                  </a:lnTo>
                  <a:lnTo>
                    <a:pt x="123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14" y="255"/>
                  </a:lnTo>
                  <a:lnTo>
                    <a:pt x="117" y="255"/>
                  </a:lnTo>
                  <a:lnTo>
                    <a:pt x="117" y="258"/>
                  </a:lnTo>
                  <a:lnTo>
                    <a:pt x="114" y="258"/>
                  </a:lnTo>
                  <a:lnTo>
                    <a:pt x="111" y="258"/>
                  </a:lnTo>
                  <a:lnTo>
                    <a:pt x="108" y="255"/>
                  </a:lnTo>
                  <a:lnTo>
                    <a:pt x="108" y="258"/>
                  </a:lnTo>
                  <a:lnTo>
                    <a:pt x="108" y="261"/>
                  </a:lnTo>
                  <a:lnTo>
                    <a:pt x="108" y="264"/>
                  </a:lnTo>
                  <a:lnTo>
                    <a:pt x="111" y="264"/>
                  </a:lnTo>
                  <a:lnTo>
                    <a:pt x="111" y="267"/>
                  </a:lnTo>
                  <a:lnTo>
                    <a:pt x="108" y="267"/>
                  </a:lnTo>
                  <a:lnTo>
                    <a:pt x="105" y="264"/>
                  </a:lnTo>
                  <a:lnTo>
                    <a:pt x="105" y="267"/>
                  </a:lnTo>
                  <a:lnTo>
                    <a:pt x="102" y="264"/>
                  </a:lnTo>
                  <a:lnTo>
                    <a:pt x="99" y="267"/>
                  </a:lnTo>
                  <a:lnTo>
                    <a:pt x="96" y="273"/>
                  </a:lnTo>
                  <a:lnTo>
                    <a:pt x="96" y="270"/>
                  </a:lnTo>
                  <a:lnTo>
                    <a:pt x="93" y="270"/>
                  </a:lnTo>
                  <a:lnTo>
                    <a:pt x="90" y="267"/>
                  </a:lnTo>
                  <a:lnTo>
                    <a:pt x="87" y="267"/>
                  </a:lnTo>
                  <a:lnTo>
                    <a:pt x="84" y="264"/>
                  </a:lnTo>
                  <a:lnTo>
                    <a:pt x="81" y="264"/>
                  </a:lnTo>
                  <a:lnTo>
                    <a:pt x="78" y="264"/>
                  </a:lnTo>
                  <a:lnTo>
                    <a:pt x="75" y="264"/>
                  </a:lnTo>
                  <a:lnTo>
                    <a:pt x="72" y="264"/>
                  </a:lnTo>
                  <a:lnTo>
                    <a:pt x="75" y="261"/>
                  </a:lnTo>
                  <a:lnTo>
                    <a:pt x="72" y="261"/>
                  </a:lnTo>
                  <a:lnTo>
                    <a:pt x="72" y="258"/>
                  </a:lnTo>
                  <a:lnTo>
                    <a:pt x="69" y="258"/>
                  </a:lnTo>
                  <a:lnTo>
                    <a:pt x="66" y="258"/>
                  </a:lnTo>
                  <a:lnTo>
                    <a:pt x="63" y="255"/>
                  </a:lnTo>
                  <a:lnTo>
                    <a:pt x="60" y="255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1" y="252"/>
                  </a:lnTo>
                  <a:lnTo>
                    <a:pt x="51" y="249"/>
                  </a:lnTo>
                  <a:lnTo>
                    <a:pt x="48" y="246"/>
                  </a:lnTo>
                  <a:lnTo>
                    <a:pt x="45" y="243"/>
                  </a:lnTo>
                  <a:lnTo>
                    <a:pt x="42" y="237"/>
                  </a:lnTo>
                  <a:lnTo>
                    <a:pt x="39" y="240"/>
                  </a:lnTo>
                  <a:lnTo>
                    <a:pt x="36" y="240"/>
                  </a:lnTo>
                  <a:lnTo>
                    <a:pt x="33" y="237"/>
                  </a:lnTo>
                  <a:lnTo>
                    <a:pt x="33" y="234"/>
                  </a:lnTo>
                  <a:lnTo>
                    <a:pt x="33" y="231"/>
                  </a:lnTo>
                  <a:lnTo>
                    <a:pt x="33" y="222"/>
                  </a:lnTo>
                  <a:lnTo>
                    <a:pt x="39" y="222"/>
                  </a:lnTo>
                  <a:lnTo>
                    <a:pt x="42" y="222"/>
                  </a:lnTo>
                  <a:lnTo>
                    <a:pt x="39" y="219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3" y="204"/>
                  </a:lnTo>
                  <a:lnTo>
                    <a:pt x="39" y="201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6" y="192"/>
                  </a:lnTo>
                  <a:lnTo>
                    <a:pt x="39" y="189"/>
                  </a:lnTo>
                  <a:lnTo>
                    <a:pt x="36" y="189"/>
                  </a:lnTo>
                  <a:lnTo>
                    <a:pt x="36" y="186"/>
                  </a:lnTo>
                  <a:lnTo>
                    <a:pt x="33" y="186"/>
                  </a:lnTo>
                  <a:lnTo>
                    <a:pt x="33" y="183"/>
                  </a:lnTo>
                  <a:lnTo>
                    <a:pt x="33" y="186"/>
                  </a:lnTo>
                  <a:lnTo>
                    <a:pt x="30" y="186"/>
                  </a:lnTo>
                  <a:lnTo>
                    <a:pt x="27" y="186"/>
                  </a:lnTo>
                  <a:lnTo>
                    <a:pt x="27" y="183"/>
                  </a:lnTo>
                  <a:lnTo>
                    <a:pt x="24" y="183"/>
                  </a:lnTo>
                  <a:lnTo>
                    <a:pt x="21" y="183"/>
                  </a:lnTo>
                  <a:lnTo>
                    <a:pt x="21" y="180"/>
                  </a:lnTo>
                  <a:lnTo>
                    <a:pt x="18" y="180"/>
                  </a:lnTo>
                  <a:lnTo>
                    <a:pt x="15" y="180"/>
                  </a:lnTo>
                  <a:lnTo>
                    <a:pt x="12" y="180"/>
                  </a:lnTo>
                  <a:lnTo>
                    <a:pt x="9" y="180"/>
                  </a:lnTo>
                  <a:lnTo>
                    <a:pt x="9" y="177"/>
                  </a:lnTo>
                  <a:lnTo>
                    <a:pt x="6" y="171"/>
                  </a:lnTo>
                  <a:lnTo>
                    <a:pt x="9" y="165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9" y="144"/>
                  </a:lnTo>
                  <a:lnTo>
                    <a:pt x="9" y="141"/>
                  </a:lnTo>
                  <a:lnTo>
                    <a:pt x="9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0" y="135"/>
                  </a:lnTo>
                  <a:lnTo>
                    <a:pt x="3" y="135"/>
                  </a:lnTo>
                  <a:lnTo>
                    <a:pt x="6" y="132"/>
                  </a:lnTo>
                  <a:lnTo>
                    <a:pt x="3" y="132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3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29"/>
                  </a:lnTo>
                  <a:lnTo>
                    <a:pt x="9" y="126"/>
                  </a:lnTo>
                  <a:lnTo>
                    <a:pt x="9" y="123"/>
                  </a:lnTo>
                  <a:lnTo>
                    <a:pt x="9" y="120"/>
                  </a:lnTo>
                  <a:lnTo>
                    <a:pt x="12" y="120"/>
                  </a:lnTo>
                  <a:lnTo>
                    <a:pt x="12" y="117"/>
                  </a:lnTo>
                  <a:lnTo>
                    <a:pt x="9" y="117"/>
                  </a:lnTo>
                  <a:lnTo>
                    <a:pt x="9" y="114"/>
                  </a:lnTo>
                  <a:lnTo>
                    <a:pt x="12" y="114"/>
                  </a:lnTo>
                  <a:lnTo>
                    <a:pt x="9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15" y="111"/>
                  </a:lnTo>
                  <a:lnTo>
                    <a:pt x="15" y="108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12" y="105"/>
                  </a:lnTo>
                  <a:lnTo>
                    <a:pt x="12" y="102"/>
                  </a:lnTo>
                  <a:lnTo>
                    <a:pt x="15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7" y="69"/>
                  </a:lnTo>
                  <a:lnTo>
                    <a:pt x="30" y="69"/>
                  </a:lnTo>
                  <a:lnTo>
                    <a:pt x="30" y="66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6" y="63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6" y="63"/>
                  </a:lnTo>
                  <a:lnTo>
                    <a:pt x="39" y="63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5" y="63"/>
                  </a:lnTo>
                  <a:lnTo>
                    <a:pt x="45" y="60"/>
                  </a:lnTo>
                  <a:lnTo>
                    <a:pt x="48" y="60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54" y="60"/>
                  </a:lnTo>
                  <a:lnTo>
                    <a:pt x="54" y="57"/>
                  </a:lnTo>
                  <a:lnTo>
                    <a:pt x="57" y="57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9" y="60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2" y="63"/>
                  </a:lnTo>
                  <a:lnTo>
                    <a:pt x="75" y="63"/>
                  </a:lnTo>
                  <a:lnTo>
                    <a:pt x="75" y="66"/>
                  </a:lnTo>
                  <a:lnTo>
                    <a:pt x="78" y="66"/>
                  </a:lnTo>
                  <a:lnTo>
                    <a:pt x="81" y="66"/>
                  </a:lnTo>
                  <a:lnTo>
                    <a:pt x="81" y="69"/>
                  </a:lnTo>
                  <a:lnTo>
                    <a:pt x="84" y="69"/>
                  </a:lnTo>
                  <a:lnTo>
                    <a:pt x="84" y="72"/>
                  </a:lnTo>
                  <a:lnTo>
                    <a:pt x="87" y="72"/>
                  </a:lnTo>
                  <a:lnTo>
                    <a:pt x="90" y="72"/>
                  </a:lnTo>
                  <a:lnTo>
                    <a:pt x="87" y="75"/>
                  </a:lnTo>
                  <a:lnTo>
                    <a:pt x="90" y="75"/>
                  </a:lnTo>
                  <a:lnTo>
                    <a:pt x="93" y="75"/>
                  </a:lnTo>
                  <a:lnTo>
                    <a:pt x="96" y="75"/>
                  </a:lnTo>
                  <a:lnTo>
                    <a:pt x="96" y="78"/>
                  </a:lnTo>
                  <a:lnTo>
                    <a:pt x="96" y="81"/>
                  </a:lnTo>
                  <a:lnTo>
                    <a:pt x="99" y="81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8" y="87"/>
                  </a:lnTo>
                  <a:lnTo>
                    <a:pt x="108" y="90"/>
                  </a:lnTo>
                  <a:lnTo>
                    <a:pt x="111" y="93"/>
                  </a:lnTo>
                  <a:lnTo>
                    <a:pt x="111" y="90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93"/>
                  </a:lnTo>
                  <a:lnTo>
                    <a:pt x="120" y="93"/>
                  </a:lnTo>
                  <a:lnTo>
                    <a:pt x="123" y="93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7" y="90"/>
                  </a:lnTo>
                  <a:lnTo>
                    <a:pt x="130" y="90"/>
                  </a:lnTo>
                  <a:lnTo>
                    <a:pt x="133" y="90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9" y="96"/>
                  </a:lnTo>
                  <a:lnTo>
                    <a:pt x="139" y="99"/>
                  </a:lnTo>
                  <a:lnTo>
                    <a:pt x="142" y="99"/>
                  </a:lnTo>
                  <a:lnTo>
                    <a:pt x="142" y="96"/>
                  </a:lnTo>
                  <a:lnTo>
                    <a:pt x="142" y="99"/>
                  </a:lnTo>
                  <a:lnTo>
                    <a:pt x="145" y="99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48" y="105"/>
                  </a:lnTo>
                  <a:lnTo>
                    <a:pt x="151" y="102"/>
                  </a:lnTo>
                  <a:lnTo>
                    <a:pt x="151" y="105"/>
                  </a:lnTo>
                  <a:lnTo>
                    <a:pt x="151" y="102"/>
                  </a:lnTo>
                  <a:lnTo>
                    <a:pt x="154" y="102"/>
                  </a:lnTo>
                  <a:lnTo>
                    <a:pt x="157" y="102"/>
                  </a:lnTo>
                  <a:lnTo>
                    <a:pt x="160" y="105"/>
                  </a:lnTo>
                  <a:lnTo>
                    <a:pt x="163" y="105"/>
                  </a:lnTo>
                  <a:lnTo>
                    <a:pt x="166" y="105"/>
                  </a:lnTo>
                  <a:lnTo>
                    <a:pt x="169" y="108"/>
                  </a:lnTo>
                  <a:lnTo>
                    <a:pt x="172" y="108"/>
                  </a:lnTo>
                  <a:lnTo>
                    <a:pt x="175" y="108"/>
                  </a:lnTo>
                  <a:lnTo>
                    <a:pt x="178" y="108"/>
                  </a:lnTo>
                  <a:lnTo>
                    <a:pt x="181" y="108"/>
                  </a:lnTo>
                  <a:lnTo>
                    <a:pt x="184" y="108"/>
                  </a:lnTo>
                  <a:lnTo>
                    <a:pt x="187" y="108"/>
                  </a:lnTo>
                  <a:lnTo>
                    <a:pt x="190" y="108"/>
                  </a:lnTo>
                  <a:lnTo>
                    <a:pt x="193" y="108"/>
                  </a:lnTo>
                  <a:lnTo>
                    <a:pt x="193" y="105"/>
                  </a:lnTo>
                  <a:lnTo>
                    <a:pt x="196" y="105"/>
                  </a:lnTo>
                  <a:lnTo>
                    <a:pt x="199" y="105"/>
                  </a:lnTo>
                  <a:lnTo>
                    <a:pt x="199" y="102"/>
                  </a:lnTo>
                  <a:lnTo>
                    <a:pt x="202" y="102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5" y="99"/>
                  </a:lnTo>
                  <a:lnTo>
                    <a:pt x="205" y="102"/>
                  </a:lnTo>
                  <a:lnTo>
                    <a:pt x="208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4" y="102"/>
                  </a:lnTo>
                  <a:lnTo>
                    <a:pt x="217" y="105"/>
                  </a:lnTo>
                  <a:lnTo>
                    <a:pt x="217" y="102"/>
                  </a:lnTo>
                  <a:lnTo>
                    <a:pt x="220" y="105"/>
                  </a:lnTo>
                  <a:lnTo>
                    <a:pt x="223" y="105"/>
                  </a:lnTo>
                  <a:lnTo>
                    <a:pt x="226" y="105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102"/>
                  </a:lnTo>
                  <a:lnTo>
                    <a:pt x="238" y="99"/>
                  </a:lnTo>
                  <a:lnTo>
                    <a:pt x="241" y="99"/>
                  </a:lnTo>
                  <a:lnTo>
                    <a:pt x="244" y="96"/>
                  </a:lnTo>
                  <a:lnTo>
                    <a:pt x="247" y="96"/>
                  </a:lnTo>
                  <a:lnTo>
                    <a:pt x="247" y="93"/>
                  </a:lnTo>
                  <a:lnTo>
                    <a:pt x="250" y="93"/>
                  </a:lnTo>
                  <a:lnTo>
                    <a:pt x="250" y="90"/>
                  </a:lnTo>
                  <a:lnTo>
                    <a:pt x="253" y="87"/>
                  </a:lnTo>
                  <a:lnTo>
                    <a:pt x="253" y="84"/>
                  </a:lnTo>
                  <a:lnTo>
                    <a:pt x="253" y="81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9" y="72"/>
                  </a:lnTo>
                  <a:lnTo>
                    <a:pt x="259" y="69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59" y="60"/>
                  </a:lnTo>
                  <a:lnTo>
                    <a:pt x="262" y="57"/>
                  </a:lnTo>
                  <a:lnTo>
                    <a:pt x="262" y="54"/>
                  </a:lnTo>
                  <a:lnTo>
                    <a:pt x="265" y="51"/>
                  </a:lnTo>
                  <a:lnTo>
                    <a:pt x="265" y="48"/>
                  </a:lnTo>
                  <a:lnTo>
                    <a:pt x="268" y="45"/>
                  </a:lnTo>
                  <a:lnTo>
                    <a:pt x="268" y="42"/>
                  </a:lnTo>
                  <a:lnTo>
                    <a:pt x="268" y="39"/>
                  </a:lnTo>
                  <a:lnTo>
                    <a:pt x="268" y="36"/>
                  </a:lnTo>
                  <a:lnTo>
                    <a:pt x="271" y="36"/>
                  </a:lnTo>
                  <a:lnTo>
                    <a:pt x="271" y="33"/>
                  </a:lnTo>
                  <a:lnTo>
                    <a:pt x="271" y="30"/>
                  </a:lnTo>
                  <a:lnTo>
                    <a:pt x="274" y="27"/>
                  </a:lnTo>
                  <a:lnTo>
                    <a:pt x="274" y="24"/>
                  </a:lnTo>
                  <a:lnTo>
                    <a:pt x="274" y="21"/>
                  </a:lnTo>
                  <a:lnTo>
                    <a:pt x="277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1" y="15"/>
                  </a:lnTo>
                  <a:lnTo>
                    <a:pt x="271" y="12"/>
                  </a:lnTo>
                  <a:lnTo>
                    <a:pt x="274" y="12"/>
                  </a:lnTo>
                  <a:lnTo>
                    <a:pt x="271" y="9"/>
                  </a:lnTo>
                  <a:lnTo>
                    <a:pt x="274" y="9"/>
                  </a:lnTo>
                  <a:lnTo>
                    <a:pt x="277" y="9"/>
                  </a:lnTo>
                  <a:lnTo>
                    <a:pt x="280" y="9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6" y="6"/>
                  </a:lnTo>
                  <a:lnTo>
                    <a:pt x="289" y="6"/>
                  </a:lnTo>
                  <a:lnTo>
                    <a:pt x="292" y="6"/>
                  </a:lnTo>
                  <a:lnTo>
                    <a:pt x="295" y="6"/>
                  </a:lnTo>
                  <a:lnTo>
                    <a:pt x="298" y="3"/>
                  </a:lnTo>
                  <a:lnTo>
                    <a:pt x="301" y="3"/>
                  </a:lnTo>
                  <a:lnTo>
                    <a:pt x="304" y="3"/>
                  </a:lnTo>
                  <a:lnTo>
                    <a:pt x="307" y="3"/>
                  </a:lnTo>
                  <a:lnTo>
                    <a:pt x="313" y="0"/>
                  </a:lnTo>
                  <a:lnTo>
                    <a:pt x="316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FFC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21" name="Freeform 31">
              <a:extLst>
                <a:ext uri="{FF2B5EF4-FFF2-40B4-BE49-F238E27FC236}">
                  <a16:creationId xmlns:a16="http://schemas.microsoft.com/office/drawing/2014/main" id="{1CA6A15E-EC01-4FF2-BD7D-96072816FD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47963" y="2678113"/>
              <a:ext cx="1500187" cy="1541462"/>
            </a:xfrm>
            <a:custGeom>
              <a:avLst/>
              <a:gdLst>
                <a:gd name="T0" fmla="*/ 1055833 w 763"/>
                <a:gd name="T1" fmla="*/ 330313 h 784"/>
                <a:gd name="T2" fmla="*/ 1085325 w 763"/>
                <a:gd name="T3" fmla="*/ 389298 h 784"/>
                <a:gd name="T4" fmla="*/ 1126615 w 763"/>
                <a:gd name="T5" fmla="*/ 477775 h 784"/>
                <a:gd name="T6" fmla="*/ 1203295 w 763"/>
                <a:gd name="T7" fmla="*/ 513165 h 784"/>
                <a:gd name="T8" fmla="*/ 1244585 w 763"/>
                <a:gd name="T9" fmla="*/ 471876 h 784"/>
                <a:gd name="T10" fmla="*/ 1299638 w 763"/>
                <a:gd name="T11" fmla="*/ 536759 h 784"/>
                <a:gd name="T12" fmla="*/ 1335029 w 763"/>
                <a:gd name="T13" fmla="*/ 613439 h 784"/>
                <a:gd name="T14" fmla="*/ 1346826 w 763"/>
                <a:gd name="T15" fmla="*/ 572150 h 784"/>
                <a:gd name="T16" fmla="*/ 1358623 w 763"/>
                <a:gd name="T17" fmla="*/ 536759 h 784"/>
                <a:gd name="T18" fmla="*/ 1394014 w 763"/>
                <a:gd name="T19" fmla="*/ 566251 h 784"/>
                <a:gd name="T20" fmla="*/ 1394014 w 763"/>
                <a:gd name="T21" fmla="*/ 648830 h 784"/>
                <a:gd name="T22" fmla="*/ 1382217 w 763"/>
                <a:gd name="T23" fmla="*/ 737306 h 784"/>
                <a:gd name="T24" fmla="*/ 1329130 w 763"/>
                <a:gd name="T25" fmla="*/ 849377 h 784"/>
                <a:gd name="T26" fmla="*/ 1329130 w 763"/>
                <a:gd name="T27" fmla="*/ 937854 h 784"/>
                <a:gd name="T28" fmla="*/ 1376318 w 763"/>
                <a:gd name="T29" fmla="*/ 985041 h 784"/>
                <a:gd name="T30" fmla="*/ 1417608 w 763"/>
                <a:gd name="T31" fmla="*/ 1032229 h 784"/>
                <a:gd name="T32" fmla="*/ 1470694 w 763"/>
                <a:gd name="T33" fmla="*/ 1079417 h 784"/>
                <a:gd name="T34" fmla="*/ 1494288 w 763"/>
                <a:gd name="T35" fmla="*/ 1144300 h 784"/>
                <a:gd name="T36" fmla="*/ 1470694 w 763"/>
                <a:gd name="T37" fmla="*/ 1203284 h 784"/>
                <a:gd name="T38" fmla="*/ 1399912 w 763"/>
                <a:gd name="T39" fmla="*/ 1220979 h 784"/>
                <a:gd name="T40" fmla="*/ 1329130 w 763"/>
                <a:gd name="T41" fmla="*/ 1291761 h 784"/>
                <a:gd name="T42" fmla="*/ 1256382 w 763"/>
                <a:gd name="T43" fmla="*/ 1315355 h 784"/>
                <a:gd name="T44" fmla="*/ 1197397 w 763"/>
                <a:gd name="T45" fmla="*/ 1285862 h 784"/>
                <a:gd name="T46" fmla="*/ 1114818 w 763"/>
                <a:gd name="T47" fmla="*/ 1333050 h 784"/>
                <a:gd name="T48" fmla="*/ 1044036 w 763"/>
                <a:gd name="T49" fmla="*/ 1327152 h 784"/>
                <a:gd name="T50" fmla="*/ 949660 w 763"/>
                <a:gd name="T51" fmla="*/ 1309456 h 784"/>
                <a:gd name="T52" fmla="*/ 937863 w 763"/>
                <a:gd name="T53" fmla="*/ 1368441 h 784"/>
                <a:gd name="T54" fmla="*/ 872979 w 763"/>
                <a:gd name="T55" fmla="*/ 1405798 h 784"/>
                <a:gd name="T56" fmla="*/ 808095 w 763"/>
                <a:gd name="T57" fmla="*/ 1435290 h 784"/>
                <a:gd name="T58" fmla="*/ 713719 w 763"/>
                <a:gd name="T59" fmla="*/ 1494274 h 784"/>
                <a:gd name="T60" fmla="*/ 654734 w 763"/>
                <a:gd name="T61" fmla="*/ 1541462 h 784"/>
                <a:gd name="T62" fmla="*/ 613445 w 763"/>
                <a:gd name="T63" fmla="*/ 1429391 h 784"/>
                <a:gd name="T64" fmla="*/ 554460 w 763"/>
                <a:gd name="T65" fmla="*/ 1429391 h 784"/>
                <a:gd name="T66" fmla="*/ 501373 w 763"/>
                <a:gd name="T67" fmla="*/ 1447087 h 784"/>
                <a:gd name="T68" fmla="*/ 501373 w 763"/>
                <a:gd name="T69" fmla="*/ 1374339 h 784"/>
                <a:gd name="T70" fmla="*/ 442388 w 763"/>
                <a:gd name="T71" fmla="*/ 1333050 h 784"/>
                <a:gd name="T72" fmla="*/ 436490 w 763"/>
                <a:gd name="T73" fmla="*/ 1279964 h 784"/>
                <a:gd name="T74" fmla="*/ 412896 w 763"/>
                <a:gd name="T75" fmla="*/ 1197386 h 784"/>
                <a:gd name="T76" fmla="*/ 377504 w 763"/>
                <a:gd name="T77" fmla="*/ 1079417 h 784"/>
                <a:gd name="T78" fmla="*/ 294925 w 763"/>
                <a:gd name="T79" fmla="*/ 1126604 h 784"/>
                <a:gd name="T80" fmla="*/ 212346 w 763"/>
                <a:gd name="T81" fmla="*/ 1191487 h 784"/>
                <a:gd name="T82" fmla="*/ 176955 w 763"/>
                <a:gd name="T83" fmla="*/ 1108909 h 784"/>
                <a:gd name="T84" fmla="*/ 129767 w 763"/>
                <a:gd name="T85" fmla="*/ 1020432 h 784"/>
                <a:gd name="T86" fmla="*/ 106173 w 763"/>
                <a:gd name="T87" fmla="*/ 949651 h 784"/>
                <a:gd name="T88" fmla="*/ 82579 w 763"/>
                <a:gd name="T89" fmla="*/ 861174 h 784"/>
                <a:gd name="T90" fmla="*/ 41290 w 763"/>
                <a:gd name="T91" fmla="*/ 778596 h 784"/>
                <a:gd name="T92" fmla="*/ 0 w 763"/>
                <a:gd name="T93" fmla="*/ 707814 h 784"/>
                <a:gd name="T94" fmla="*/ 58985 w 763"/>
                <a:gd name="T95" fmla="*/ 660627 h 784"/>
                <a:gd name="T96" fmla="*/ 70782 w 763"/>
                <a:gd name="T97" fmla="*/ 607541 h 784"/>
                <a:gd name="T98" fmla="*/ 123869 w 763"/>
                <a:gd name="T99" fmla="*/ 637033 h 784"/>
                <a:gd name="T100" fmla="*/ 141564 w 763"/>
                <a:gd name="T101" fmla="*/ 684220 h 784"/>
                <a:gd name="T102" fmla="*/ 188752 w 763"/>
                <a:gd name="T103" fmla="*/ 731408 h 784"/>
                <a:gd name="T104" fmla="*/ 259534 w 763"/>
                <a:gd name="T105" fmla="*/ 749103 h 784"/>
                <a:gd name="T106" fmla="*/ 330316 w 763"/>
                <a:gd name="T107" fmla="*/ 760900 h 784"/>
                <a:gd name="T108" fmla="*/ 418794 w 763"/>
                <a:gd name="T109" fmla="*/ 760900 h 784"/>
                <a:gd name="T110" fmla="*/ 460084 w 763"/>
                <a:gd name="T111" fmla="*/ 743205 h 784"/>
                <a:gd name="T112" fmla="*/ 507272 w 763"/>
                <a:gd name="T113" fmla="*/ 696017 h 784"/>
                <a:gd name="T114" fmla="*/ 578054 w 763"/>
                <a:gd name="T115" fmla="*/ 678322 h 784"/>
                <a:gd name="T116" fmla="*/ 631140 w 763"/>
                <a:gd name="T117" fmla="*/ 41289 h 784"/>
                <a:gd name="T118" fmla="*/ 666531 w 763"/>
                <a:gd name="T119" fmla="*/ 94375 h 7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63" h="784">
                  <a:moveTo>
                    <a:pt x="519" y="126"/>
                  </a:moveTo>
                  <a:lnTo>
                    <a:pt x="525" y="126"/>
                  </a:lnTo>
                  <a:lnTo>
                    <a:pt x="525" y="129"/>
                  </a:lnTo>
                  <a:lnTo>
                    <a:pt x="525" y="132"/>
                  </a:lnTo>
                  <a:lnTo>
                    <a:pt x="525" y="135"/>
                  </a:lnTo>
                  <a:lnTo>
                    <a:pt x="525" y="138"/>
                  </a:lnTo>
                  <a:lnTo>
                    <a:pt x="525" y="141"/>
                  </a:lnTo>
                  <a:lnTo>
                    <a:pt x="525" y="144"/>
                  </a:lnTo>
                  <a:lnTo>
                    <a:pt x="525" y="147"/>
                  </a:lnTo>
                  <a:lnTo>
                    <a:pt x="525" y="153"/>
                  </a:lnTo>
                  <a:lnTo>
                    <a:pt x="522" y="159"/>
                  </a:lnTo>
                  <a:lnTo>
                    <a:pt x="525" y="165"/>
                  </a:lnTo>
                  <a:lnTo>
                    <a:pt x="525" y="168"/>
                  </a:lnTo>
                  <a:lnTo>
                    <a:pt x="528" y="168"/>
                  </a:lnTo>
                  <a:lnTo>
                    <a:pt x="531" y="168"/>
                  </a:lnTo>
                  <a:lnTo>
                    <a:pt x="534" y="168"/>
                  </a:lnTo>
                  <a:lnTo>
                    <a:pt x="537" y="168"/>
                  </a:lnTo>
                  <a:lnTo>
                    <a:pt x="537" y="171"/>
                  </a:lnTo>
                  <a:lnTo>
                    <a:pt x="540" y="171"/>
                  </a:lnTo>
                  <a:lnTo>
                    <a:pt x="543" y="171"/>
                  </a:lnTo>
                  <a:lnTo>
                    <a:pt x="543" y="174"/>
                  </a:lnTo>
                  <a:lnTo>
                    <a:pt x="546" y="174"/>
                  </a:lnTo>
                  <a:lnTo>
                    <a:pt x="549" y="174"/>
                  </a:lnTo>
                  <a:lnTo>
                    <a:pt x="549" y="171"/>
                  </a:lnTo>
                  <a:lnTo>
                    <a:pt x="549" y="174"/>
                  </a:lnTo>
                  <a:lnTo>
                    <a:pt x="552" y="174"/>
                  </a:lnTo>
                  <a:lnTo>
                    <a:pt x="552" y="177"/>
                  </a:lnTo>
                  <a:lnTo>
                    <a:pt x="555" y="177"/>
                  </a:lnTo>
                  <a:lnTo>
                    <a:pt x="552" y="180"/>
                  </a:lnTo>
                  <a:lnTo>
                    <a:pt x="552" y="183"/>
                  </a:lnTo>
                  <a:lnTo>
                    <a:pt x="552" y="186"/>
                  </a:lnTo>
                  <a:lnTo>
                    <a:pt x="555" y="189"/>
                  </a:lnTo>
                  <a:lnTo>
                    <a:pt x="549" y="192"/>
                  </a:lnTo>
                  <a:lnTo>
                    <a:pt x="552" y="198"/>
                  </a:lnTo>
                  <a:lnTo>
                    <a:pt x="552" y="201"/>
                  </a:lnTo>
                  <a:lnTo>
                    <a:pt x="555" y="207"/>
                  </a:lnTo>
                  <a:lnTo>
                    <a:pt x="558" y="210"/>
                  </a:lnTo>
                  <a:lnTo>
                    <a:pt x="555" y="210"/>
                  </a:lnTo>
                  <a:lnTo>
                    <a:pt x="549" y="210"/>
                  </a:lnTo>
                  <a:lnTo>
                    <a:pt x="549" y="219"/>
                  </a:lnTo>
                  <a:lnTo>
                    <a:pt x="549" y="222"/>
                  </a:lnTo>
                  <a:lnTo>
                    <a:pt x="549" y="225"/>
                  </a:lnTo>
                  <a:lnTo>
                    <a:pt x="552" y="228"/>
                  </a:lnTo>
                  <a:lnTo>
                    <a:pt x="555" y="228"/>
                  </a:lnTo>
                  <a:lnTo>
                    <a:pt x="558" y="225"/>
                  </a:lnTo>
                  <a:lnTo>
                    <a:pt x="561" y="231"/>
                  </a:lnTo>
                  <a:lnTo>
                    <a:pt x="564" y="234"/>
                  </a:lnTo>
                  <a:lnTo>
                    <a:pt x="567" y="237"/>
                  </a:lnTo>
                  <a:lnTo>
                    <a:pt x="567" y="240"/>
                  </a:lnTo>
                  <a:lnTo>
                    <a:pt x="570" y="240"/>
                  </a:lnTo>
                  <a:lnTo>
                    <a:pt x="573" y="243"/>
                  </a:lnTo>
                  <a:lnTo>
                    <a:pt x="576" y="243"/>
                  </a:lnTo>
                  <a:lnTo>
                    <a:pt x="579" y="243"/>
                  </a:lnTo>
                  <a:lnTo>
                    <a:pt x="582" y="246"/>
                  </a:lnTo>
                  <a:lnTo>
                    <a:pt x="585" y="246"/>
                  </a:lnTo>
                  <a:lnTo>
                    <a:pt x="588" y="246"/>
                  </a:lnTo>
                  <a:lnTo>
                    <a:pt x="588" y="249"/>
                  </a:lnTo>
                  <a:lnTo>
                    <a:pt x="591" y="249"/>
                  </a:lnTo>
                  <a:lnTo>
                    <a:pt x="588" y="252"/>
                  </a:lnTo>
                  <a:lnTo>
                    <a:pt x="591" y="252"/>
                  </a:lnTo>
                  <a:lnTo>
                    <a:pt x="594" y="252"/>
                  </a:lnTo>
                  <a:lnTo>
                    <a:pt x="597" y="252"/>
                  </a:lnTo>
                  <a:lnTo>
                    <a:pt x="600" y="252"/>
                  </a:lnTo>
                  <a:lnTo>
                    <a:pt x="603" y="255"/>
                  </a:lnTo>
                  <a:lnTo>
                    <a:pt x="606" y="255"/>
                  </a:lnTo>
                  <a:lnTo>
                    <a:pt x="609" y="258"/>
                  </a:lnTo>
                  <a:lnTo>
                    <a:pt x="612" y="258"/>
                  </a:lnTo>
                  <a:lnTo>
                    <a:pt x="612" y="261"/>
                  </a:lnTo>
                  <a:lnTo>
                    <a:pt x="615" y="255"/>
                  </a:lnTo>
                  <a:lnTo>
                    <a:pt x="618" y="252"/>
                  </a:lnTo>
                  <a:lnTo>
                    <a:pt x="621" y="255"/>
                  </a:lnTo>
                  <a:lnTo>
                    <a:pt x="621" y="252"/>
                  </a:lnTo>
                  <a:lnTo>
                    <a:pt x="624" y="255"/>
                  </a:lnTo>
                  <a:lnTo>
                    <a:pt x="627" y="255"/>
                  </a:lnTo>
                  <a:lnTo>
                    <a:pt x="627" y="252"/>
                  </a:lnTo>
                  <a:lnTo>
                    <a:pt x="624" y="252"/>
                  </a:lnTo>
                  <a:lnTo>
                    <a:pt x="624" y="249"/>
                  </a:lnTo>
                  <a:lnTo>
                    <a:pt x="624" y="246"/>
                  </a:lnTo>
                  <a:lnTo>
                    <a:pt x="624" y="243"/>
                  </a:lnTo>
                  <a:lnTo>
                    <a:pt x="627" y="246"/>
                  </a:lnTo>
                  <a:lnTo>
                    <a:pt x="630" y="246"/>
                  </a:lnTo>
                  <a:lnTo>
                    <a:pt x="633" y="246"/>
                  </a:lnTo>
                  <a:lnTo>
                    <a:pt x="633" y="243"/>
                  </a:lnTo>
                  <a:lnTo>
                    <a:pt x="630" y="243"/>
                  </a:lnTo>
                  <a:lnTo>
                    <a:pt x="633" y="240"/>
                  </a:lnTo>
                  <a:lnTo>
                    <a:pt x="633" y="237"/>
                  </a:lnTo>
                  <a:lnTo>
                    <a:pt x="639" y="240"/>
                  </a:lnTo>
                  <a:lnTo>
                    <a:pt x="636" y="249"/>
                  </a:lnTo>
                  <a:lnTo>
                    <a:pt x="636" y="252"/>
                  </a:lnTo>
                  <a:lnTo>
                    <a:pt x="636" y="255"/>
                  </a:lnTo>
                  <a:lnTo>
                    <a:pt x="636" y="261"/>
                  </a:lnTo>
                  <a:lnTo>
                    <a:pt x="636" y="264"/>
                  </a:lnTo>
                  <a:lnTo>
                    <a:pt x="643" y="267"/>
                  </a:lnTo>
                  <a:lnTo>
                    <a:pt x="643" y="270"/>
                  </a:lnTo>
                  <a:lnTo>
                    <a:pt x="639" y="273"/>
                  </a:lnTo>
                  <a:lnTo>
                    <a:pt x="643" y="276"/>
                  </a:lnTo>
                  <a:lnTo>
                    <a:pt x="646" y="276"/>
                  </a:lnTo>
                  <a:lnTo>
                    <a:pt x="649" y="276"/>
                  </a:lnTo>
                  <a:lnTo>
                    <a:pt x="652" y="276"/>
                  </a:lnTo>
                  <a:lnTo>
                    <a:pt x="655" y="273"/>
                  </a:lnTo>
                  <a:lnTo>
                    <a:pt x="658" y="273"/>
                  </a:lnTo>
                  <a:lnTo>
                    <a:pt x="661" y="273"/>
                  </a:lnTo>
                  <a:lnTo>
                    <a:pt x="664" y="273"/>
                  </a:lnTo>
                  <a:lnTo>
                    <a:pt x="667" y="273"/>
                  </a:lnTo>
                  <a:lnTo>
                    <a:pt x="670" y="273"/>
                  </a:lnTo>
                  <a:lnTo>
                    <a:pt x="667" y="279"/>
                  </a:lnTo>
                  <a:lnTo>
                    <a:pt x="670" y="282"/>
                  </a:lnTo>
                  <a:lnTo>
                    <a:pt x="670" y="285"/>
                  </a:lnTo>
                  <a:lnTo>
                    <a:pt x="670" y="288"/>
                  </a:lnTo>
                  <a:lnTo>
                    <a:pt x="667" y="288"/>
                  </a:lnTo>
                  <a:lnTo>
                    <a:pt x="664" y="294"/>
                  </a:lnTo>
                  <a:lnTo>
                    <a:pt x="667" y="297"/>
                  </a:lnTo>
                  <a:lnTo>
                    <a:pt x="667" y="294"/>
                  </a:lnTo>
                  <a:lnTo>
                    <a:pt x="673" y="300"/>
                  </a:lnTo>
                  <a:lnTo>
                    <a:pt x="673" y="303"/>
                  </a:lnTo>
                  <a:lnTo>
                    <a:pt x="670" y="306"/>
                  </a:lnTo>
                  <a:lnTo>
                    <a:pt x="673" y="306"/>
                  </a:lnTo>
                  <a:lnTo>
                    <a:pt x="676" y="309"/>
                  </a:lnTo>
                  <a:lnTo>
                    <a:pt x="679" y="312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85" y="306"/>
                  </a:lnTo>
                  <a:lnTo>
                    <a:pt x="685" y="303"/>
                  </a:lnTo>
                  <a:lnTo>
                    <a:pt x="685" y="300"/>
                  </a:lnTo>
                  <a:lnTo>
                    <a:pt x="685" y="297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8" y="291"/>
                  </a:lnTo>
                  <a:lnTo>
                    <a:pt x="688" y="288"/>
                  </a:lnTo>
                  <a:lnTo>
                    <a:pt x="691" y="288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4" y="282"/>
                  </a:lnTo>
                  <a:lnTo>
                    <a:pt x="691" y="282"/>
                  </a:lnTo>
                  <a:lnTo>
                    <a:pt x="694" y="282"/>
                  </a:lnTo>
                  <a:lnTo>
                    <a:pt x="694" y="279"/>
                  </a:lnTo>
                  <a:lnTo>
                    <a:pt x="691" y="279"/>
                  </a:lnTo>
                  <a:lnTo>
                    <a:pt x="694" y="279"/>
                  </a:lnTo>
                  <a:lnTo>
                    <a:pt x="694" y="276"/>
                  </a:lnTo>
                  <a:lnTo>
                    <a:pt x="694" y="273"/>
                  </a:lnTo>
                  <a:lnTo>
                    <a:pt x="691" y="276"/>
                  </a:lnTo>
                  <a:lnTo>
                    <a:pt x="691" y="273"/>
                  </a:lnTo>
                  <a:lnTo>
                    <a:pt x="691" y="270"/>
                  </a:lnTo>
                  <a:lnTo>
                    <a:pt x="691" y="267"/>
                  </a:lnTo>
                  <a:lnTo>
                    <a:pt x="694" y="267"/>
                  </a:lnTo>
                  <a:lnTo>
                    <a:pt x="697" y="267"/>
                  </a:lnTo>
                  <a:lnTo>
                    <a:pt x="697" y="264"/>
                  </a:lnTo>
                  <a:lnTo>
                    <a:pt x="700" y="264"/>
                  </a:lnTo>
                  <a:lnTo>
                    <a:pt x="700" y="267"/>
                  </a:lnTo>
                  <a:lnTo>
                    <a:pt x="700" y="270"/>
                  </a:lnTo>
                  <a:lnTo>
                    <a:pt x="700" y="273"/>
                  </a:lnTo>
                  <a:lnTo>
                    <a:pt x="703" y="273"/>
                  </a:lnTo>
                  <a:lnTo>
                    <a:pt x="706" y="273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3"/>
                  </a:lnTo>
                  <a:lnTo>
                    <a:pt x="718" y="279"/>
                  </a:lnTo>
                  <a:lnTo>
                    <a:pt x="709" y="288"/>
                  </a:lnTo>
                  <a:lnTo>
                    <a:pt x="706" y="291"/>
                  </a:lnTo>
                  <a:lnTo>
                    <a:pt x="703" y="294"/>
                  </a:lnTo>
                  <a:lnTo>
                    <a:pt x="703" y="297"/>
                  </a:lnTo>
                  <a:lnTo>
                    <a:pt x="706" y="300"/>
                  </a:lnTo>
                  <a:lnTo>
                    <a:pt x="706" y="303"/>
                  </a:lnTo>
                  <a:lnTo>
                    <a:pt x="712" y="312"/>
                  </a:lnTo>
                  <a:lnTo>
                    <a:pt x="715" y="312"/>
                  </a:lnTo>
                  <a:lnTo>
                    <a:pt x="715" y="309"/>
                  </a:lnTo>
                  <a:lnTo>
                    <a:pt x="718" y="309"/>
                  </a:lnTo>
                  <a:lnTo>
                    <a:pt x="718" y="318"/>
                  </a:lnTo>
                  <a:lnTo>
                    <a:pt x="715" y="324"/>
                  </a:lnTo>
                  <a:lnTo>
                    <a:pt x="715" y="327"/>
                  </a:lnTo>
                  <a:lnTo>
                    <a:pt x="712" y="324"/>
                  </a:lnTo>
                  <a:lnTo>
                    <a:pt x="712" y="327"/>
                  </a:lnTo>
                  <a:lnTo>
                    <a:pt x="709" y="327"/>
                  </a:lnTo>
                  <a:lnTo>
                    <a:pt x="706" y="327"/>
                  </a:lnTo>
                  <a:lnTo>
                    <a:pt x="709" y="330"/>
                  </a:lnTo>
                  <a:lnTo>
                    <a:pt x="712" y="333"/>
                  </a:lnTo>
                  <a:lnTo>
                    <a:pt x="712" y="336"/>
                  </a:lnTo>
                  <a:lnTo>
                    <a:pt x="709" y="339"/>
                  </a:lnTo>
                  <a:lnTo>
                    <a:pt x="709" y="342"/>
                  </a:lnTo>
                  <a:lnTo>
                    <a:pt x="709" y="345"/>
                  </a:lnTo>
                  <a:lnTo>
                    <a:pt x="706" y="345"/>
                  </a:lnTo>
                  <a:lnTo>
                    <a:pt x="706" y="348"/>
                  </a:lnTo>
                  <a:lnTo>
                    <a:pt x="703" y="351"/>
                  </a:lnTo>
                  <a:lnTo>
                    <a:pt x="706" y="351"/>
                  </a:lnTo>
                  <a:lnTo>
                    <a:pt x="706" y="354"/>
                  </a:lnTo>
                  <a:lnTo>
                    <a:pt x="703" y="363"/>
                  </a:lnTo>
                  <a:lnTo>
                    <a:pt x="709" y="363"/>
                  </a:lnTo>
                  <a:lnTo>
                    <a:pt x="709" y="366"/>
                  </a:lnTo>
                  <a:lnTo>
                    <a:pt x="706" y="366"/>
                  </a:lnTo>
                  <a:lnTo>
                    <a:pt x="706" y="369"/>
                  </a:lnTo>
                  <a:lnTo>
                    <a:pt x="706" y="372"/>
                  </a:lnTo>
                  <a:lnTo>
                    <a:pt x="703" y="375"/>
                  </a:lnTo>
                  <a:lnTo>
                    <a:pt x="700" y="378"/>
                  </a:lnTo>
                  <a:lnTo>
                    <a:pt x="700" y="381"/>
                  </a:lnTo>
                  <a:lnTo>
                    <a:pt x="700" y="384"/>
                  </a:lnTo>
                  <a:lnTo>
                    <a:pt x="697" y="387"/>
                  </a:lnTo>
                  <a:lnTo>
                    <a:pt x="697" y="390"/>
                  </a:lnTo>
                  <a:lnTo>
                    <a:pt x="694" y="393"/>
                  </a:lnTo>
                  <a:lnTo>
                    <a:pt x="694" y="396"/>
                  </a:lnTo>
                  <a:lnTo>
                    <a:pt x="691" y="399"/>
                  </a:lnTo>
                  <a:lnTo>
                    <a:pt x="691" y="402"/>
                  </a:lnTo>
                  <a:lnTo>
                    <a:pt x="688" y="405"/>
                  </a:lnTo>
                  <a:lnTo>
                    <a:pt x="685" y="414"/>
                  </a:lnTo>
                  <a:lnTo>
                    <a:pt x="682" y="417"/>
                  </a:lnTo>
                  <a:lnTo>
                    <a:pt x="682" y="420"/>
                  </a:lnTo>
                  <a:lnTo>
                    <a:pt x="679" y="423"/>
                  </a:lnTo>
                  <a:lnTo>
                    <a:pt x="679" y="426"/>
                  </a:lnTo>
                  <a:lnTo>
                    <a:pt x="676" y="429"/>
                  </a:lnTo>
                  <a:lnTo>
                    <a:pt x="676" y="432"/>
                  </a:lnTo>
                  <a:lnTo>
                    <a:pt x="676" y="435"/>
                  </a:lnTo>
                  <a:lnTo>
                    <a:pt x="673" y="438"/>
                  </a:lnTo>
                  <a:lnTo>
                    <a:pt x="667" y="450"/>
                  </a:lnTo>
                  <a:lnTo>
                    <a:pt x="664" y="456"/>
                  </a:lnTo>
                  <a:lnTo>
                    <a:pt x="661" y="459"/>
                  </a:lnTo>
                  <a:lnTo>
                    <a:pt x="664" y="462"/>
                  </a:lnTo>
                  <a:lnTo>
                    <a:pt x="664" y="465"/>
                  </a:lnTo>
                  <a:lnTo>
                    <a:pt x="664" y="468"/>
                  </a:lnTo>
                  <a:lnTo>
                    <a:pt x="667" y="468"/>
                  </a:lnTo>
                  <a:lnTo>
                    <a:pt x="667" y="471"/>
                  </a:lnTo>
                  <a:lnTo>
                    <a:pt x="667" y="474"/>
                  </a:lnTo>
                  <a:lnTo>
                    <a:pt x="670" y="474"/>
                  </a:lnTo>
                  <a:lnTo>
                    <a:pt x="670" y="477"/>
                  </a:lnTo>
                  <a:lnTo>
                    <a:pt x="670" y="474"/>
                  </a:lnTo>
                  <a:lnTo>
                    <a:pt x="673" y="474"/>
                  </a:lnTo>
                  <a:lnTo>
                    <a:pt x="673" y="477"/>
                  </a:lnTo>
                  <a:lnTo>
                    <a:pt x="676" y="477"/>
                  </a:lnTo>
                  <a:lnTo>
                    <a:pt x="676" y="480"/>
                  </a:lnTo>
                  <a:lnTo>
                    <a:pt x="679" y="480"/>
                  </a:lnTo>
                  <a:lnTo>
                    <a:pt x="679" y="477"/>
                  </a:lnTo>
                  <a:lnTo>
                    <a:pt x="679" y="480"/>
                  </a:lnTo>
                  <a:lnTo>
                    <a:pt x="682" y="483"/>
                  </a:lnTo>
                  <a:lnTo>
                    <a:pt x="685" y="486"/>
                  </a:lnTo>
                  <a:lnTo>
                    <a:pt x="688" y="486"/>
                  </a:lnTo>
                  <a:lnTo>
                    <a:pt x="688" y="483"/>
                  </a:lnTo>
                  <a:lnTo>
                    <a:pt x="688" y="486"/>
                  </a:lnTo>
                  <a:lnTo>
                    <a:pt x="688" y="489"/>
                  </a:lnTo>
                  <a:lnTo>
                    <a:pt x="691" y="492"/>
                  </a:lnTo>
                  <a:lnTo>
                    <a:pt x="694" y="492"/>
                  </a:lnTo>
                  <a:lnTo>
                    <a:pt x="697" y="492"/>
                  </a:lnTo>
                  <a:lnTo>
                    <a:pt x="700" y="492"/>
                  </a:lnTo>
                  <a:lnTo>
                    <a:pt x="700" y="495"/>
                  </a:lnTo>
                  <a:lnTo>
                    <a:pt x="700" y="498"/>
                  </a:lnTo>
                  <a:lnTo>
                    <a:pt x="700" y="501"/>
                  </a:lnTo>
                  <a:lnTo>
                    <a:pt x="703" y="501"/>
                  </a:lnTo>
                  <a:lnTo>
                    <a:pt x="703" y="504"/>
                  </a:lnTo>
                  <a:lnTo>
                    <a:pt x="703" y="507"/>
                  </a:lnTo>
                  <a:lnTo>
                    <a:pt x="706" y="507"/>
                  </a:lnTo>
                  <a:lnTo>
                    <a:pt x="706" y="510"/>
                  </a:lnTo>
                  <a:lnTo>
                    <a:pt x="709" y="510"/>
                  </a:lnTo>
                  <a:lnTo>
                    <a:pt x="709" y="513"/>
                  </a:lnTo>
                  <a:lnTo>
                    <a:pt x="712" y="513"/>
                  </a:lnTo>
                  <a:lnTo>
                    <a:pt x="712" y="516"/>
                  </a:lnTo>
                  <a:lnTo>
                    <a:pt x="715" y="516"/>
                  </a:lnTo>
                  <a:lnTo>
                    <a:pt x="712" y="516"/>
                  </a:lnTo>
                  <a:lnTo>
                    <a:pt x="712" y="519"/>
                  </a:lnTo>
                  <a:lnTo>
                    <a:pt x="715" y="519"/>
                  </a:lnTo>
                  <a:lnTo>
                    <a:pt x="715" y="522"/>
                  </a:lnTo>
                  <a:lnTo>
                    <a:pt x="718" y="522"/>
                  </a:lnTo>
                  <a:lnTo>
                    <a:pt x="721" y="522"/>
                  </a:lnTo>
                  <a:lnTo>
                    <a:pt x="721" y="525"/>
                  </a:lnTo>
                  <a:lnTo>
                    <a:pt x="721" y="528"/>
                  </a:lnTo>
                  <a:lnTo>
                    <a:pt x="724" y="528"/>
                  </a:lnTo>
                  <a:lnTo>
                    <a:pt x="724" y="531"/>
                  </a:lnTo>
                  <a:lnTo>
                    <a:pt x="727" y="531"/>
                  </a:lnTo>
                  <a:lnTo>
                    <a:pt x="727" y="534"/>
                  </a:lnTo>
                  <a:lnTo>
                    <a:pt x="730" y="534"/>
                  </a:lnTo>
                  <a:lnTo>
                    <a:pt x="730" y="537"/>
                  </a:lnTo>
                  <a:lnTo>
                    <a:pt x="730" y="540"/>
                  </a:lnTo>
                  <a:lnTo>
                    <a:pt x="733" y="540"/>
                  </a:lnTo>
                  <a:lnTo>
                    <a:pt x="733" y="543"/>
                  </a:lnTo>
                  <a:lnTo>
                    <a:pt x="736" y="543"/>
                  </a:lnTo>
                  <a:lnTo>
                    <a:pt x="739" y="543"/>
                  </a:lnTo>
                  <a:lnTo>
                    <a:pt x="739" y="546"/>
                  </a:lnTo>
                  <a:lnTo>
                    <a:pt x="742" y="546"/>
                  </a:lnTo>
                  <a:lnTo>
                    <a:pt x="742" y="549"/>
                  </a:lnTo>
                  <a:lnTo>
                    <a:pt x="745" y="549"/>
                  </a:lnTo>
                  <a:lnTo>
                    <a:pt x="748" y="549"/>
                  </a:lnTo>
                  <a:lnTo>
                    <a:pt x="751" y="549"/>
                  </a:lnTo>
                  <a:lnTo>
                    <a:pt x="751" y="552"/>
                  </a:lnTo>
                  <a:lnTo>
                    <a:pt x="754" y="552"/>
                  </a:lnTo>
                  <a:lnTo>
                    <a:pt x="757" y="552"/>
                  </a:lnTo>
                  <a:lnTo>
                    <a:pt x="757" y="555"/>
                  </a:lnTo>
                  <a:lnTo>
                    <a:pt x="757" y="558"/>
                  </a:lnTo>
                  <a:lnTo>
                    <a:pt x="757" y="561"/>
                  </a:lnTo>
                  <a:lnTo>
                    <a:pt x="757" y="564"/>
                  </a:lnTo>
                  <a:lnTo>
                    <a:pt x="757" y="567"/>
                  </a:lnTo>
                  <a:lnTo>
                    <a:pt x="757" y="570"/>
                  </a:lnTo>
                  <a:lnTo>
                    <a:pt x="760" y="570"/>
                  </a:lnTo>
                  <a:lnTo>
                    <a:pt x="763" y="570"/>
                  </a:lnTo>
                  <a:lnTo>
                    <a:pt x="760" y="576"/>
                  </a:lnTo>
                  <a:lnTo>
                    <a:pt x="757" y="576"/>
                  </a:lnTo>
                  <a:lnTo>
                    <a:pt x="757" y="579"/>
                  </a:lnTo>
                  <a:lnTo>
                    <a:pt x="760" y="579"/>
                  </a:lnTo>
                  <a:lnTo>
                    <a:pt x="760" y="582"/>
                  </a:lnTo>
                  <a:lnTo>
                    <a:pt x="763" y="582"/>
                  </a:lnTo>
                  <a:lnTo>
                    <a:pt x="760" y="582"/>
                  </a:lnTo>
                  <a:lnTo>
                    <a:pt x="760" y="585"/>
                  </a:lnTo>
                  <a:lnTo>
                    <a:pt x="760" y="588"/>
                  </a:lnTo>
                  <a:lnTo>
                    <a:pt x="757" y="588"/>
                  </a:lnTo>
                  <a:lnTo>
                    <a:pt x="757" y="591"/>
                  </a:lnTo>
                  <a:lnTo>
                    <a:pt x="760" y="591"/>
                  </a:lnTo>
                  <a:lnTo>
                    <a:pt x="757" y="594"/>
                  </a:lnTo>
                  <a:lnTo>
                    <a:pt x="757" y="597"/>
                  </a:lnTo>
                  <a:lnTo>
                    <a:pt x="754" y="597"/>
                  </a:lnTo>
                  <a:lnTo>
                    <a:pt x="754" y="600"/>
                  </a:lnTo>
                  <a:lnTo>
                    <a:pt x="754" y="603"/>
                  </a:lnTo>
                  <a:lnTo>
                    <a:pt x="751" y="603"/>
                  </a:lnTo>
                  <a:lnTo>
                    <a:pt x="751" y="606"/>
                  </a:lnTo>
                  <a:lnTo>
                    <a:pt x="748" y="606"/>
                  </a:lnTo>
                  <a:lnTo>
                    <a:pt x="748" y="609"/>
                  </a:lnTo>
                  <a:lnTo>
                    <a:pt x="748" y="612"/>
                  </a:lnTo>
                  <a:lnTo>
                    <a:pt x="748" y="615"/>
                  </a:lnTo>
                  <a:lnTo>
                    <a:pt x="742" y="612"/>
                  </a:lnTo>
                  <a:lnTo>
                    <a:pt x="739" y="612"/>
                  </a:lnTo>
                  <a:lnTo>
                    <a:pt x="736" y="609"/>
                  </a:lnTo>
                  <a:lnTo>
                    <a:pt x="733" y="612"/>
                  </a:lnTo>
                  <a:lnTo>
                    <a:pt x="736" y="612"/>
                  </a:lnTo>
                  <a:lnTo>
                    <a:pt x="733" y="612"/>
                  </a:lnTo>
                  <a:lnTo>
                    <a:pt x="733" y="615"/>
                  </a:lnTo>
                  <a:lnTo>
                    <a:pt x="730" y="615"/>
                  </a:lnTo>
                  <a:lnTo>
                    <a:pt x="727" y="615"/>
                  </a:lnTo>
                  <a:lnTo>
                    <a:pt x="724" y="615"/>
                  </a:lnTo>
                  <a:lnTo>
                    <a:pt x="724" y="618"/>
                  </a:lnTo>
                  <a:lnTo>
                    <a:pt x="724" y="615"/>
                  </a:lnTo>
                  <a:lnTo>
                    <a:pt x="721" y="618"/>
                  </a:lnTo>
                  <a:lnTo>
                    <a:pt x="718" y="618"/>
                  </a:lnTo>
                  <a:lnTo>
                    <a:pt x="715" y="618"/>
                  </a:lnTo>
                  <a:lnTo>
                    <a:pt x="712" y="621"/>
                  </a:lnTo>
                  <a:lnTo>
                    <a:pt x="709" y="621"/>
                  </a:lnTo>
                  <a:lnTo>
                    <a:pt x="706" y="624"/>
                  </a:lnTo>
                  <a:lnTo>
                    <a:pt x="706" y="627"/>
                  </a:lnTo>
                  <a:lnTo>
                    <a:pt x="703" y="627"/>
                  </a:lnTo>
                  <a:lnTo>
                    <a:pt x="700" y="630"/>
                  </a:lnTo>
                  <a:lnTo>
                    <a:pt x="694" y="630"/>
                  </a:lnTo>
                  <a:lnTo>
                    <a:pt x="691" y="630"/>
                  </a:lnTo>
                  <a:lnTo>
                    <a:pt x="688" y="627"/>
                  </a:lnTo>
                  <a:lnTo>
                    <a:pt x="682" y="630"/>
                  </a:lnTo>
                  <a:lnTo>
                    <a:pt x="682" y="633"/>
                  </a:lnTo>
                  <a:lnTo>
                    <a:pt x="679" y="639"/>
                  </a:lnTo>
                  <a:lnTo>
                    <a:pt x="676" y="639"/>
                  </a:lnTo>
                  <a:lnTo>
                    <a:pt x="679" y="642"/>
                  </a:lnTo>
                  <a:lnTo>
                    <a:pt x="676" y="645"/>
                  </a:lnTo>
                  <a:lnTo>
                    <a:pt x="676" y="648"/>
                  </a:lnTo>
                  <a:lnTo>
                    <a:pt x="676" y="651"/>
                  </a:lnTo>
                  <a:lnTo>
                    <a:pt x="676" y="657"/>
                  </a:lnTo>
                  <a:lnTo>
                    <a:pt x="676" y="660"/>
                  </a:lnTo>
                  <a:lnTo>
                    <a:pt x="673" y="660"/>
                  </a:lnTo>
                  <a:lnTo>
                    <a:pt x="670" y="660"/>
                  </a:lnTo>
                  <a:lnTo>
                    <a:pt x="667" y="660"/>
                  </a:lnTo>
                  <a:lnTo>
                    <a:pt x="670" y="660"/>
                  </a:lnTo>
                  <a:lnTo>
                    <a:pt x="661" y="660"/>
                  </a:lnTo>
                  <a:lnTo>
                    <a:pt x="661" y="663"/>
                  </a:lnTo>
                  <a:lnTo>
                    <a:pt x="661" y="666"/>
                  </a:lnTo>
                  <a:lnTo>
                    <a:pt x="658" y="666"/>
                  </a:lnTo>
                  <a:lnTo>
                    <a:pt x="655" y="666"/>
                  </a:lnTo>
                  <a:lnTo>
                    <a:pt x="652" y="666"/>
                  </a:lnTo>
                  <a:lnTo>
                    <a:pt x="652" y="663"/>
                  </a:lnTo>
                  <a:lnTo>
                    <a:pt x="646" y="663"/>
                  </a:lnTo>
                  <a:lnTo>
                    <a:pt x="646" y="666"/>
                  </a:lnTo>
                  <a:lnTo>
                    <a:pt x="646" y="669"/>
                  </a:lnTo>
                  <a:lnTo>
                    <a:pt x="643" y="669"/>
                  </a:lnTo>
                  <a:lnTo>
                    <a:pt x="639" y="669"/>
                  </a:lnTo>
                  <a:lnTo>
                    <a:pt x="636" y="666"/>
                  </a:lnTo>
                  <a:lnTo>
                    <a:pt x="636" y="663"/>
                  </a:lnTo>
                  <a:lnTo>
                    <a:pt x="636" y="660"/>
                  </a:lnTo>
                  <a:lnTo>
                    <a:pt x="633" y="660"/>
                  </a:lnTo>
                  <a:lnTo>
                    <a:pt x="630" y="660"/>
                  </a:lnTo>
                  <a:lnTo>
                    <a:pt x="627" y="666"/>
                  </a:lnTo>
                  <a:lnTo>
                    <a:pt x="624" y="669"/>
                  </a:lnTo>
                  <a:lnTo>
                    <a:pt x="624" y="672"/>
                  </a:lnTo>
                  <a:lnTo>
                    <a:pt x="621" y="672"/>
                  </a:lnTo>
                  <a:lnTo>
                    <a:pt x="618" y="669"/>
                  </a:lnTo>
                  <a:lnTo>
                    <a:pt x="618" y="666"/>
                  </a:lnTo>
                  <a:lnTo>
                    <a:pt x="615" y="666"/>
                  </a:lnTo>
                  <a:lnTo>
                    <a:pt x="621" y="663"/>
                  </a:lnTo>
                  <a:lnTo>
                    <a:pt x="618" y="660"/>
                  </a:lnTo>
                  <a:lnTo>
                    <a:pt x="615" y="660"/>
                  </a:lnTo>
                  <a:lnTo>
                    <a:pt x="612" y="660"/>
                  </a:lnTo>
                  <a:lnTo>
                    <a:pt x="609" y="654"/>
                  </a:lnTo>
                  <a:lnTo>
                    <a:pt x="606" y="654"/>
                  </a:lnTo>
                  <a:lnTo>
                    <a:pt x="603" y="657"/>
                  </a:lnTo>
                  <a:lnTo>
                    <a:pt x="600" y="654"/>
                  </a:lnTo>
                  <a:lnTo>
                    <a:pt x="597" y="657"/>
                  </a:lnTo>
                  <a:lnTo>
                    <a:pt x="597" y="660"/>
                  </a:lnTo>
                  <a:lnTo>
                    <a:pt x="594" y="660"/>
                  </a:lnTo>
                  <a:lnTo>
                    <a:pt x="591" y="660"/>
                  </a:lnTo>
                  <a:lnTo>
                    <a:pt x="585" y="657"/>
                  </a:lnTo>
                  <a:lnTo>
                    <a:pt x="582" y="657"/>
                  </a:lnTo>
                  <a:lnTo>
                    <a:pt x="582" y="660"/>
                  </a:lnTo>
                  <a:lnTo>
                    <a:pt x="576" y="660"/>
                  </a:lnTo>
                  <a:lnTo>
                    <a:pt x="573" y="663"/>
                  </a:lnTo>
                  <a:lnTo>
                    <a:pt x="570" y="666"/>
                  </a:lnTo>
                  <a:lnTo>
                    <a:pt x="570" y="669"/>
                  </a:lnTo>
                  <a:lnTo>
                    <a:pt x="570" y="672"/>
                  </a:lnTo>
                  <a:lnTo>
                    <a:pt x="567" y="675"/>
                  </a:lnTo>
                  <a:lnTo>
                    <a:pt x="567" y="678"/>
                  </a:lnTo>
                  <a:lnTo>
                    <a:pt x="564" y="681"/>
                  </a:lnTo>
                  <a:lnTo>
                    <a:pt x="561" y="684"/>
                  </a:lnTo>
                  <a:lnTo>
                    <a:pt x="558" y="684"/>
                  </a:lnTo>
                  <a:lnTo>
                    <a:pt x="558" y="687"/>
                  </a:lnTo>
                  <a:lnTo>
                    <a:pt x="555" y="687"/>
                  </a:lnTo>
                  <a:lnTo>
                    <a:pt x="555" y="684"/>
                  </a:lnTo>
                  <a:lnTo>
                    <a:pt x="552" y="684"/>
                  </a:lnTo>
                  <a:lnTo>
                    <a:pt x="552" y="681"/>
                  </a:lnTo>
                  <a:lnTo>
                    <a:pt x="555" y="678"/>
                  </a:lnTo>
                  <a:lnTo>
                    <a:pt x="552" y="678"/>
                  </a:lnTo>
                  <a:lnTo>
                    <a:pt x="546" y="675"/>
                  </a:lnTo>
                  <a:lnTo>
                    <a:pt x="543" y="675"/>
                  </a:lnTo>
                  <a:lnTo>
                    <a:pt x="540" y="678"/>
                  </a:lnTo>
                  <a:lnTo>
                    <a:pt x="537" y="675"/>
                  </a:lnTo>
                  <a:lnTo>
                    <a:pt x="537" y="672"/>
                  </a:lnTo>
                  <a:lnTo>
                    <a:pt x="534" y="672"/>
                  </a:lnTo>
                  <a:lnTo>
                    <a:pt x="531" y="675"/>
                  </a:lnTo>
                  <a:lnTo>
                    <a:pt x="528" y="672"/>
                  </a:lnTo>
                  <a:lnTo>
                    <a:pt x="525" y="669"/>
                  </a:lnTo>
                  <a:lnTo>
                    <a:pt x="522" y="672"/>
                  </a:lnTo>
                  <a:lnTo>
                    <a:pt x="519" y="672"/>
                  </a:lnTo>
                  <a:lnTo>
                    <a:pt x="516" y="672"/>
                  </a:lnTo>
                  <a:lnTo>
                    <a:pt x="513" y="669"/>
                  </a:lnTo>
                  <a:lnTo>
                    <a:pt x="516" y="663"/>
                  </a:lnTo>
                  <a:lnTo>
                    <a:pt x="513" y="660"/>
                  </a:lnTo>
                  <a:lnTo>
                    <a:pt x="513" y="657"/>
                  </a:lnTo>
                  <a:lnTo>
                    <a:pt x="507" y="657"/>
                  </a:lnTo>
                  <a:lnTo>
                    <a:pt x="501" y="654"/>
                  </a:lnTo>
                  <a:lnTo>
                    <a:pt x="492" y="648"/>
                  </a:lnTo>
                  <a:lnTo>
                    <a:pt x="489" y="648"/>
                  </a:lnTo>
                  <a:lnTo>
                    <a:pt x="486" y="654"/>
                  </a:lnTo>
                  <a:lnTo>
                    <a:pt x="486" y="657"/>
                  </a:lnTo>
                  <a:lnTo>
                    <a:pt x="486" y="660"/>
                  </a:lnTo>
                  <a:lnTo>
                    <a:pt x="483" y="666"/>
                  </a:lnTo>
                  <a:lnTo>
                    <a:pt x="483" y="669"/>
                  </a:lnTo>
                  <a:lnTo>
                    <a:pt x="477" y="669"/>
                  </a:lnTo>
                  <a:lnTo>
                    <a:pt x="480" y="672"/>
                  </a:lnTo>
                  <a:lnTo>
                    <a:pt x="480" y="675"/>
                  </a:lnTo>
                  <a:lnTo>
                    <a:pt x="480" y="678"/>
                  </a:lnTo>
                  <a:lnTo>
                    <a:pt x="477" y="678"/>
                  </a:lnTo>
                  <a:lnTo>
                    <a:pt x="474" y="675"/>
                  </a:lnTo>
                  <a:lnTo>
                    <a:pt x="471" y="675"/>
                  </a:lnTo>
                  <a:lnTo>
                    <a:pt x="471" y="678"/>
                  </a:lnTo>
                  <a:lnTo>
                    <a:pt x="474" y="678"/>
                  </a:lnTo>
                  <a:lnTo>
                    <a:pt x="474" y="681"/>
                  </a:lnTo>
                  <a:lnTo>
                    <a:pt x="471" y="684"/>
                  </a:lnTo>
                  <a:lnTo>
                    <a:pt x="471" y="687"/>
                  </a:lnTo>
                  <a:lnTo>
                    <a:pt x="474" y="690"/>
                  </a:lnTo>
                  <a:lnTo>
                    <a:pt x="471" y="690"/>
                  </a:lnTo>
                  <a:lnTo>
                    <a:pt x="474" y="693"/>
                  </a:lnTo>
                  <a:lnTo>
                    <a:pt x="477" y="696"/>
                  </a:lnTo>
                  <a:lnTo>
                    <a:pt x="474" y="696"/>
                  </a:lnTo>
                  <a:lnTo>
                    <a:pt x="471" y="705"/>
                  </a:lnTo>
                  <a:lnTo>
                    <a:pt x="471" y="699"/>
                  </a:lnTo>
                  <a:lnTo>
                    <a:pt x="465" y="702"/>
                  </a:lnTo>
                  <a:lnTo>
                    <a:pt x="465" y="705"/>
                  </a:lnTo>
                  <a:lnTo>
                    <a:pt x="465" y="709"/>
                  </a:lnTo>
                  <a:lnTo>
                    <a:pt x="462" y="712"/>
                  </a:lnTo>
                  <a:lnTo>
                    <a:pt x="459" y="709"/>
                  </a:lnTo>
                  <a:lnTo>
                    <a:pt x="453" y="705"/>
                  </a:lnTo>
                  <a:lnTo>
                    <a:pt x="453" y="709"/>
                  </a:lnTo>
                  <a:lnTo>
                    <a:pt x="456" y="709"/>
                  </a:lnTo>
                  <a:lnTo>
                    <a:pt x="456" y="712"/>
                  </a:lnTo>
                  <a:lnTo>
                    <a:pt x="456" y="715"/>
                  </a:lnTo>
                  <a:lnTo>
                    <a:pt x="456" y="718"/>
                  </a:lnTo>
                  <a:lnTo>
                    <a:pt x="453" y="718"/>
                  </a:lnTo>
                  <a:lnTo>
                    <a:pt x="447" y="715"/>
                  </a:lnTo>
                  <a:lnTo>
                    <a:pt x="444" y="715"/>
                  </a:lnTo>
                  <a:lnTo>
                    <a:pt x="444" y="712"/>
                  </a:lnTo>
                  <a:lnTo>
                    <a:pt x="441" y="712"/>
                  </a:lnTo>
                  <a:lnTo>
                    <a:pt x="438" y="715"/>
                  </a:lnTo>
                  <a:lnTo>
                    <a:pt x="435" y="712"/>
                  </a:lnTo>
                  <a:lnTo>
                    <a:pt x="432" y="712"/>
                  </a:lnTo>
                  <a:lnTo>
                    <a:pt x="429" y="712"/>
                  </a:lnTo>
                  <a:lnTo>
                    <a:pt x="426" y="712"/>
                  </a:lnTo>
                  <a:lnTo>
                    <a:pt x="426" y="715"/>
                  </a:lnTo>
                  <a:lnTo>
                    <a:pt x="426" y="718"/>
                  </a:lnTo>
                  <a:lnTo>
                    <a:pt x="429" y="721"/>
                  </a:lnTo>
                  <a:lnTo>
                    <a:pt x="426" y="724"/>
                  </a:lnTo>
                  <a:lnTo>
                    <a:pt x="423" y="724"/>
                  </a:lnTo>
                  <a:lnTo>
                    <a:pt x="420" y="724"/>
                  </a:lnTo>
                  <a:lnTo>
                    <a:pt x="417" y="724"/>
                  </a:lnTo>
                  <a:lnTo>
                    <a:pt x="417" y="727"/>
                  </a:lnTo>
                  <a:lnTo>
                    <a:pt x="414" y="727"/>
                  </a:lnTo>
                  <a:lnTo>
                    <a:pt x="411" y="730"/>
                  </a:lnTo>
                  <a:lnTo>
                    <a:pt x="405" y="727"/>
                  </a:lnTo>
                  <a:lnTo>
                    <a:pt x="405" y="730"/>
                  </a:lnTo>
                  <a:lnTo>
                    <a:pt x="405" y="733"/>
                  </a:lnTo>
                  <a:lnTo>
                    <a:pt x="402" y="736"/>
                  </a:lnTo>
                  <a:lnTo>
                    <a:pt x="399" y="736"/>
                  </a:lnTo>
                  <a:lnTo>
                    <a:pt x="396" y="739"/>
                  </a:lnTo>
                  <a:lnTo>
                    <a:pt x="396" y="742"/>
                  </a:lnTo>
                  <a:lnTo>
                    <a:pt x="393" y="748"/>
                  </a:lnTo>
                  <a:lnTo>
                    <a:pt x="393" y="754"/>
                  </a:lnTo>
                  <a:lnTo>
                    <a:pt x="390" y="754"/>
                  </a:lnTo>
                  <a:lnTo>
                    <a:pt x="387" y="754"/>
                  </a:lnTo>
                  <a:lnTo>
                    <a:pt x="384" y="754"/>
                  </a:lnTo>
                  <a:lnTo>
                    <a:pt x="378" y="754"/>
                  </a:lnTo>
                  <a:lnTo>
                    <a:pt x="372" y="754"/>
                  </a:lnTo>
                  <a:lnTo>
                    <a:pt x="369" y="757"/>
                  </a:lnTo>
                  <a:lnTo>
                    <a:pt x="366" y="760"/>
                  </a:lnTo>
                  <a:lnTo>
                    <a:pt x="363" y="760"/>
                  </a:lnTo>
                  <a:lnTo>
                    <a:pt x="363" y="763"/>
                  </a:lnTo>
                  <a:lnTo>
                    <a:pt x="366" y="766"/>
                  </a:lnTo>
                  <a:lnTo>
                    <a:pt x="366" y="769"/>
                  </a:lnTo>
                  <a:lnTo>
                    <a:pt x="366" y="772"/>
                  </a:lnTo>
                  <a:lnTo>
                    <a:pt x="366" y="775"/>
                  </a:lnTo>
                  <a:lnTo>
                    <a:pt x="366" y="778"/>
                  </a:lnTo>
                  <a:lnTo>
                    <a:pt x="363" y="778"/>
                  </a:lnTo>
                  <a:lnTo>
                    <a:pt x="360" y="781"/>
                  </a:lnTo>
                  <a:lnTo>
                    <a:pt x="357" y="784"/>
                  </a:lnTo>
                  <a:lnTo>
                    <a:pt x="351" y="784"/>
                  </a:lnTo>
                  <a:lnTo>
                    <a:pt x="348" y="784"/>
                  </a:lnTo>
                  <a:lnTo>
                    <a:pt x="345" y="784"/>
                  </a:lnTo>
                  <a:lnTo>
                    <a:pt x="345" y="781"/>
                  </a:lnTo>
                  <a:lnTo>
                    <a:pt x="345" y="778"/>
                  </a:lnTo>
                  <a:lnTo>
                    <a:pt x="339" y="781"/>
                  </a:lnTo>
                  <a:lnTo>
                    <a:pt x="339" y="784"/>
                  </a:lnTo>
                  <a:lnTo>
                    <a:pt x="333" y="784"/>
                  </a:lnTo>
                  <a:lnTo>
                    <a:pt x="330" y="781"/>
                  </a:lnTo>
                  <a:lnTo>
                    <a:pt x="327" y="781"/>
                  </a:lnTo>
                  <a:lnTo>
                    <a:pt x="327" y="778"/>
                  </a:lnTo>
                  <a:lnTo>
                    <a:pt x="327" y="775"/>
                  </a:lnTo>
                  <a:lnTo>
                    <a:pt x="321" y="769"/>
                  </a:lnTo>
                  <a:lnTo>
                    <a:pt x="318" y="769"/>
                  </a:lnTo>
                  <a:lnTo>
                    <a:pt x="315" y="769"/>
                  </a:lnTo>
                  <a:lnTo>
                    <a:pt x="312" y="766"/>
                  </a:lnTo>
                  <a:lnTo>
                    <a:pt x="312" y="757"/>
                  </a:lnTo>
                  <a:lnTo>
                    <a:pt x="309" y="754"/>
                  </a:lnTo>
                  <a:lnTo>
                    <a:pt x="309" y="751"/>
                  </a:lnTo>
                  <a:lnTo>
                    <a:pt x="306" y="748"/>
                  </a:lnTo>
                  <a:lnTo>
                    <a:pt x="306" y="745"/>
                  </a:lnTo>
                  <a:lnTo>
                    <a:pt x="306" y="739"/>
                  </a:lnTo>
                  <a:lnTo>
                    <a:pt x="303" y="730"/>
                  </a:lnTo>
                  <a:lnTo>
                    <a:pt x="309" y="733"/>
                  </a:lnTo>
                  <a:lnTo>
                    <a:pt x="312" y="727"/>
                  </a:lnTo>
                  <a:lnTo>
                    <a:pt x="312" y="724"/>
                  </a:lnTo>
                  <a:lnTo>
                    <a:pt x="315" y="721"/>
                  </a:lnTo>
                  <a:lnTo>
                    <a:pt x="318" y="721"/>
                  </a:lnTo>
                  <a:lnTo>
                    <a:pt x="318" y="712"/>
                  </a:lnTo>
                  <a:lnTo>
                    <a:pt x="315" y="712"/>
                  </a:lnTo>
                  <a:lnTo>
                    <a:pt x="312" y="709"/>
                  </a:lnTo>
                  <a:lnTo>
                    <a:pt x="309" y="709"/>
                  </a:lnTo>
                  <a:lnTo>
                    <a:pt x="306" y="712"/>
                  </a:lnTo>
                  <a:lnTo>
                    <a:pt x="306" y="715"/>
                  </a:lnTo>
                  <a:lnTo>
                    <a:pt x="303" y="715"/>
                  </a:lnTo>
                  <a:lnTo>
                    <a:pt x="300" y="718"/>
                  </a:lnTo>
                  <a:lnTo>
                    <a:pt x="300" y="721"/>
                  </a:lnTo>
                  <a:lnTo>
                    <a:pt x="297" y="724"/>
                  </a:lnTo>
                  <a:lnTo>
                    <a:pt x="294" y="724"/>
                  </a:lnTo>
                  <a:lnTo>
                    <a:pt x="291" y="727"/>
                  </a:lnTo>
                  <a:lnTo>
                    <a:pt x="285" y="727"/>
                  </a:lnTo>
                  <a:lnTo>
                    <a:pt x="282" y="727"/>
                  </a:lnTo>
                  <a:lnTo>
                    <a:pt x="279" y="730"/>
                  </a:lnTo>
                  <a:lnTo>
                    <a:pt x="276" y="730"/>
                  </a:lnTo>
                  <a:lnTo>
                    <a:pt x="276" y="727"/>
                  </a:lnTo>
                  <a:lnTo>
                    <a:pt x="273" y="730"/>
                  </a:lnTo>
                  <a:lnTo>
                    <a:pt x="273" y="733"/>
                  </a:lnTo>
                  <a:lnTo>
                    <a:pt x="270" y="736"/>
                  </a:lnTo>
                  <a:lnTo>
                    <a:pt x="267" y="733"/>
                  </a:lnTo>
                  <a:lnTo>
                    <a:pt x="264" y="736"/>
                  </a:lnTo>
                  <a:lnTo>
                    <a:pt x="267" y="739"/>
                  </a:lnTo>
                  <a:lnTo>
                    <a:pt x="264" y="745"/>
                  </a:lnTo>
                  <a:lnTo>
                    <a:pt x="264" y="754"/>
                  </a:lnTo>
                  <a:lnTo>
                    <a:pt x="261" y="754"/>
                  </a:lnTo>
                  <a:lnTo>
                    <a:pt x="258" y="757"/>
                  </a:lnTo>
                  <a:lnTo>
                    <a:pt x="255" y="751"/>
                  </a:lnTo>
                  <a:lnTo>
                    <a:pt x="255" y="745"/>
                  </a:lnTo>
                  <a:lnTo>
                    <a:pt x="255" y="739"/>
                  </a:lnTo>
                  <a:lnTo>
                    <a:pt x="255" y="736"/>
                  </a:lnTo>
                  <a:lnTo>
                    <a:pt x="252" y="733"/>
                  </a:lnTo>
                  <a:lnTo>
                    <a:pt x="252" y="730"/>
                  </a:lnTo>
                  <a:lnTo>
                    <a:pt x="249" y="730"/>
                  </a:lnTo>
                  <a:lnTo>
                    <a:pt x="249" y="727"/>
                  </a:lnTo>
                  <a:lnTo>
                    <a:pt x="249" y="724"/>
                  </a:lnTo>
                  <a:lnTo>
                    <a:pt x="246" y="718"/>
                  </a:lnTo>
                  <a:lnTo>
                    <a:pt x="255" y="715"/>
                  </a:lnTo>
                  <a:lnTo>
                    <a:pt x="255" y="712"/>
                  </a:lnTo>
                  <a:lnTo>
                    <a:pt x="255" y="709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696"/>
                  </a:lnTo>
                  <a:lnTo>
                    <a:pt x="252" y="696"/>
                  </a:lnTo>
                  <a:lnTo>
                    <a:pt x="249" y="693"/>
                  </a:lnTo>
                  <a:lnTo>
                    <a:pt x="246" y="690"/>
                  </a:lnTo>
                  <a:lnTo>
                    <a:pt x="246" y="693"/>
                  </a:lnTo>
                  <a:lnTo>
                    <a:pt x="243" y="693"/>
                  </a:lnTo>
                  <a:lnTo>
                    <a:pt x="240" y="690"/>
                  </a:lnTo>
                  <a:lnTo>
                    <a:pt x="240" y="687"/>
                  </a:lnTo>
                  <a:lnTo>
                    <a:pt x="237" y="687"/>
                  </a:lnTo>
                  <a:lnTo>
                    <a:pt x="234" y="687"/>
                  </a:lnTo>
                  <a:lnTo>
                    <a:pt x="237" y="681"/>
                  </a:lnTo>
                  <a:lnTo>
                    <a:pt x="237" y="675"/>
                  </a:lnTo>
                  <a:lnTo>
                    <a:pt x="237" y="678"/>
                  </a:lnTo>
                  <a:lnTo>
                    <a:pt x="231" y="684"/>
                  </a:lnTo>
                  <a:lnTo>
                    <a:pt x="231" y="681"/>
                  </a:lnTo>
                  <a:lnTo>
                    <a:pt x="228" y="681"/>
                  </a:lnTo>
                  <a:lnTo>
                    <a:pt x="225" y="678"/>
                  </a:lnTo>
                  <a:lnTo>
                    <a:pt x="225" y="681"/>
                  </a:lnTo>
                  <a:lnTo>
                    <a:pt x="222" y="681"/>
                  </a:lnTo>
                  <a:lnTo>
                    <a:pt x="222" y="678"/>
                  </a:lnTo>
                  <a:lnTo>
                    <a:pt x="219" y="678"/>
                  </a:lnTo>
                  <a:lnTo>
                    <a:pt x="216" y="678"/>
                  </a:lnTo>
                  <a:lnTo>
                    <a:pt x="216" y="675"/>
                  </a:lnTo>
                  <a:lnTo>
                    <a:pt x="216" y="672"/>
                  </a:lnTo>
                  <a:lnTo>
                    <a:pt x="219" y="672"/>
                  </a:lnTo>
                  <a:lnTo>
                    <a:pt x="219" y="669"/>
                  </a:lnTo>
                  <a:lnTo>
                    <a:pt x="219" y="666"/>
                  </a:lnTo>
                  <a:lnTo>
                    <a:pt x="222" y="666"/>
                  </a:lnTo>
                  <a:lnTo>
                    <a:pt x="219" y="663"/>
                  </a:lnTo>
                  <a:lnTo>
                    <a:pt x="219" y="660"/>
                  </a:lnTo>
                  <a:lnTo>
                    <a:pt x="219" y="657"/>
                  </a:lnTo>
                  <a:lnTo>
                    <a:pt x="219" y="654"/>
                  </a:lnTo>
                  <a:lnTo>
                    <a:pt x="219" y="651"/>
                  </a:lnTo>
                  <a:lnTo>
                    <a:pt x="222" y="651"/>
                  </a:lnTo>
                  <a:lnTo>
                    <a:pt x="219" y="648"/>
                  </a:lnTo>
                  <a:lnTo>
                    <a:pt x="216" y="648"/>
                  </a:lnTo>
                  <a:lnTo>
                    <a:pt x="219" y="645"/>
                  </a:lnTo>
                  <a:lnTo>
                    <a:pt x="219" y="642"/>
                  </a:lnTo>
                  <a:lnTo>
                    <a:pt x="216" y="642"/>
                  </a:lnTo>
                  <a:lnTo>
                    <a:pt x="213" y="642"/>
                  </a:lnTo>
                  <a:lnTo>
                    <a:pt x="216" y="639"/>
                  </a:lnTo>
                  <a:lnTo>
                    <a:pt x="216" y="636"/>
                  </a:lnTo>
                  <a:lnTo>
                    <a:pt x="216" y="633"/>
                  </a:lnTo>
                  <a:lnTo>
                    <a:pt x="216" y="630"/>
                  </a:lnTo>
                  <a:lnTo>
                    <a:pt x="213" y="627"/>
                  </a:lnTo>
                  <a:lnTo>
                    <a:pt x="210" y="627"/>
                  </a:lnTo>
                  <a:lnTo>
                    <a:pt x="213" y="621"/>
                  </a:lnTo>
                  <a:lnTo>
                    <a:pt x="210" y="621"/>
                  </a:lnTo>
                  <a:lnTo>
                    <a:pt x="210" y="618"/>
                  </a:lnTo>
                  <a:lnTo>
                    <a:pt x="207" y="615"/>
                  </a:lnTo>
                  <a:lnTo>
                    <a:pt x="210" y="609"/>
                  </a:lnTo>
                  <a:lnTo>
                    <a:pt x="210" y="603"/>
                  </a:lnTo>
                  <a:lnTo>
                    <a:pt x="207" y="600"/>
                  </a:lnTo>
                  <a:lnTo>
                    <a:pt x="207" y="597"/>
                  </a:lnTo>
                  <a:lnTo>
                    <a:pt x="204" y="597"/>
                  </a:lnTo>
                  <a:lnTo>
                    <a:pt x="204" y="594"/>
                  </a:lnTo>
                  <a:lnTo>
                    <a:pt x="204" y="591"/>
                  </a:lnTo>
                  <a:lnTo>
                    <a:pt x="207" y="588"/>
                  </a:lnTo>
                  <a:lnTo>
                    <a:pt x="213" y="585"/>
                  </a:lnTo>
                  <a:lnTo>
                    <a:pt x="207" y="582"/>
                  </a:lnTo>
                  <a:lnTo>
                    <a:pt x="204" y="579"/>
                  </a:lnTo>
                  <a:lnTo>
                    <a:pt x="210" y="579"/>
                  </a:lnTo>
                  <a:lnTo>
                    <a:pt x="210" y="573"/>
                  </a:lnTo>
                  <a:lnTo>
                    <a:pt x="210" y="567"/>
                  </a:lnTo>
                  <a:lnTo>
                    <a:pt x="201" y="564"/>
                  </a:lnTo>
                  <a:lnTo>
                    <a:pt x="195" y="558"/>
                  </a:lnTo>
                  <a:lnTo>
                    <a:pt x="195" y="555"/>
                  </a:lnTo>
                  <a:lnTo>
                    <a:pt x="192" y="549"/>
                  </a:lnTo>
                  <a:lnTo>
                    <a:pt x="189" y="549"/>
                  </a:lnTo>
                  <a:lnTo>
                    <a:pt x="183" y="549"/>
                  </a:lnTo>
                  <a:lnTo>
                    <a:pt x="183" y="546"/>
                  </a:lnTo>
                  <a:lnTo>
                    <a:pt x="183" y="543"/>
                  </a:lnTo>
                  <a:lnTo>
                    <a:pt x="180" y="540"/>
                  </a:lnTo>
                  <a:lnTo>
                    <a:pt x="177" y="534"/>
                  </a:lnTo>
                  <a:lnTo>
                    <a:pt x="171" y="537"/>
                  </a:lnTo>
                  <a:lnTo>
                    <a:pt x="171" y="540"/>
                  </a:lnTo>
                  <a:lnTo>
                    <a:pt x="171" y="543"/>
                  </a:lnTo>
                  <a:lnTo>
                    <a:pt x="168" y="543"/>
                  </a:lnTo>
                  <a:lnTo>
                    <a:pt x="165" y="543"/>
                  </a:lnTo>
                  <a:lnTo>
                    <a:pt x="165" y="546"/>
                  </a:lnTo>
                  <a:lnTo>
                    <a:pt x="159" y="552"/>
                  </a:lnTo>
                  <a:lnTo>
                    <a:pt x="159" y="558"/>
                  </a:lnTo>
                  <a:lnTo>
                    <a:pt x="156" y="567"/>
                  </a:lnTo>
                  <a:lnTo>
                    <a:pt x="153" y="570"/>
                  </a:lnTo>
                  <a:lnTo>
                    <a:pt x="150" y="573"/>
                  </a:lnTo>
                  <a:lnTo>
                    <a:pt x="147" y="573"/>
                  </a:lnTo>
                  <a:lnTo>
                    <a:pt x="144" y="576"/>
                  </a:lnTo>
                  <a:lnTo>
                    <a:pt x="138" y="570"/>
                  </a:lnTo>
                  <a:lnTo>
                    <a:pt x="135" y="570"/>
                  </a:lnTo>
                  <a:lnTo>
                    <a:pt x="129" y="570"/>
                  </a:lnTo>
                  <a:lnTo>
                    <a:pt x="129" y="573"/>
                  </a:lnTo>
                  <a:lnTo>
                    <a:pt x="129" y="582"/>
                  </a:lnTo>
                  <a:lnTo>
                    <a:pt x="126" y="582"/>
                  </a:lnTo>
                  <a:lnTo>
                    <a:pt x="123" y="582"/>
                  </a:lnTo>
                  <a:lnTo>
                    <a:pt x="123" y="585"/>
                  </a:lnTo>
                  <a:lnTo>
                    <a:pt x="120" y="585"/>
                  </a:lnTo>
                  <a:lnTo>
                    <a:pt x="120" y="588"/>
                  </a:lnTo>
                  <a:lnTo>
                    <a:pt x="123" y="591"/>
                  </a:lnTo>
                  <a:lnTo>
                    <a:pt x="120" y="594"/>
                  </a:lnTo>
                  <a:lnTo>
                    <a:pt x="114" y="600"/>
                  </a:lnTo>
                  <a:lnTo>
                    <a:pt x="114" y="609"/>
                  </a:lnTo>
                  <a:lnTo>
                    <a:pt x="108" y="606"/>
                  </a:lnTo>
                  <a:lnTo>
                    <a:pt x="108" y="603"/>
                  </a:lnTo>
                  <a:lnTo>
                    <a:pt x="108" y="600"/>
                  </a:lnTo>
                  <a:lnTo>
                    <a:pt x="105" y="600"/>
                  </a:lnTo>
                  <a:lnTo>
                    <a:pt x="105" y="597"/>
                  </a:lnTo>
                  <a:lnTo>
                    <a:pt x="105" y="594"/>
                  </a:lnTo>
                  <a:lnTo>
                    <a:pt x="102" y="594"/>
                  </a:lnTo>
                  <a:lnTo>
                    <a:pt x="102" y="591"/>
                  </a:lnTo>
                  <a:lnTo>
                    <a:pt x="102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96" y="585"/>
                  </a:lnTo>
                  <a:lnTo>
                    <a:pt x="96" y="582"/>
                  </a:lnTo>
                  <a:lnTo>
                    <a:pt x="93" y="576"/>
                  </a:lnTo>
                  <a:lnTo>
                    <a:pt x="93" y="573"/>
                  </a:lnTo>
                  <a:lnTo>
                    <a:pt x="90" y="570"/>
                  </a:lnTo>
                  <a:lnTo>
                    <a:pt x="90" y="567"/>
                  </a:lnTo>
                  <a:lnTo>
                    <a:pt x="90" y="564"/>
                  </a:lnTo>
                  <a:lnTo>
                    <a:pt x="87" y="561"/>
                  </a:lnTo>
                  <a:lnTo>
                    <a:pt x="84" y="561"/>
                  </a:lnTo>
                  <a:lnTo>
                    <a:pt x="84" y="558"/>
                  </a:lnTo>
                  <a:lnTo>
                    <a:pt x="84" y="555"/>
                  </a:lnTo>
                  <a:lnTo>
                    <a:pt x="81" y="555"/>
                  </a:lnTo>
                  <a:lnTo>
                    <a:pt x="81" y="552"/>
                  </a:lnTo>
                  <a:lnTo>
                    <a:pt x="81" y="549"/>
                  </a:lnTo>
                  <a:lnTo>
                    <a:pt x="78" y="546"/>
                  </a:lnTo>
                  <a:lnTo>
                    <a:pt x="78" y="543"/>
                  </a:lnTo>
                  <a:lnTo>
                    <a:pt x="75" y="540"/>
                  </a:lnTo>
                  <a:lnTo>
                    <a:pt x="75" y="537"/>
                  </a:lnTo>
                  <a:lnTo>
                    <a:pt x="72" y="534"/>
                  </a:lnTo>
                  <a:lnTo>
                    <a:pt x="72" y="531"/>
                  </a:lnTo>
                  <a:lnTo>
                    <a:pt x="69" y="528"/>
                  </a:lnTo>
                  <a:lnTo>
                    <a:pt x="69" y="525"/>
                  </a:lnTo>
                  <a:lnTo>
                    <a:pt x="66" y="522"/>
                  </a:lnTo>
                  <a:lnTo>
                    <a:pt x="66" y="519"/>
                  </a:lnTo>
                  <a:lnTo>
                    <a:pt x="66" y="516"/>
                  </a:lnTo>
                  <a:lnTo>
                    <a:pt x="66" y="513"/>
                  </a:lnTo>
                  <a:lnTo>
                    <a:pt x="63" y="513"/>
                  </a:lnTo>
                  <a:lnTo>
                    <a:pt x="63" y="510"/>
                  </a:lnTo>
                  <a:lnTo>
                    <a:pt x="63" y="507"/>
                  </a:lnTo>
                  <a:lnTo>
                    <a:pt x="60" y="507"/>
                  </a:lnTo>
                  <a:lnTo>
                    <a:pt x="60" y="504"/>
                  </a:lnTo>
                  <a:lnTo>
                    <a:pt x="60" y="501"/>
                  </a:lnTo>
                  <a:lnTo>
                    <a:pt x="60" y="498"/>
                  </a:lnTo>
                  <a:lnTo>
                    <a:pt x="60" y="495"/>
                  </a:lnTo>
                  <a:lnTo>
                    <a:pt x="57" y="495"/>
                  </a:lnTo>
                  <a:lnTo>
                    <a:pt x="57" y="492"/>
                  </a:lnTo>
                  <a:lnTo>
                    <a:pt x="60" y="492"/>
                  </a:lnTo>
                  <a:lnTo>
                    <a:pt x="57" y="489"/>
                  </a:lnTo>
                  <a:lnTo>
                    <a:pt x="57" y="486"/>
                  </a:lnTo>
                  <a:lnTo>
                    <a:pt x="54" y="486"/>
                  </a:lnTo>
                  <a:lnTo>
                    <a:pt x="54" y="483"/>
                  </a:lnTo>
                  <a:lnTo>
                    <a:pt x="54" y="480"/>
                  </a:lnTo>
                  <a:lnTo>
                    <a:pt x="54" y="477"/>
                  </a:lnTo>
                  <a:lnTo>
                    <a:pt x="51" y="477"/>
                  </a:lnTo>
                  <a:lnTo>
                    <a:pt x="51" y="474"/>
                  </a:lnTo>
                  <a:lnTo>
                    <a:pt x="51" y="471"/>
                  </a:lnTo>
                  <a:lnTo>
                    <a:pt x="51" y="468"/>
                  </a:lnTo>
                  <a:lnTo>
                    <a:pt x="51" y="465"/>
                  </a:lnTo>
                  <a:lnTo>
                    <a:pt x="51" y="462"/>
                  </a:lnTo>
                  <a:lnTo>
                    <a:pt x="48" y="462"/>
                  </a:lnTo>
                  <a:lnTo>
                    <a:pt x="48" y="459"/>
                  </a:lnTo>
                  <a:lnTo>
                    <a:pt x="48" y="456"/>
                  </a:lnTo>
                  <a:lnTo>
                    <a:pt x="45" y="453"/>
                  </a:lnTo>
                  <a:lnTo>
                    <a:pt x="45" y="450"/>
                  </a:lnTo>
                  <a:lnTo>
                    <a:pt x="45" y="447"/>
                  </a:lnTo>
                  <a:lnTo>
                    <a:pt x="45" y="444"/>
                  </a:lnTo>
                  <a:lnTo>
                    <a:pt x="42" y="441"/>
                  </a:lnTo>
                  <a:lnTo>
                    <a:pt x="42" y="438"/>
                  </a:lnTo>
                  <a:lnTo>
                    <a:pt x="42" y="435"/>
                  </a:lnTo>
                  <a:lnTo>
                    <a:pt x="39" y="432"/>
                  </a:lnTo>
                  <a:lnTo>
                    <a:pt x="39" y="429"/>
                  </a:lnTo>
                  <a:lnTo>
                    <a:pt x="36" y="429"/>
                  </a:lnTo>
                  <a:lnTo>
                    <a:pt x="36" y="426"/>
                  </a:lnTo>
                  <a:lnTo>
                    <a:pt x="36" y="423"/>
                  </a:lnTo>
                  <a:lnTo>
                    <a:pt x="33" y="420"/>
                  </a:lnTo>
                  <a:lnTo>
                    <a:pt x="33" y="417"/>
                  </a:lnTo>
                  <a:lnTo>
                    <a:pt x="33" y="414"/>
                  </a:lnTo>
                  <a:lnTo>
                    <a:pt x="30" y="411"/>
                  </a:lnTo>
                  <a:lnTo>
                    <a:pt x="30" y="408"/>
                  </a:lnTo>
                  <a:lnTo>
                    <a:pt x="30" y="405"/>
                  </a:lnTo>
                  <a:lnTo>
                    <a:pt x="27" y="405"/>
                  </a:lnTo>
                  <a:lnTo>
                    <a:pt x="27" y="402"/>
                  </a:lnTo>
                  <a:lnTo>
                    <a:pt x="24" y="402"/>
                  </a:lnTo>
                  <a:lnTo>
                    <a:pt x="24" y="399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18" y="390"/>
                  </a:lnTo>
                  <a:lnTo>
                    <a:pt x="18" y="387"/>
                  </a:lnTo>
                  <a:lnTo>
                    <a:pt x="15" y="387"/>
                  </a:lnTo>
                  <a:lnTo>
                    <a:pt x="12" y="387"/>
                  </a:lnTo>
                  <a:lnTo>
                    <a:pt x="12" y="384"/>
                  </a:lnTo>
                  <a:lnTo>
                    <a:pt x="12" y="381"/>
                  </a:lnTo>
                  <a:lnTo>
                    <a:pt x="12" y="378"/>
                  </a:lnTo>
                  <a:lnTo>
                    <a:pt x="9" y="378"/>
                  </a:lnTo>
                  <a:lnTo>
                    <a:pt x="9" y="375"/>
                  </a:lnTo>
                  <a:lnTo>
                    <a:pt x="9" y="372"/>
                  </a:lnTo>
                  <a:lnTo>
                    <a:pt x="9" y="369"/>
                  </a:lnTo>
                  <a:lnTo>
                    <a:pt x="6" y="369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0" y="363"/>
                  </a:lnTo>
                  <a:lnTo>
                    <a:pt x="0" y="360"/>
                  </a:lnTo>
                  <a:lnTo>
                    <a:pt x="0" y="357"/>
                  </a:lnTo>
                  <a:lnTo>
                    <a:pt x="3" y="357"/>
                  </a:lnTo>
                  <a:lnTo>
                    <a:pt x="3" y="354"/>
                  </a:lnTo>
                  <a:lnTo>
                    <a:pt x="6" y="354"/>
                  </a:lnTo>
                  <a:lnTo>
                    <a:pt x="9" y="354"/>
                  </a:lnTo>
                  <a:lnTo>
                    <a:pt x="12" y="354"/>
                  </a:lnTo>
                  <a:lnTo>
                    <a:pt x="12" y="351"/>
                  </a:lnTo>
                  <a:lnTo>
                    <a:pt x="15" y="351"/>
                  </a:lnTo>
                  <a:lnTo>
                    <a:pt x="15" y="348"/>
                  </a:lnTo>
                  <a:lnTo>
                    <a:pt x="18" y="348"/>
                  </a:lnTo>
                  <a:lnTo>
                    <a:pt x="21" y="348"/>
                  </a:lnTo>
                  <a:lnTo>
                    <a:pt x="24" y="348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27" y="342"/>
                  </a:lnTo>
                  <a:lnTo>
                    <a:pt x="27" y="339"/>
                  </a:lnTo>
                  <a:lnTo>
                    <a:pt x="30" y="336"/>
                  </a:lnTo>
                  <a:lnTo>
                    <a:pt x="27" y="336"/>
                  </a:lnTo>
                  <a:lnTo>
                    <a:pt x="27" y="333"/>
                  </a:lnTo>
                  <a:lnTo>
                    <a:pt x="24" y="330"/>
                  </a:lnTo>
                  <a:lnTo>
                    <a:pt x="24" y="327"/>
                  </a:lnTo>
                  <a:lnTo>
                    <a:pt x="27" y="327"/>
                  </a:lnTo>
                  <a:lnTo>
                    <a:pt x="30" y="327"/>
                  </a:lnTo>
                  <a:lnTo>
                    <a:pt x="30" y="324"/>
                  </a:lnTo>
                  <a:lnTo>
                    <a:pt x="30" y="321"/>
                  </a:lnTo>
                  <a:lnTo>
                    <a:pt x="30" y="324"/>
                  </a:lnTo>
                  <a:lnTo>
                    <a:pt x="33" y="324"/>
                  </a:lnTo>
                  <a:lnTo>
                    <a:pt x="33" y="321"/>
                  </a:lnTo>
                  <a:lnTo>
                    <a:pt x="30" y="318"/>
                  </a:lnTo>
                  <a:lnTo>
                    <a:pt x="33" y="318"/>
                  </a:lnTo>
                  <a:lnTo>
                    <a:pt x="36" y="318"/>
                  </a:lnTo>
                  <a:lnTo>
                    <a:pt x="36" y="315"/>
                  </a:lnTo>
                  <a:lnTo>
                    <a:pt x="36" y="312"/>
                  </a:lnTo>
                  <a:lnTo>
                    <a:pt x="36" y="309"/>
                  </a:lnTo>
                  <a:lnTo>
                    <a:pt x="39" y="309"/>
                  </a:lnTo>
                  <a:lnTo>
                    <a:pt x="42" y="309"/>
                  </a:lnTo>
                  <a:lnTo>
                    <a:pt x="45" y="309"/>
                  </a:lnTo>
                  <a:lnTo>
                    <a:pt x="48" y="309"/>
                  </a:lnTo>
                  <a:lnTo>
                    <a:pt x="48" y="306"/>
                  </a:lnTo>
                  <a:lnTo>
                    <a:pt x="51" y="306"/>
                  </a:lnTo>
                  <a:lnTo>
                    <a:pt x="54" y="306"/>
                  </a:lnTo>
                  <a:lnTo>
                    <a:pt x="54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60" y="312"/>
                  </a:lnTo>
                  <a:lnTo>
                    <a:pt x="63" y="312"/>
                  </a:lnTo>
                  <a:lnTo>
                    <a:pt x="63" y="315"/>
                  </a:lnTo>
                  <a:lnTo>
                    <a:pt x="60" y="318"/>
                  </a:lnTo>
                  <a:lnTo>
                    <a:pt x="60" y="321"/>
                  </a:lnTo>
                  <a:lnTo>
                    <a:pt x="60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6" y="327"/>
                  </a:lnTo>
                  <a:lnTo>
                    <a:pt x="66" y="324"/>
                  </a:lnTo>
                  <a:lnTo>
                    <a:pt x="69" y="324"/>
                  </a:lnTo>
                  <a:lnTo>
                    <a:pt x="72" y="324"/>
                  </a:lnTo>
                  <a:lnTo>
                    <a:pt x="75" y="324"/>
                  </a:lnTo>
                  <a:lnTo>
                    <a:pt x="75" y="327"/>
                  </a:lnTo>
                  <a:lnTo>
                    <a:pt x="75" y="330"/>
                  </a:lnTo>
                  <a:lnTo>
                    <a:pt x="78" y="330"/>
                  </a:lnTo>
                  <a:lnTo>
                    <a:pt x="78" y="333"/>
                  </a:lnTo>
                  <a:lnTo>
                    <a:pt x="78" y="336"/>
                  </a:lnTo>
                  <a:lnTo>
                    <a:pt x="81" y="336"/>
                  </a:lnTo>
                  <a:lnTo>
                    <a:pt x="81" y="339"/>
                  </a:lnTo>
                  <a:lnTo>
                    <a:pt x="78" y="339"/>
                  </a:lnTo>
                  <a:lnTo>
                    <a:pt x="78" y="342"/>
                  </a:lnTo>
                  <a:lnTo>
                    <a:pt x="75" y="345"/>
                  </a:lnTo>
                  <a:lnTo>
                    <a:pt x="72" y="348"/>
                  </a:lnTo>
                  <a:lnTo>
                    <a:pt x="75" y="351"/>
                  </a:lnTo>
                  <a:lnTo>
                    <a:pt x="78" y="354"/>
                  </a:lnTo>
                  <a:lnTo>
                    <a:pt x="78" y="357"/>
                  </a:lnTo>
                  <a:lnTo>
                    <a:pt x="81" y="357"/>
                  </a:lnTo>
                  <a:lnTo>
                    <a:pt x="81" y="360"/>
                  </a:lnTo>
                  <a:lnTo>
                    <a:pt x="81" y="363"/>
                  </a:lnTo>
                  <a:lnTo>
                    <a:pt x="81" y="366"/>
                  </a:lnTo>
                  <a:lnTo>
                    <a:pt x="81" y="369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84" y="369"/>
                  </a:lnTo>
                  <a:lnTo>
                    <a:pt x="87" y="369"/>
                  </a:lnTo>
                  <a:lnTo>
                    <a:pt x="90" y="369"/>
                  </a:lnTo>
                  <a:lnTo>
                    <a:pt x="93" y="366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72"/>
                  </a:lnTo>
                  <a:lnTo>
                    <a:pt x="96" y="375"/>
                  </a:lnTo>
                  <a:lnTo>
                    <a:pt x="99" y="375"/>
                  </a:lnTo>
                  <a:lnTo>
                    <a:pt x="102" y="375"/>
                  </a:lnTo>
                  <a:lnTo>
                    <a:pt x="105" y="372"/>
                  </a:lnTo>
                  <a:lnTo>
                    <a:pt x="105" y="375"/>
                  </a:lnTo>
                  <a:lnTo>
                    <a:pt x="108" y="375"/>
                  </a:lnTo>
                  <a:lnTo>
                    <a:pt x="108" y="372"/>
                  </a:lnTo>
                  <a:lnTo>
                    <a:pt x="111" y="375"/>
                  </a:lnTo>
                  <a:lnTo>
                    <a:pt x="114" y="375"/>
                  </a:lnTo>
                  <a:lnTo>
                    <a:pt x="117" y="375"/>
                  </a:lnTo>
                  <a:lnTo>
                    <a:pt x="120" y="375"/>
                  </a:lnTo>
                  <a:lnTo>
                    <a:pt x="123" y="375"/>
                  </a:lnTo>
                  <a:lnTo>
                    <a:pt x="123" y="378"/>
                  </a:lnTo>
                  <a:lnTo>
                    <a:pt x="126" y="378"/>
                  </a:lnTo>
                  <a:lnTo>
                    <a:pt x="129" y="378"/>
                  </a:lnTo>
                  <a:lnTo>
                    <a:pt x="129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5" y="387"/>
                  </a:lnTo>
                  <a:lnTo>
                    <a:pt x="135" y="384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41" y="387"/>
                  </a:lnTo>
                  <a:lnTo>
                    <a:pt x="144" y="387"/>
                  </a:lnTo>
                  <a:lnTo>
                    <a:pt x="144" y="390"/>
                  </a:lnTo>
                  <a:lnTo>
                    <a:pt x="147" y="390"/>
                  </a:lnTo>
                  <a:lnTo>
                    <a:pt x="147" y="387"/>
                  </a:lnTo>
                  <a:lnTo>
                    <a:pt x="150" y="387"/>
                  </a:lnTo>
                  <a:lnTo>
                    <a:pt x="153" y="387"/>
                  </a:lnTo>
                  <a:lnTo>
                    <a:pt x="156" y="387"/>
                  </a:lnTo>
                  <a:lnTo>
                    <a:pt x="159" y="387"/>
                  </a:lnTo>
                  <a:lnTo>
                    <a:pt x="162" y="387"/>
                  </a:lnTo>
                  <a:lnTo>
                    <a:pt x="165" y="387"/>
                  </a:lnTo>
                  <a:lnTo>
                    <a:pt x="168" y="387"/>
                  </a:lnTo>
                  <a:lnTo>
                    <a:pt x="171" y="387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7" y="384"/>
                  </a:lnTo>
                  <a:lnTo>
                    <a:pt x="180" y="384"/>
                  </a:lnTo>
                  <a:lnTo>
                    <a:pt x="183" y="384"/>
                  </a:lnTo>
                  <a:lnTo>
                    <a:pt x="186" y="384"/>
                  </a:lnTo>
                  <a:lnTo>
                    <a:pt x="189" y="381"/>
                  </a:lnTo>
                  <a:lnTo>
                    <a:pt x="192" y="381"/>
                  </a:lnTo>
                  <a:lnTo>
                    <a:pt x="195" y="384"/>
                  </a:lnTo>
                  <a:lnTo>
                    <a:pt x="198" y="384"/>
                  </a:lnTo>
                  <a:lnTo>
                    <a:pt x="201" y="384"/>
                  </a:lnTo>
                  <a:lnTo>
                    <a:pt x="204" y="384"/>
                  </a:lnTo>
                  <a:lnTo>
                    <a:pt x="207" y="384"/>
                  </a:lnTo>
                  <a:lnTo>
                    <a:pt x="210" y="384"/>
                  </a:lnTo>
                  <a:lnTo>
                    <a:pt x="210" y="387"/>
                  </a:lnTo>
                  <a:lnTo>
                    <a:pt x="213" y="387"/>
                  </a:lnTo>
                  <a:lnTo>
                    <a:pt x="213" y="390"/>
                  </a:lnTo>
                  <a:lnTo>
                    <a:pt x="216" y="390"/>
                  </a:lnTo>
                  <a:lnTo>
                    <a:pt x="216" y="393"/>
                  </a:lnTo>
                  <a:lnTo>
                    <a:pt x="219" y="393"/>
                  </a:lnTo>
                  <a:lnTo>
                    <a:pt x="222" y="393"/>
                  </a:lnTo>
                  <a:lnTo>
                    <a:pt x="222" y="396"/>
                  </a:lnTo>
                  <a:lnTo>
                    <a:pt x="225" y="396"/>
                  </a:lnTo>
                  <a:lnTo>
                    <a:pt x="225" y="393"/>
                  </a:lnTo>
                  <a:lnTo>
                    <a:pt x="228" y="393"/>
                  </a:lnTo>
                  <a:lnTo>
                    <a:pt x="231" y="393"/>
                  </a:lnTo>
                  <a:lnTo>
                    <a:pt x="231" y="390"/>
                  </a:lnTo>
                  <a:lnTo>
                    <a:pt x="234" y="390"/>
                  </a:lnTo>
                  <a:lnTo>
                    <a:pt x="237" y="390"/>
                  </a:lnTo>
                  <a:lnTo>
                    <a:pt x="237" y="387"/>
                  </a:lnTo>
                  <a:lnTo>
                    <a:pt x="234" y="384"/>
                  </a:lnTo>
                  <a:lnTo>
                    <a:pt x="234" y="381"/>
                  </a:lnTo>
                  <a:lnTo>
                    <a:pt x="234" y="378"/>
                  </a:lnTo>
                  <a:lnTo>
                    <a:pt x="234" y="375"/>
                  </a:lnTo>
                  <a:lnTo>
                    <a:pt x="237" y="372"/>
                  </a:lnTo>
                  <a:lnTo>
                    <a:pt x="240" y="372"/>
                  </a:lnTo>
                  <a:lnTo>
                    <a:pt x="243" y="372"/>
                  </a:lnTo>
                  <a:lnTo>
                    <a:pt x="243" y="375"/>
                  </a:lnTo>
                  <a:lnTo>
                    <a:pt x="243" y="372"/>
                  </a:lnTo>
                  <a:lnTo>
                    <a:pt x="246" y="372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52" y="369"/>
                  </a:lnTo>
                  <a:lnTo>
                    <a:pt x="255" y="369"/>
                  </a:lnTo>
                  <a:lnTo>
                    <a:pt x="255" y="366"/>
                  </a:lnTo>
                  <a:lnTo>
                    <a:pt x="255" y="363"/>
                  </a:lnTo>
                  <a:lnTo>
                    <a:pt x="255" y="360"/>
                  </a:lnTo>
                  <a:lnTo>
                    <a:pt x="258" y="360"/>
                  </a:lnTo>
                  <a:lnTo>
                    <a:pt x="258" y="357"/>
                  </a:lnTo>
                  <a:lnTo>
                    <a:pt x="258" y="354"/>
                  </a:lnTo>
                  <a:lnTo>
                    <a:pt x="261" y="354"/>
                  </a:lnTo>
                  <a:lnTo>
                    <a:pt x="261" y="351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70" y="354"/>
                  </a:lnTo>
                  <a:lnTo>
                    <a:pt x="270" y="351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6" y="348"/>
                  </a:lnTo>
                  <a:lnTo>
                    <a:pt x="276" y="351"/>
                  </a:lnTo>
                  <a:lnTo>
                    <a:pt x="279" y="351"/>
                  </a:lnTo>
                  <a:lnTo>
                    <a:pt x="282" y="351"/>
                  </a:lnTo>
                  <a:lnTo>
                    <a:pt x="282" y="348"/>
                  </a:lnTo>
                  <a:lnTo>
                    <a:pt x="285" y="345"/>
                  </a:lnTo>
                  <a:lnTo>
                    <a:pt x="288" y="345"/>
                  </a:lnTo>
                  <a:lnTo>
                    <a:pt x="291" y="345"/>
                  </a:lnTo>
                  <a:lnTo>
                    <a:pt x="294" y="345"/>
                  </a:lnTo>
                  <a:lnTo>
                    <a:pt x="294" y="342"/>
                  </a:lnTo>
                  <a:lnTo>
                    <a:pt x="297" y="342"/>
                  </a:lnTo>
                  <a:lnTo>
                    <a:pt x="297" y="0"/>
                  </a:lnTo>
                  <a:lnTo>
                    <a:pt x="300" y="3"/>
                  </a:lnTo>
                  <a:lnTo>
                    <a:pt x="300" y="6"/>
                  </a:lnTo>
                  <a:lnTo>
                    <a:pt x="303" y="6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2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4" y="21"/>
                  </a:lnTo>
                  <a:lnTo>
                    <a:pt x="324" y="24"/>
                  </a:lnTo>
                  <a:lnTo>
                    <a:pt x="327" y="24"/>
                  </a:lnTo>
                  <a:lnTo>
                    <a:pt x="330" y="24"/>
                  </a:lnTo>
                  <a:lnTo>
                    <a:pt x="330" y="27"/>
                  </a:lnTo>
                  <a:lnTo>
                    <a:pt x="330" y="30"/>
                  </a:lnTo>
                  <a:lnTo>
                    <a:pt x="333" y="30"/>
                  </a:lnTo>
                  <a:lnTo>
                    <a:pt x="333" y="33"/>
                  </a:lnTo>
                  <a:lnTo>
                    <a:pt x="333" y="36"/>
                  </a:lnTo>
                  <a:lnTo>
                    <a:pt x="336" y="36"/>
                  </a:lnTo>
                  <a:lnTo>
                    <a:pt x="336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6" y="42"/>
                  </a:lnTo>
                  <a:lnTo>
                    <a:pt x="339" y="42"/>
                  </a:lnTo>
                  <a:lnTo>
                    <a:pt x="339" y="45"/>
                  </a:lnTo>
                  <a:lnTo>
                    <a:pt x="339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42" y="51"/>
                  </a:lnTo>
                </a:path>
              </a:pathLst>
            </a:custGeom>
            <a:solidFill>
              <a:srgbClr val="FF0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id="{2297CC7C-70A4-4C03-98A3-028BE43161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21063" y="2778125"/>
              <a:ext cx="347662" cy="288925"/>
            </a:xfrm>
            <a:custGeom>
              <a:avLst/>
              <a:gdLst>
                <a:gd name="T0" fmla="*/ 0 w 177"/>
                <a:gd name="T1" fmla="*/ 11793 h 147"/>
                <a:gd name="T2" fmla="*/ 5893 w 177"/>
                <a:gd name="T3" fmla="*/ 11793 h 147"/>
                <a:gd name="T4" fmla="*/ 11785 w 177"/>
                <a:gd name="T5" fmla="*/ 23586 h 147"/>
                <a:gd name="T6" fmla="*/ 11785 w 177"/>
                <a:gd name="T7" fmla="*/ 23586 h 147"/>
                <a:gd name="T8" fmla="*/ 17678 w 177"/>
                <a:gd name="T9" fmla="*/ 23586 h 147"/>
                <a:gd name="T10" fmla="*/ 17678 w 177"/>
                <a:gd name="T11" fmla="*/ 29482 h 147"/>
                <a:gd name="T12" fmla="*/ 23570 w 177"/>
                <a:gd name="T13" fmla="*/ 41275 h 147"/>
                <a:gd name="T14" fmla="*/ 23570 w 177"/>
                <a:gd name="T15" fmla="*/ 53068 h 147"/>
                <a:gd name="T16" fmla="*/ 23570 w 177"/>
                <a:gd name="T17" fmla="*/ 58964 h 147"/>
                <a:gd name="T18" fmla="*/ 29463 w 177"/>
                <a:gd name="T19" fmla="*/ 70757 h 147"/>
                <a:gd name="T20" fmla="*/ 35355 w 177"/>
                <a:gd name="T21" fmla="*/ 82550 h 147"/>
                <a:gd name="T22" fmla="*/ 41248 w 177"/>
                <a:gd name="T23" fmla="*/ 88446 h 147"/>
                <a:gd name="T24" fmla="*/ 47141 w 177"/>
                <a:gd name="T25" fmla="*/ 100239 h 147"/>
                <a:gd name="T26" fmla="*/ 41248 w 177"/>
                <a:gd name="T27" fmla="*/ 112032 h 147"/>
                <a:gd name="T28" fmla="*/ 47141 w 177"/>
                <a:gd name="T29" fmla="*/ 123825 h 147"/>
                <a:gd name="T30" fmla="*/ 47141 w 177"/>
                <a:gd name="T31" fmla="*/ 141514 h 147"/>
                <a:gd name="T32" fmla="*/ 53033 w 177"/>
                <a:gd name="T33" fmla="*/ 153307 h 147"/>
                <a:gd name="T34" fmla="*/ 47141 w 177"/>
                <a:gd name="T35" fmla="*/ 165100 h 147"/>
                <a:gd name="T36" fmla="*/ 35355 w 177"/>
                <a:gd name="T37" fmla="*/ 176893 h 147"/>
                <a:gd name="T38" fmla="*/ 29463 w 177"/>
                <a:gd name="T39" fmla="*/ 188686 h 147"/>
                <a:gd name="T40" fmla="*/ 23570 w 177"/>
                <a:gd name="T41" fmla="*/ 200479 h 147"/>
                <a:gd name="T42" fmla="*/ 11785 w 177"/>
                <a:gd name="T43" fmla="*/ 212271 h 147"/>
                <a:gd name="T44" fmla="*/ 11785 w 177"/>
                <a:gd name="T45" fmla="*/ 229961 h 147"/>
                <a:gd name="T46" fmla="*/ 17678 w 177"/>
                <a:gd name="T47" fmla="*/ 241754 h 147"/>
                <a:gd name="T48" fmla="*/ 11785 w 177"/>
                <a:gd name="T49" fmla="*/ 253546 h 147"/>
                <a:gd name="T50" fmla="*/ 11785 w 177"/>
                <a:gd name="T51" fmla="*/ 265339 h 147"/>
                <a:gd name="T52" fmla="*/ 23570 w 177"/>
                <a:gd name="T53" fmla="*/ 277132 h 147"/>
                <a:gd name="T54" fmla="*/ 29463 w 177"/>
                <a:gd name="T55" fmla="*/ 288925 h 147"/>
                <a:gd name="T56" fmla="*/ 41248 w 177"/>
                <a:gd name="T57" fmla="*/ 283029 h 147"/>
                <a:gd name="T58" fmla="*/ 47141 w 177"/>
                <a:gd name="T59" fmla="*/ 271236 h 147"/>
                <a:gd name="T60" fmla="*/ 64818 w 177"/>
                <a:gd name="T61" fmla="*/ 271236 h 147"/>
                <a:gd name="T62" fmla="*/ 82496 w 177"/>
                <a:gd name="T63" fmla="*/ 277132 h 147"/>
                <a:gd name="T64" fmla="*/ 94281 w 177"/>
                <a:gd name="T65" fmla="*/ 283029 h 147"/>
                <a:gd name="T66" fmla="*/ 111959 w 177"/>
                <a:gd name="T67" fmla="*/ 277132 h 147"/>
                <a:gd name="T68" fmla="*/ 129637 w 177"/>
                <a:gd name="T69" fmla="*/ 277132 h 147"/>
                <a:gd name="T70" fmla="*/ 147314 w 177"/>
                <a:gd name="T71" fmla="*/ 277132 h 147"/>
                <a:gd name="T72" fmla="*/ 159100 w 177"/>
                <a:gd name="T73" fmla="*/ 283029 h 147"/>
                <a:gd name="T74" fmla="*/ 170885 w 177"/>
                <a:gd name="T75" fmla="*/ 277132 h 147"/>
                <a:gd name="T76" fmla="*/ 182670 w 177"/>
                <a:gd name="T77" fmla="*/ 283029 h 147"/>
                <a:gd name="T78" fmla="*/ 194455 w 177"/>
                <a:gd name="T79" fmla="*/ 277132 h 147"/>
                <a:gd name="T80" fmla="*/ 206240 w 177"/>
                <a:gd name="T81" fmla="*/ 271236 h 147"/>
                <a:gd name="T82" fmla="*/ 206240 w 177"/>
                <a:gd name="T83" fmla="*/ 253546 h 147"/>
                <a:gd name="T84" fmla="*/ 212133 w 177"/>
                <a:gd name="T85" fmla="*/ 247650 h 147"/>
                <a:gd name="T86" fmla="*/ 218025 w 177"/>
                <a:gd name="T87" fmla="*/ 247650 h 147"/>
                <a:gd name="T88" fmla="*/ 235703 w 177"/>
                <a:gd name="T89" fmla="*/ 247650 h 147"/>
                <a:gd name="T90" fmla="*/ 247488 w 177"/>
                <a:gd name="T91" fmla="*/ 241754 h 147"/>
                <a:gd name="T92" fmla="*/ 259273 w 177"/>
                <a:gd name="T93" fmla="*/ 229961 h 147"/>
                <a:gd name="T94" fmla="*/ 265166 w 177"/>
                <a:gd name="T95" fmla="*/ 218168 h 147"/>
                <a:gd name="T96" fmla="*/ 271059 w 177"/>
                <a:gd name="T97" fmla="*/ 212271 h 147"/>
                <a:gd name="T98" fmla="*/ 271059 w 177"/>
                <a:gd name="T99" fmla="*/ 194582 h 147"/>
                <a:gd name="T100" fmla="*/ 288736 w 177"/>
                <a:gd name="T101" fmla="*/ 188686 h 147"/>
                <a:gd name="T102" fmla="*/ 294629 w 177"/>
                <a:gd name="T103" fmla="*/ 188686 h 147"/>
                <a:gd name="T104" fmla="*/ 300521 w 177"/>
                <a:gd name="T105" fmla="*/ 176893 h 147"/>
                <a:gd name="T106" fmla="*/ 306414 w 177"/>
                <a:gd name="T107" fmla="*/ 165100 h 147"/>
                <a:gd name="T108" fmla="*/ 318199 w 177"/>
                <a:gd name="T109" fmla="*/ 159204 h 147"/>
                <a:gd name="T110" fmla="*/ 335877 w 177"/>
                <a:gd name="T111" fmla="*/ 165100 h 147"/>
                <a:gd name="T112" fmla="*/ 335877 w 177"/>
                <a:gd name="T113" fmla="*/ 147411 h 147"/>
                <a:gd name="T114" fmla="*/ 347662 w 177"/>
                <a:gd name="T115" fmla="*/ 147411 h 1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77" h="147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9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9" y="15"/>
                  </a:lnTo>
                  <a:lnTo>
                    <a:pt x="9" y="18"/>
                  </a:lnTo>
                  <a:lnTo>
                    <a:pt x="9" y="21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5" y="27"/>
                  </a:lnTo>
                  <a:lnTo>
                    <a:pt x="12" y="27"/>
                  </a:lnTo>
                  <a:lnTo>
                    <a:pt x="9" y="27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2" y="36"/>
                  </a:lnTo>
                  <a:lnTo>
                    <a:pt x="15" y="36"/>
                  </a:lnTo>
                  <a:lnTo>
                    <a:pt x="15" y="39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1" y="51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1" y="54"/>
                  </a:lnTo>
                  <a:lnTo>
                    <a:pt x="21" y="57"/>
                  </a:lnTo>
                  <a:lnTo>
                    <a:pt x="24" y="57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69"/>
                  </a:lnTo>
                  <a:lnTo>
                    <a:pt x="24" y="72"/>
                  </a:lnTo>
                  <a:lnTo>
                    <a:pt x="24" y="75"/>
                  </a:lnTo>
                  <a:lnTo>
                    <a:pt x="27" y="75"/>
                  </a:lnTo>
                  <a:lnTo>
                    <a:pt x="27" y="78"/>
                  </a:lnTo>
                  <a:lnTo>
                    <a:pt x="24" y="78"/>
                  </a:lnTo>
                  <a:lnTo>
                    <a:pt x="24" y="81"/>
                  </a:lnTo>
                  <a:lnTo>
                    <a:pt x="24" y="84"/>
                  </a:lnTo>
                  <a:lnTo>
                    <a:pt x="21" y="84"/>
                  </a:lnTo>
                  <a:lnTo>
                    <a:pt x="21" y="87"/>
                  </a:lnTo>
                  <a:lnTo>
                    <a:pt x="18" y="90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5" y="96"/>
                  </a:lnTo>
                  <a:lnTo>
                    <a:pt x="15" y="99"/>
                  </a:lnTo>
                  <a:lnTo>
                    <a:pt x="12" y="99"/>
                  </a:lnTo>
                  <a:lnTo>
                    <a:pt x="12" y="102"/>
                  </a:lnTo>
                  <a:lnTo>
                    <a:pt x="9" y="102"/>
                  </a:lnTo>
                  <a:lnTo>
                    <a:pt x="6" y="105"/>
                  </a:lnTo>
                  <a:lnTo>
                    <a:pt x="6" y="108"/>
                  </a:lnTo>
                  <a:lnTo>
                    <a:pt x="6" y="111"/>
                  </a:lnTo>
                  <a:lnTo>
                    <a:pt x="6" y="114"/>
                  </a:lnTo>
                  <a:lnTo>
                    <a:pt x="6" y="117"/>
                  </a:lnTo>
                  <a:lnTo>
                    <a:pt x="9" y="117"/>
                  </a:lnTo>
                  <a:lnTo>
                    <a:pt x="9" y="120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32"/>
                  </a:lnTo>
                  <a:lnTo>
                    <a:pt x="9" y="135"/>
                  </a:lnTo>
                  <a:lnTo>
                    <a:pt x="6" y="135"/>
                  </a:lnTo>
                  <a:lnTo>
                    <a:pt x="9" y="138"/>
                  </a:lnTo>
                  <a:lnTo>
                    <a:pt x="9" y="141"/>
                  </a:lnTo>
                  <a:lnTo>
                    <a:pt x="12" y="141"/>
                  </a:lnTo>
                  <a:lnTo>
                    <a:pt x="12" y="144"/>
                  </a:lnTo>
                  <a:lnTo>
                    <a:pt x="12" y="147"/>
                  </a:lnTo>
                  <a:lnTo>
                    <a:pt x="15" y="147"/>
                  </a:lnTo>
                  <a:lnTo>
                    <a:pt x="15" y="144"/>
                  </a:lnTo>
                  <a:lnTo>
                    <a:pt x="18" y="144"/>
                  </a:lnTo>
                  <a:lnTo>
                    <a:pt x="21" y="144"/>
                  </a:lnTo>
                  <a:lnTo>
                    <a:pt x="21" y="141"/>
                  </a:lnTo>
                  <a:lnTo>
                    <a:pt x="24" y="141"/>
                  </a:lnTo>
                  <a:lnTo>
                    <a:pt x="24" y="138"/>
                  </a:lnTo>
                  <a:lnTo>
                    <a:pt x="27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6" y="138"/>
                  </a:lnTo>
                  <a:lnTo>
                    <a:pt x="39" y="141"/>
                  </a:lnTo>
                  <a:lnTo>
                    <a:pt x="42" y="141"/>
                  </a:lnTo>
                  <a:lnTo>
                    <a:pt x="45" y="144"/>
                  </a:lnTo>
                  <a:lnTo>
                    <a:pt x="45" y="141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4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3" y="141"/>
                  </a:lnTo>
                  <a:lnTo>
                    <a:pt x="66" y="141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81" y="141"/>
                  </a:lnTo>
                  <a:lnTo>
                    <a:pt x="81" y="144"/>
                  </a:lnTo>
                  <a:lnTo>
                    <a:pt x="84" y="144"/>
                  </a:lnTo>
                  <a:lnTo>
                    <a:pt x="84" y="141"/>
                  </a:lnTo>
                  <a:lnTo>
                    <a:pt x="87" y="141"/>
                  </a:lnTo>
                  <a:lnTo>
                    <a:pt x="90" y="141"/>
                  </a:lnTo>
                  <a:lnTo>
                    <a:pt x="90" y="144"/>
                  </a:lnTo>
                  <a:lnTo>
                    <a:pt x="93" y="144"/>
                  </a:lnTo>
                  <a:lnTo>
                    <a:pt x="96" y="144"/>
                  </a:lnTo>
                  <a:lnTo>
                    <a:pt x="99" y="144"/>
                  </a:lnTo>
                  <a:lnTo>
                    <a:pt x="99" y="141"/>
                  </a:lnTo>
                  <a:lnTo>
                    <a:pt x="102" y="141"/>
                  </a:lnTo>
                  <a:lnTo>
                    <a:pt x="102" y="138"/>
                  </a:lnTo>
                  <a:lnTo>
                    <a:pt x="105" y="138"/>
                  </a:lnTo>
                  <a:lnTo>
                    <a:pt x="105" y="135"/>
                  </a:lnTo>
                  <a:lnTo>
                    <a:pt x="105" y="132"/>
                  </a:lnTo>
                  <a:lnTo>
                    <a:pt x="105" y="129"/>
                  </a:lnTo>
                  <a:lnTo>
                    <a:pt x="102" y="129"/>
                  </a:lnTo>
                  <a:lnTo>
                    <a:pt x="105" y="126"/>
                  </a:lnTo>
                  <a:lnTo>
                    <a:pt x="108" y="126"/>
                  </a:lnTo>
                  <a:lnTo>
                    <a:pt x="108" y="123"/>
                  </a:lnTo>
                  <a:lnTo>
                    <a:pt x="108" y="126"/>
                  </a:lnTo>
                  <a:lnTo>
                    <a:pt x="111" y="126"/>
                  </a:lnTo>
                  <a:lnTo>
                    <a:pt x="114" y="126"/>
                  </a:lnTo>
                  <a:lnTo>
                    <a:pt x="117" y="126"/>
                  </a:lnTo>
                  <a:lnTo>
                    <a:pt x="120" y="126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0"/>
                  </a:lnTo>
                  <a:lnTo>
                    <a:pt x="129" y="117"/>
                  </a:lnTo>
                  <a:lnTo>
                    <a:pt x="132" y="117"/>
                  </a:lnTo>
                  <a:lnTo>
                    <a:pt x="132" y="114"/>
                  </a:lnTo>
                  <a:lnTo>
                    <a:pt x="135" y="114"/>
                  </a:lnTo>
                  <a:lnTo>
                    <a:pt x="135" y="111"/>
                  </a:lnTo>
                  <a:lnTo>
                    <a:pt x="138" y="111"/>
                  </a:lnTo>
                  <a:lnTo>
                    <a:pt x="135" y="108"/>
                  </a:lnTo>
                  <a:lnTo>
                    <a:pt x="138" y="108"/>
                  </a:lnTo>
                  <a:lnTo>
                    <a:pt x="138" y="105"/>
                  </a:lnTo>
                  <a:lnTo>
                    <a:pt x="138" y="102"/>
                  </a:lnTo>
                  <a:lnTo>
                    <a:pt x="138" y="99"/>
                  </a:lnTo>
                  <a:lnTo>
                    <a:pt x="141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3"/>
                  </a:lnTo>
                  <a:lnTo>
                    <a:pt x="147" y="96"/>
                  </a:lnTo>
                  <a:lnTo>
                    <a:pt x="150" y="96"/>
                  </a:lnTo>
                  <a:lnTo>
                    <a:pt x="150" y="93"/>
                  </a:lnTo>
                  <a:lnTo>
                    <a:pt x="153" y="93"/>
                  </a:lnTo>
                  <a:lnTo>
                    <a:pt x="153" y="90"/>
                  </a:lnTo>
                  <a:lnTo>
                    <a:pt x="156" y="90"/>
                  </a:lnTo>
                  <a:lnTo>
                    <a:pt x="156" y="87"/>
                  </a:lnTo>
                  <a:lnTo>
                    <a:pt x="156" y="84"/>
                  </a:lnTo>
                  <a:lnTo>
                    <a:pt x="159" y="84"/>
                  </a:lnTo>
                  <a:lnTo>
                    <a:pt x="162" y="84"/>
                  </a:lnTo>
                  <a:lnTo>
                    <a:pt x="162" y="81"/>
                  </a:lnTo>
                  <a:lnTo>
                    <a:pt x="165" y="84"/>
                  </a:lnTo>
                  <a:lnTo>
                    <a:pt x="168" y="84"/>
                  </a:lnTo>
                  <a:lnTo>
                    <a:pt x="171" y="84"/>
                  </a:lnTo>
                  <a:lnTo>
                    <a:pt x="171" y="81"/>
                  </a:lnTo>
                  <a:lnTo>
                    <a:pt x="171" y="78"/>
                  </a:lnTo>
                  <a:lnTo>
                    <a:pt x="171" y="75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5"/>
                  </a:lnTo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23" name="Freeform 33">
              <a:extLst>
                <a:ext uri="{FF2B5EF4-FFF2-40B4-BE49-F238E27FC236}">
                  <a16:creationId xmlns:a16="http://schemas.microsoft.com/office/drawing/2014/main" id="{1BAF9B5D-658A-41ED-9615-A86073BF49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1200" y="2736850"/>
              <a:ext cx="334963" cy="336550"/>
            </a:xfrm>
            <a:custGeom>
              <a:avLst/>
              <a:gdLst>
                <a:gd name="T0" fmla="*/ 270321 w 171"/>
                <a:gd name="T1" fmla="*/ 5904 h 171"/>
                <a:gd name="T2" fmla="*/ 282074 w 171"/>
                <a:gd name="T3" fmla="*/ 11809 h 171"/>
                <a:gd name="T4" fmla="*/ 276198 w 171"/>
                <a:gd name="T5" fmla="*/ 23618 h 171"/>
                <a:gd name="T6" fmla="*/ 258568 w 171"/>
                <a:gd name="T7" fmla="*/ 53139 h 171"/>
                <a:gd name="T8" fmla="*/ 276198 w 171"/>
                <a:gd name="T9" fmla="*/ 64948 h 171"/>
                <a:gd name="T10" fmla="*/ 293827 w 171"/>
                <a:gd name="T11" fmla="*/ 53139 h 171"/>
                <a:gd name="T12" fmla="*/ 323210 w 171"/>
                <a:gd name="T13" fmla="*/ 35426 h 171"/>
                <a:gd name="T14" fmla="*/ 329086 w 171"/>
                <a:gd name="T15" fmla="*/ 59044 h 171"/>
                <a:gd name="T16" fmla="*/ 317333 w 171"/>
                <a:gd name="T17" fmla="*/ 70853 h 171"/>
                <a:gd name="T18" fmla="*/ 299704 w 171"/>
                <a:gd name="T19" fmla="*/ 82661 h 171"/>
                <a:gd name="T20" fmla="*/ 293827 w 171"/>
                <a:gd name="T21" fmla="*/ 106279 h 171"/>
                <a:gd name="T22" fmla="*/ 287951 w 171"/>
                <a:gd name="T23" fmla="*/ 135801 h 171"/>
                <a:gd name="T24" fmla="*/ 276198 w 171"/>
                <a:gd name="T25" fmla="*/ 165323 h 171"/>
                <a:gd name="T26" fmla="*/ 258568 w 171"/>
                <a:gd name="T27" fmla="*/ 165323 h 171"/>
                <a:gd name="T28" fmla="*/ 223309 w 171"/>
                <a:gd name="T29" fmla="*/ 171227 h 171"/>
                <a:gd name="T30" fmla="*/ 217432 w 171"/>
                <a:gd name="T31" fmla="*/ 188940 h 171"/>
                <a:gd name="T32" fmla="*/ 235062 w 171"/>
                <a:gd name="T33" fmla="*/ 212558 h 171"/>
                <a:gd name="T34" fmla="*/ 258568 w 171"/>
                <a:gd name="T35" fmla="*/ 224367 h 171"/>
                <a:gd name="T36" fmla="*/ 270321 w 171"/>
                <a:gd name="T37" fmla="*/ 242080 h 171"/>
                <a:gd name="T38" fmla="*/ 258568 w 171"/>
                <a:gd name="T39" fmla="*/ 247984 h 171"/>
                <a:gd name="T40" fmla="*/ 240938 w 171"/>
                <a:gd name="T41" fmla="*/ 259793 h 171"/>
                <a:gd name="T42" fmla="*/ 223309 w 171"/>
                <a:gd name="T43" fmla="*/ 259793 h 171"/>
                <a:gd name="T44" fmla="*/ 217432 w 171"/>
                <a:gd name="T45" fmla="*/ 277506 h 171"/>
                <a:gd name="T46" fmla="*/ 193926 w 171"/>
                <a:gd name="T47" fmla="*/ 295219 h 171"/>
                <a:gd name="T48" fmla="*/ 188049 w 171"/>
                <a:gd name="T49" fmla="*/ 307028 h 171"/>
                <a:gd name="T50" fmla="*/ 188049 w 171"/>
                <a:gd name="T51" fmla="*/ 318837 h 171"/>
                <a:gd name="T52" fmla="*/ 170420 w 171"/>
                <a:gd name="T53" fmla="*/ 324741 h 171"/>
                <a:gd name="T54" fmla="*/ 170420 w 171"/>
                <a:gd name="T55" fmla="*/ 330646 h 171"/>
                <a:gd name="T56" fmla="*/ 158667 w 171"/>
                <a:gd name="T57" fmla="*/ 324741 h 171"/>
                <a:gd name="T58" fmla="*/ 152790 w 171"/>
                <a:gd name="T59" fmla="*/ 324741 h 171"/>
                <a:gd name="T60" fmla="*/ 135161 w 171"/>
                <a:gd name="T61" fmla="*/ 312932 h 171"/>
                <a:gd name="T62" fmla="*/ 135161 w 171"/>
                <a:gd name="T63" fmla="*/ 295219 h 171"/>
                <a:gd name="T64" fmla="*/ 117531 w 171"/>
                <a:gd name="T65" fmla="*/ 301124 h 171"/>
                <a:gd name="T66" fmla="*/ 94025 w 171"/>
                <a:gd name="T67" fmla="*/ 307028 h 171"/>
                <a:gd name="T68" fmla="*/ 76395 w 171"/>
                <a:gd name="T69" fmla="*/ 307028 h 171"/>
                <a:gd name="T70" fmla="*/ 64642 w 171"/>
                <a:gd name="T71" fmla="*/ 295219 h 171"/>
                <a:gd name="T72" fmla="*/ 58765 w 171"/>
                <a:gd name="T73" fmla="*/ 271602 h 171"/>
                <a:gd name="T74" fmla="*/ 70519 w 171"/>
                <a:gd name="T75" fmla="*/ 253889 h 171"/>
                <a:gd name="T76" fmla="*/ 58765 w 171"/>
                <a:gd name="T77" fmla="*/ 242080 h 171"/>
                <a:gd name="T78" fmla="*/ 35259 w 171"/>
                <a:gd name="T79" fmla="*/ 242080 h 171"/>
                <a:gd name="T80" fmla="*/ 11753 w 171"/>
                <a:gd name="T81" fmla="*/ 253889 h 171"/>
                <a:gd name="T82" fmla="*/ 5877 w 171"/>
                <a:gd name="T83" fmla="*/ 224367 h 171"/>
                <a:gd name="T84" fmla="*/ 17630 w 171"/>
                <a:gd name="T85" fmla="*/ 194845 h 171"/>
                <a:gd name="T86" fmla="*/ 35259 w 171"/>
                <a:gd name="T87" fmla="*/ 183036 h 171"/>
                <a:gd name="T88" fmla="*/ 47012 w 171"/>
                <a:gd name="T89" fmla="*/ 147610 h 171"/>
                <a:gd name="T90" fmla="*/ 64642 w 171"/>
                <a:gd name="T91" fmla="*/ 135801 h 171"/>
                <a:gd name="T92" fmla="*/ 82272 w 171"/>
                <a:gd name="T93" fmla="*/ 141705 h 171"/>
                <a:gd name="T94" fmla="*/ 99901 w 171"/>
                <a:gd name="T95" fmla="*/ 141705 h 171"/>
                <a:gd name="T96" fmla="*/ 117531 w 171"/>
                <a:gd name="T97" fmla="*/ 141705 h 171"/>
                <a:gd name="T98" fmla="*/ 123407 w 171"/>
                <a:gd name="T99" fmla="*/ 123992 h 171"/>
                <a:gd name="T100" fmla="*/ 123407 w 171"/>
                <a:gd name="T101" fmla="*/ 100375 h 171"/>
                <a:gd name="T102" fmla="*/ 141037 w 171"/>
                <a:gd name="T103" fmla="*/ 88566 h 171"/>
                <a:gd name="T104" fmla="*/ 146914 w 171"/>
                <a:gd name="T105" fmla="*/ 64948 h 171"/>
                <a:gd name="T106" fmla="*/ 152790 w 171"/>
                <a:gd name="T107" fmla="*/ 53139 h 171"/>
                <a:gd name="T108" fmla="*/ 152790 w 171"/>
                <a:gd name="T109" fmla="*/ 64948 h 171"/>
                <a:gd name="T110" fmla="*/ 176296 w 171"/>
                <a:gd name="T111" fmla="*/ 53139 h 171"/>
                <a:gd name="T112" fmla="*/ 193926 w 171"/>
                <a:gd name="T113" fmla="*/ 35426 h 171"/>
                <a:gd name="T114" fmla="*/ 217432 w 171"/>
                <a:gd name="T115" fmla="*/ 29522 h 171"/>
                <a:gd name="T116" fmla="*/ 240938 w 171"/>
                <a:gd name="T117" fmla="*/ 23618 h 171"/>
                <a:gd name="T118" fmla="*/ 246815 w 171"/>
                <a:gd name="T119" fmla="*/ 23618 h 171"/>
                <a:gd name="T120" fmla="*/ 240938 w 171"/>
                <a:gd name="T121" fmla="*/ 5904 h 1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1" h="171">
                  <a:moveTo>
                    <a:pt x="123" y="3"/>
                  </a:moveTo>
                  <a:lnTo>
                    <a:pt x="126" y="3"/>
                  </a:lnTo>
                  <a:lnTo>
                    <a:pt x="132" y="0"/>
                  </a:lnTo>
                  <a:lnTo>
                    <a:pt x="135" y="0"/>
                  </a:lnTo>
                  <a:lnTo>
                    <a:pt x="138" y="3"/>
                  </a:lnTo>
                  <a:lnTo>
                    <a:pt x="138" y="6"/>
                  </a:lnTo>
                  <a:lnTo>
                    <a:pt x="141" y="6"/>
                  </a:lnTo>
                  <a:lnTo>
                    <a:pt x="144" y="3"/>
                  </a:lnTo>
                  <a:lnTo>
                    <a:pt x="141" y="6"/>
                  </a:lnTo>
                  <a:lnTo>
                    <a:pt x="144" y="6"/>
                  </a:lnTo>
                  <a:lnTo>
                    <a:pt x="141" y="9"/>
                  </a:lnTo>
                  <a:lnTo>
                    <a:pt x="138" y="6"/>
                  </a:lnTo>
                  <a:lnTo>
                    <a:pt x="138" y="9"/>
                  </a:lnTo>
                  <a:lnTo>
                    <a:pt x="141" y="9"/>
                  </a:lnTo>
                  <a:lnTo>
                    <a:pt x="141" y="12"/>
                  </a:lnTo>
                  <a:lnTo>
                    <a:pt x="141" y="15"/>
                  </a:lnTo>
                  <a:lnTo>
                    <a:pt x="138" y="18"/>
                  </a:lnTo>
                  <a:lnTo>
                    <a:pt x="135" y="21"/>
                  </a:lnTo>
                  <a:lnTo>
                    <a:pt x="132" y="24"/>
                  </a:lnTo>
                  <a:lnTo>
                    <a:pt x="132" y="27"/>
                  </a:lnTo>
                  <a:lnTo>
                    <a:pt x="135" y="27"/>
                  </a:lnTo>
                  <a:lnTo>
                    <a:pt x="135" y="30"/>
                  </a:lnTo>
                  <a:lnTo>
                    <a:pt x="135" y="33"/>
                  </a:lnTo>
                  <a:lnTo>
                    <a:pt x="138" y="33"/>
                  </a:lnTo>
                  <a:lnTo>
                    <a:pt x="141" y="33"/>
                  </a:lnTo>
                  <a:lnTo>
                    <a:pt x="141" y="30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50" y="27"/>
                  </a:lnTo>
                  <a:lnTo>
                    <a:pt x="150" y="24"/>
                  </a:lnTo>
                  <a:lnTo>
                    <a:pt x="153" y="24"/>
                  </a:lnTo>
                  <a:lnTo>
                    <a:pt x="156" y="21"/>
                  </a:lnTo>
                  <a:lnTo>
                    <a:pt x="162" y="21"/>
                  </a:lnTo>
                  <a:lnTo>
                    <a:pt x="165" y="18"/>
                  </a:lnTo>
                  <a:lnTo>
                    <a:pt x="165" y="21"/>
                  </a:lnTo>
                  <a:lnTo>
                    <a:pt x="168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2" y="33"/>
                  </a:lnTo>
                  <a:lnTo>
                    <a:pt x="165" y="36"/>
                  </a:lnTo>
                  <a:lnTo>
                    <a:pt x="162" y="36"/>
                  </a:lnTo>
                  <a:lnTo>
                    <a:pt x="159" y="36"/>
                  </a:lnTo>
                  <a:lnTo>
                    <a:pt x="159" y="39"/>
                  </a:lnTo>
                  <a:lnTo>
                    <a:pt x="159" y="42"/>
                  </a:lnTo>
                  <a:lnTo>
                    <a:pt x="156" y="42"/>
                  </a:lnTo>
                  <a:lnTo>
                    <a:pt x="153" y="42"/>
                  </a:lnTo>
                  <a:lnTo>
                    <a:pt x="156" y="45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53" y="51"/>
                  </a:lnTo>
                  <a:lnTo>
                    <a:pt x="150" y="54"/>
                  </a:lnTo>
                  <a:lnTo>
                    <a:pt x="147" y="57"/>
                  </a:lnTo>
                  <a:lnTo>
                    <a:pt x="150" y="60"/>
                  </a:lnTo>
                  <a:lnTo>
                    <a:pt x="147" y="63"/>
                  </a:lnTo>
                  <a:lnTo>
                    <a:pt x="147" y="66"/>
                  </a:lnTo>
                  <a:lnTo>
                    <a:pt x="147" y="69"/>
                  </a:lnTo>
                  <a:lnTo>
                    <a:pt x="147" y="72"/>
                  </a:lnTo>
                  <a:lnTo>
                    <a:pt x="141" y="72"/>
                  </a:lnTo>
                  <a:lnTo>
                    <a:pt x="141" y="78"/>
                  </a:lnTo>
                  <a:lnTo>
                    <a:pt x="141" y="81"/>
                  </a:lnTo>
                  <a:lnTo>
                    <a:pt x="141" y="84"/>
                  </a:lnTo>
                  <a:lnTo>
                    <a:pt x="138" y="84"/>
                  </a:lnTo>
                  <a:lnTo>
                    <a:pt x="135" y="84"/>
                  </a:lnTo>
                  <a:lnTo>
                    <a:pt x="132" y="84"/>
                  </a:lnTo>
                  <a:lnTo>
                    <a:pt x="132" y="81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0" y="81"/>
                  </a:lnTo>
                  <a:lnTo>
                    <a:pt x="117" y="84"/>
                  </a:lnTo>
                  <a:lnTo>
                    <a:pt x="117" y="90"/>
                  </a:lnTo>
                  <a:lnTo>
                    <a:pt x="114" y="87"/>
                  </a:lnTo>
                  <a:lnTo>
                    <a:pt x="111" y="90"/>
                  </a:lnTo>
                  <a:lnTo>
                    <a:pt x="108" y="90"/>
                  </a:lnTo>
                  <a:lnTo>
                    <a:pt x="108" y="93"/>
                  </a:lnTo>
                  <a:lnTo>
                    <a:pt x="108" y="96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17" y="105"/>
                  </a:lnTo>
                  <a:lnTo>
                    <a:pt x="120" y="108"/>
                  </a:lnTo>
                  <a:lnTo>
                    <a:pt x="120" y="111"/>
                  </a:lnTo>
                  <a:lnTo>
                    <a:pt x="123" y="114"/>
                  </a:lnTo>
                  <a:lnTo>
                    <a:pt x="126" y="117"/>
                  </a:lnTo>
                  <a:lnTo>
                    <a:pt x="129" y="114"/>
                  </a:lnTo>
                  <a:lnTo>
                    <a:pt x="132" y="114"/>
                  </a:lnTo>
                  <a:lnTo>
                    <a:pt x="135" y="111"/>
                  </a:lnTo>
                  <a:lnTo>
                    <a:pt x="135" y="117"/>
                  </a:lnTo>
                  <a:lnTo>
                    <a:pt x="138" y="117"/>
                  </a:lnTo>
                  <a:lnTo>
                    <a:pt x="141" y="120"/>
                  </a:lnTo>
                  <a:lnTo>
                    <a:pt x="138" y="123"/>
                  </a:lnTo>
                  <a:lnTo>
                    <a:pt x="135" y="123"/>
                  </a:lnTo>
                  <a:lnTo>
                    <a:pt x="132" y="123"/>
                  </a:lnTo>
                  <a:lnTo>
                    <a:pt x="132" y="126"/>
                  </a:lnTo>
                  <a:lnTo>
                    <a:pt x="135" y="126"/>
                  </a:lnTo>
                  <a:lnTo>
                    <a:pt x="132" y="126"/>
                  </a:lnTo>
                  <a:lnTo>
                    <a:pt x="132" y="129"/>
                  </a:lnTo>
                  <a:lnTo>
                    <a:pt x="132" y="132"/>
                  </a:lnTo>
                  <a:lnTo>
                    <a:pt x="129" y="132"/>
                  </a:lnTo>
                  <a:lnTo>
                    <a:pt x="126" y="132"/>
                  </a:lnTo>
                  <a:lnTo>
                    <a:pt x="123" y="132"/>
                  </a:lnTo>
                  <a:lnTo>
                    <a:pt x="120" y="132"/>
                  </a:lnTo>
                  <a:lnTo>
                    <a:pt x="120" y="135"/>
                  </a:lnTo>
                  <a:lnTo>
                    <a:pt x="117" y="135"/>
                  </a:lnTo>
                  <a:lnTo>
                    <a:pt x="117" y="132"/>
                  </a:lnTo>
                  <a:lnTo>
                    <a:pt x="114" y="132"/>
                  </a:lnTo>
                  <a:lnTo>
                    <a:pt x="117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11" y="141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05" y="144"/>
                  </a:lnTo>
                  <a:lnTo>
                    <a:pt x="102" y="144"/>
                  </a:lnTo>
                  <a:lnTo>
                    <a:pt x="99" y="150"/>
                  </a:lnTo>
                  <a:lnTo>
                    <a:pt x="102" y="150"/>
                  </a:lnTo>
                  <a:lnTo>
                    <a:pt x="102" y="153"/>
                  </a:lnTo>
                  <a:lnTo>
                    <a:pt x="102" y="156"/>
                  </a:lnTo>
                  <a:lnTo>
                    <a:pt x="99" y="156"/>
                  </a:lnTo>
                  <a:lnTo>
                    <a:pt x="96" y="156"/>
                  </a:lnTo>
                  <a:lnTo>
                    <a:pt x="93" y="159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71"/>
                  </a:lnTo>
                  <a:lnTo>
                    <a:pt x="87" y="168"/>
                  </a:lnTo>
                  <a:lnTo>
                    <a:pt x="84" y="168"/>
                  </a:lnTo>
                  <a:lnTo>
                    <a:pt x="84" y="165"/>
                  </a:lnTo>
                  <a:lnTo>
                    <a:pt x="84" y="162"/>
                  </a:lnTo>
                  <a:lnTo>
                    <a:pt x="81" y="162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78" y="168"/>
                  </a:lnTo>
                  <a:lnTo>
                    <a:pt x="78" y="165"/>
                  </a:lnTo>
                  <a:lnTo>
                    <a:pt x="78" y="162"/>
                  </a:lnTo>
                  <a:lnTo>
                    <a:pt x="75" y="162"/>
                  </a:lnTo>
                  <a:lnTo>
                    <a:pt x="72" y="162"/>
                  </a:lnTo>
                  <a:lnTo>
                    <a:pt x="72" y="159"/>
                  </a:lnTo>
                  <a:lnTo>
                    <a:pt x="69" y="159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6" y="153"/>
                  </a:lnTo>
                  <a:lnTo>
                    <a:pt x="66" y="150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3" y="147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60" y="153"/>
                  </a:lnTo>
                  <a:lnTo>
                    <a:pt x="57" y="153"/>
                  </a:lnTo>
                  <a:lnTo>
                    <a:pt x="54" y="153"/>
                  </a:lnTo>
                  <a:lnTo>
                    <a:pt x="51" y="153"/>
                  </a:lnTo>
                  <a:lnTo>
                    <a:pt x="48" y="153"/>
                  </a:lnTo>
                  <a:lnTo>
                    <a:pt x="48" y="156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45" y="156"/>
                  </a:lnTo>
                  <a:lnTo>
                    <a:pt x="42" y="156"/>
                  </a:lnTo>
                  <a:lnTo>
                    <a:pt x="39" y="156"/>
                  </a:lnTo>
                  <a:lnTo>
                    <a:pt x="36" y="156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47"/>
                  </a:lnTo>
                  <a:lnTo>
                    <a:pt x="33" y="150"/>
                  </a:lnTo>
                  <a:lnTo>
                    <a:pt x="33" y="147"/>
                  </a:lnTo>
                  <a:lnTo>
                    <a:pt x="30" y="144"/>
                  </a:lnTo>
                  <a:lnTo>
                    <a:pt x="33" y="141"/>
                  </a:lnTo>
                  <a:lnTo>
                    <a:pt x="33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3" y="135"/>
                  </a:lnTo>
                  <a:lnTo>
                    <a:pt x="36" y="135"/>
                  </a:lnTo>
                  <a:lnTo>
                    <a:pt x="33" y="132"/>
                  </a:lnTo>
                  <a:lnTo>
                    <a:pt x="36" y="129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6"/>
                  </a:lnTo>
                  <a:lnTo>
                    <a:pt x="30" y="126"/>
                  </a:lnTo>
                  <a:lnTo>
                    <a:pt x="3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9" y="129"/>
                  </a:lnTo>
                  <a:lnTo>
                    <a:pt x="6" y="129"/>
                  </a:lnTo>
                  <a:lnTo>
                    <a:pt x="3" y="132"/>
                  </a:lnTo>
                  <a:lnTo>
                    <a:pt x="3" y="126"/>
                  </a:lnTo>
                  <a:lnTo>
                    <a:pt x="0" y="120"/>
                  </a:lnTo>
                  <a:lnTo>
                    <a:pt x="3" y="117"/>
                  </a:lnTo>
                  <a:lnTo>
                    <a:pt x="3" y="114"/>
                  </a:lnTo>
                  <a:lnTo>
                    <a:pt x="6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9" y="105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5" y="99"/>
                  </a:lnTo>
                  <a:lnTo>
                    <a:pt x="15" y="96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21" y="87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5"/>
                  </a:lnTo>
                  <a:lnTo>
                    <a:pt x="24" y="75"/>
                  </a:lnTo>
                  <a:lnTo>
                    <a:pt x="21" y="72"/>
                  </a:lnTo>
                  <a:lnTo>
                    <a:pt x="24" y="72"/>
                  </a:lnTo>
                  <a:lnTo>
                    <a:pt x="27" y="72"/>
                  </a:lnTo>
                  <a:lnTo>
                    <a:pt x="30" y="69"/>
                  </a:lnTo>
                  <a:lnTo>
                    <a:pt x="33" y="69"/>
                  </a:lnTo>
                  <a:lnTo>
                    <a:pt x="33" y="66"/>
                  </a:lnTo>
                  <a:lnTo>
                    <a:pt x="36" y="66"/>
                  </a:lnTo>
                  <a:lnTo>
                    <a:pt x="39" y="66"/>
                  </a:lnTo>
                  <a:lnTo>
                    <a:pt x="39" y="69"/>
                  </a:lnTo>
                  <a:lnTo>
                    <a:pt x="42" y="72"/>
                  </a:lnTo>
                  <a:lnTo>
                    <a:pt x="45" y="69"/>
                  </a:lnTo>
                  <a:lnTo>
                    <a:pt x="45" y="72"/>
                  </a:lnTo>
                  <a:lnTo>
                    <a:pt x="45" y="75"/>
                  </a:lnTo>
                  <a:lnTo>
                    <a:pt x="48" y="75"/>
                  </a:lnTo>
                  <a:lnTo>
                    <a:pt x="51" y="72"/>
                  </a:lnTo>
                  <a:lnTo>
                    <a:pt x="54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60" y="69"/>
                  </a:lnTo>
                  <a:lnTo>
                    <a:pt x="60" y="72"/>
                  </a:lnTo>
                  <a:lnTo>
                    <a:pt x="60" y="69"/>
                  </a:lnTo>
                  <a:lnTo>
                    <a:pt x="63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3" y="63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57"/>
                  </a:lnTo>
                  <a:lnTo>
                    <a:pt x="63" y="54"/>
                  </a:lnTo>
                  <a:lnTo>
                    <a:pt x="63" y="51"/>
                  </a:lnTo>
                  <a:lnTo>
                    <a:pt x="66" y="51"/>
                  </a:lnTo>
                  <a:lnTo>
                    <a:pt x="66" y="48"/>
                  </a:lnTo>
                  <a:lnTo>
                    <a:pt x="69" y="48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2"/>
                  </a:lnTo>
                  <a:lnTo>
                    <a:pt x="75" y="42"/>
                  </a:lnTo>
                  <a:lnTo>
                    <a:pt x="75" y="39"/>
                  </a:lnTo>
                  <a:lnTo>
                    <a:pt x="75" y="36"/>
                  </a:lnTo>
                  <a:lnTo>
                    <a:pt x="75" y="33"/>
                  </a:lnTo>
                  <a:lnTo>
                    <a:pt x="72" y="30"/>
                  </a:lnTo>
                  <a:lnTo>
                    <a:pt x="72" y="27"/>
                  </a:lnTo>
                  <a:lnTo>
                    <a:pt x="75" y="27"/>
                  </a:lnTo>
                  <a:lnTo>
                    <a:pt x="78" y="24"/>
                  </a:lnTo>
                  <a:lnTo>
                    <a:pt x="78" y="27"/>
                  </a:lnTo>
                  <a:lnTo>
                    <a:pt x="81" y="24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8" y="30"/>
                  </a:lnTo>
                  <a:lnTo>
                    <a:pt x="78" y="33"/>
                  </a:lnTo>
                  <a:lnTo>
                    <a:pt x="81" y="30"/>
                  </a:lnTo>
                  <a:lnTo>
                    <a:pt x="84" y="30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3" y="27"/>
                  </a:lnTo>
                  <a:lnTo>
                    <a:pt x="93" y="21"/>
                  </a:lnTo>
                  <a:lnTo>
                    <a:pt x="93" y="18"/>
                  </a:lnTo>
                  <a:lnTo>
                    <a:pt x="96" y="18"/>
                  </a:lnTo>
                  <a:lnTo>
                    <a:pt x="99" y="18"/>
                  </a:lnTo>
                  <a:lnTo>
                    <a:pt x="99" y="21"/>
                  </a:lnTo>
                  <a:lnTo>
                    <a:pt x="105" y="21"/>
                  </a:lnTo>
                  <a:lnTo>
                    <a:pt x="105" y="18"/>
                  </a:lnTo>
                  <a:lnTo>
                    <a:pt x="111" y="18"/>
                  </a:lnTo>
                  <a:lnTo>
                    <a:pt x="111" y="15"/>
                  </a:lnTo>
                  <a:lnTo>
                    <a:pt x="114" y="15"/>
                  </a:lnTo>
                  <a:lnTo>
                    <a:pt x="117" y="15"/>
                  </a:lnTo>
                  <a:lnTo>
                    <a:pt x="120" y="18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6" y="9"/>
                  </a:lnTo>
                  <a:lnTo>
                    <a:pt x="123" y="12"/>
                  </a:lnTo>
                  <a:lnTo>
                    <a:pt x="120" y="9"/>
                  </a:lnTo>
                  <a:lnTo>
                    <a:pt x="120" y="6"/>
                  </a:lnTo>
                  <a:lnTo>
                    <a:pt x="123" y="3"/>
                  </a:lnTo>
                  <a:close/>
                </a:path>
              </a:pathLst>
            </a:custGeom>
            <a:solidFill>
              <a:srgbClr val="FFC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24" name="Freeform 34">
              <a:extLst>
                <a:ext uri="{FF2B5EF4-FFF2-40B4-BE49-F238E27FC236}">
                  <a16:creationId xmlns:a16="http://schemas.microsoft.com/office/drawing/2014/main" id="{7135D2FB-06FD-450F-89AD-4266B39821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16513" y="2849563"/>
              <a:ext cx="217487" cy="295275"/>
            </a:xfrm>
            <a:custGeom>
              <a:avLst/>
              <a:gdLst>
                <a:gd name="T0" fmla="*/ 193975 w 111"/>
                <a:gd name="T1" fmla="*/ 47244 h 150"/>
                <a:gd name="T2" fmla="*/ 211609 w 111"/>
                <a:gd name="T3" fmla="*/ 53150 h 150"/>
                <a:gd name="T4" fmla="*/ 211609 w 111"/>
                <a:gd name="T5" fmla="*/ 70866 h 150"/>
                <a:gd name="T6" fmla="*/ 211609 w 111"/>
                <a:gd name="T7" fmla="*/ 88583 h 150"/>
                <a:gd name="T8" fmla="*/ 211609 w 111"/>
                <a:gd name="T9" fmla="*/ 106299 h 150"/>
                <a:gd name="T10" fmla="*/ 211609 w 111"/>
                <a:gd name="T11" fmla="*/ 124016 h 150"/>
                <a:gd name="T12" fmla="*/ 217487 w 111"/>
                <a:gd name="T13" fmla="*/ 141732 h 150"/>
                <a:gd name="T14" fmla="*/ 217487 w 111"/>
                <a:gd name="T15" fmla="*/ 165354 h 150"/>
                <a:gd name="T16" fmla="*/ 217487 w 111"/>
                <a:gd name="T17" fmla="*/ 183071 h 150"/>
                <a:gd name="T18" fmla="*/ 217487 w 111"/>
                <a:gd name="T19" fmla="*/ 200787 h 150"/>
                <a:gd name="T20" fmla="*/ 211609 w 111"/>
                <a:gd name="T21" fmla="*/ 200787 h 150"/>
                <a:gd name="T22" fmla="*/ 199853 w 111"/>
                <a:gd name="T23" fmla="*/ 206693 h 150"/>
                <a:gd name="T24" fmla="*/ 193975 w 111"/>
                <a:gd name="T25" fmla="*/ 230315 h 150"/>
                <a:gd name="T26" fmla="*/ 193975 w 111"/>
                <a:gd name="T27" fmla="*/ 248031 h 150"/>
                <a:gd name="T28" fmla="*/ 193975 w 111"/>
                <a:gd name="T29" fmla="*/ 265748 h 150"/>
                <a:gd name="T30" fmla="*/ 193975 w 111"/>
                <a:gd name="T31" fmla="*/ 283464 h 150"/>
                <a:gd name="T32" fmla="*/ 182219 w 111"/>
                <a:gd name="T33" fmla="*/ 295275 h 150"/>
                <a:gd name="T34" fmla="*/ 158707 w 111"/>
                <a:gd name="T35" fmla="*/ 295275 h 150"/>
                <a:gd name="T36" fmla="*/ 141073 w 111"/>
                <a:gd name="T37" fmla="*/ 295275 h 150"/>
                <a:gd name="T38" fmla="*/ 123439 w 111"/>
                <a:gd name="T39" fmla="*/ 295275 h 150"/>
                <a:gd name="T40" fmla="*/ 105804 w 111"/>
                <a:gd name="T41" fmla="*/ 295275 h 150"/>
                <a:gd name="T42" fmla="*/ 82292 w 111"/>
                <a:gd name="T43" fmla="*/ 283464 h 150"/>
                <a:gd name="T44" fmla="*/ 64658 w 111"/>
                <a:gd name="T45" fmla="*/ 277559 h 150"/>
                <a:gd name="T46" fmla="*/ 52902 w 111"/>
                <a:gd name="T47" fmla="*/ 271653 h 150"/>
                <a:gd name="T48" fmla="*/ 47024 w 111"/>
                <a:gd name="T49" fmla="*/ 259842 h 150"/>
                <a:gd name="T50" fmla="*/ 35268 w 111"/>
                <a:gd name="T51" fmla="*/ 253937 h 150"/>
                <a:gd name="T52" fmla="*/ 29390 w 111"/>
                <a:gd name="T53" fmla="*/ 242126 h 150"/>
                <a:gd name="T54" fmla="*/ 29390 w 111"/>
                <a:gd name="T55" fmla="*/ 224409 h 150"/>
                <a:gd name="T56" fmla="*/ 23512 w 111"/>
                <a:gd name="T57" fmla="*/ 212598 h 150"/>
                <a:gd name="T58" fmla="*/ 11756 w 111"/>
                <a:gd name="T59" fmla="*/ 200787 h 150"/>
                <a:gd name="T60" fmla="*/ 5878 w 111"/>
                <a:gd name="T61" fmla="*/ 200787 h 150"/>
                <a:gd name="T62" fmla="*/ 0 w 111"/>
                <a:gd name="T63" fmla="*/ 200787 h 150"/>
                <a:gd name="T64" fmla="*/ 0 w 111"/>
                <a:gd name="T65" fmla="*/ 183071 h 150"/>
                <a:gd name="T66" fmla="*/ 0 w 111"/>
                <a:gd name="T67" fmla="*/ 159449 h 150"/>
                <a:gd name="T68" fmla="*/ 0 w 111"/>
                <a:gd name="T69" fmla="*/ 135827 h 150"/>
                <a:gd name="T70" fmla="*/ 11756 w 111"/>
                <a:gd name="T71" fmla="*/ 112205 h 150"/>
                <a:gd name="T72" fmla="*/ 29390 w 111"/>
                <a:gd name="T73" fmla="*/ 100394 h 150"/>
                <a:gd name="T74" fmla="*/ 35268 w 111"/>
                <a:gd name="T75" fmla="*/ 88583 h 150"/>
                <a:gd name="T76" fmla="*/ 41146 w 111"/>
                <a:gd name="T77" fmla="*/ 76772 h 150"/>
                <a:gd name="T78" fmla="*/ 47024 w 111"/>
                <a:gd name="T79" fmla="*/ 64961 h 150"/>
                <a:gd name="T80" fmla="*/ 52902 w 111"/>
                <a:gd name="T81" fmla="*/ 47244 h 150"/>
                <a:gd name="T82" fmla="*/ 76414 w 111"/>
                <a:gd name="T83" fmla="*/ 17717 h 150"/>
                <a:gd name="T84" fmla="*/ 105804 w 111"/>
                <a:gd name="T85" fmla="*/ 5906 h 150"/>
                <a:gd name="T86" fmla="*/ 141073 w 111"/>
                <a:gd name="T87" fmla="*/ 29528 h 150"/>
                <a:gd name="T88" fmla="*/ 158707 w 111"/>
                <a:gd name="T89" fmla="*/ 41339 h 150"/>
                <a:gd name="T90" fmla="*/ 188097 w 111"/>
                <a:gd name="T91" fmla="*/ 47244 h 1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11" h="150">
                  <a:moveTo>
                    <a:pt x="96" y="24"/>
                  </a:moveTo>
                  <a:lnTo>
                    <a:pt x="99" y="21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105" y="27"/>
                  </a:lnTo>
                  <a:lnTo>
                    <a:pt x="108" y="27"/>
                  </a:lnTo>
                  <a:lnTo>
                    <a:pt x="108" y="30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5"/>
                  </a:lnTo>
                  <a:lnTo>
                    <a:pt x="108" y="48"/>
                  </a:lnTo>
                  <a:lnTo>
                    <a:pt x="108" y="51"/>
                  </a:lnTo>
                  <a:lnTo>
                    <a:pt x="108" y="54"/>
                  </a:lnTo>
                  <a:lnTo>
                    <a:pt x="108" y="57"/>
                  </a:lnTo>
                  <a:lnTo>
                    <a:pt x="108" y="60"/>
                  </a:lnTo>
                  <a:lnTo>
                    <a:pt x="108" y="63"/>
                  </a:lnTo>
                  <a:lnTo>
                    <a:pt x="108" y="66"/>
                  </a:lnTo>
                  <a:lnTo>
                    <a:pt x="108" y="69"/>
                  </a:lnTo>
                  <a:lnTo>
                    <a:pt x="111" y="72"/>
                  </a:lnTo>
                  <a:lnTo>
                    <a:pt x="111" y="75"/>
                  </a:lnTo>
                  <a:lnTo>
                    <a:pt x="111" y="81"/>
                  </a:lnTo>
                  <a:lnTo>
                    <a:pt x="111" y="84"/>
                  </a:lnTo>
                  <a:lnTo>
                    <a:pt x="111" y="87"/>
                  </a:lnTo>
                  <a:lnTo>
                    <a:pt x="111" y="90"/>
                  </a:lnTo>
                  <a:lnTo>
                    <a:pt x="111" y="93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08" y="105"/>
                  </a:lnTo>
                  <a:lnTo>
                    <a:pt x="108" y="102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2" y="108"/>
                  </a:lnTo>
                  <a:lnTo>
                    <a:pt x="99" y="114"/>
                  </a:lnTo>
                  <a:lnTo>
                    <a:pt x="99" y="117"/>
                  </a:lnTo>
                  <a:lnTo>
                    <a:pt x="99" y="120"/>
                  </a:lnTo>
                  <a:lnTo>
                    <a:pt x="99" y="123"/>
                  </a:lnTo>
                  <a:lnTo>
                    <a:pt x="99" y="126"/>
                  </a:lnTo>
                  <a:lnTo>
                    <a:pt x="99" y="129"/>
                  </a:lnTo>
                  <a:lnTo>
                    <a:pt x="99" y="132"/>
                  </a:lnTo>
                  <a:lnTo>
                    <a:pt x="99" y="135"/>
                  </a:lnTo>
                  <a:lnTo>
                    <a:pt x="99" y="138"/>
                  </a:lnTo>
                  <a:lnTo>
                    <a:pt x="99" y="141"/>
                  </a:lnTo>
                  <a:lnTo>
                    <a:pt x="99" y="144"/>
                  </a:lnTo>
                  <a:lnTo>
                    <a:pt x="99" y="147"/>
                  </a:lnTo>
                  <a:lnTo>
                    <a:pt x="99" y="150"/>
                  </a:lnTo>
                  <a:lnTo>
                    <a:pt x="93" y="150"/>
                  </a:lnTo>
                  <a:lnTo>
                    <a:pt x="87" y="150"/>
                  </a:lnTo>
                  <a:lnTo>
                    <a:pt x="84" y="150"/>
                  </a:lnTo>
                  <a:lnTo>
                    <a:pt x="81" y="150"/>
                  </a:lnTo>
                  <a:lnTo>
                    <a:pt x="78" y="150"/>
                  </a:lnTo>
                  <a:lnTo>
                    <a:pt x="75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6" y="150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57" y="150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5" y="147"/>
                  </a:lnTo>
                  <a:lnTo>
                    <a:pt x="42" y="144"/>
                  </a:lnTo>
                  <a:lnTo>
                    <a:pt x="39" y="144"/>
                  </a:lnTo>
                  <a:lnTo>
                    <a:pt x="36" y="141"/>
                  </a:lnTo>
                  <a:lnTo>
                    <a:pt x="33" y="141"/>
                  </a:lnTo>
                  <a:lnTo>
                    <a:pt x="30" y="141"/>
                  </a:lnTo>
                  <a:lnTo>
                    <a:pt x="30" y="138"/>
                  </a:lnTo>
                  <a:lnTo>
                    <a:pt x="27" y="138"/>
                  </a:lnTo>
                  <a:lnTo>
                    <a:pt x="27" y="135"/>
                  </a:lnTo>
                  <a:lnTo>
                    <a:pt x="24" y="135"/>
                  </a:lnTo>
                  <a:lnTo>
                    <a:pt x="24" y="132"/>
                  </a:lnTo>
                  <a:lnTo>
                    <a:pt x="21" y="132"/>
                  </a:lnTo>
                  <a:lnTo>
                    <a:pt x="21" y="129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6"/>
                  </a:lnTo>
                  <a:lnTo>
                    <a:pt x="15" y="123"/>
                  </a:lnTo>
                  <a:lnTo>
                    <a:pt x="12" y="120"/>
                  </a:lnTo>
                  <a:lnTo>
                    <a:pt x="15" y="117"/>
                  </a:lnTo>
                  <a:lnTo>
                    <a:pt x="15" y="114"/>
                  </a:lnTo>
                  <a:lnTo>
                    <a:pt x="15" y="111"/>
                  </a:lnTo>
                  <a:lnTo>
                    <a:pt x="12" y="111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6" y="102"/>
                  </a:lnTo>
                  <a:lnTo>
                    <a:pt x="3" y="102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3" y="66"/>
                  </a:lnTo>
                  <a:lnTo>
                    <a:pt x="3" y="63"/>
                  </a:lnTo>
                  <a:lnTo>
                    <a:pt x="6" y="57"/>
                  </a:lnTo>
                  <a:lnTo>
                    <a:pt x="9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18" y="45"/>
                  </a:lnTo>
                  <a:lnTo>
                    <a:pt x="18" y="42"/>
                  </a:lnTo>
                  <a:lnTo>
                    <a:pt x="18" y="39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1" y="33"/>
                  </a:lnTo>
                  <a:lnTo>
                    <a:pt x="24" y="33"/>
                  </a:lnTo>
                  <a:lnTo>
                    <a:pt x="24" y="30"/>
                  </a:lnTo>
                  <a:lnTo>
                    <a:pt x="24" y="27"/>
                  </a:lnTo>
                  <a:lnTo>
                    <a:pt x="27" y="24"/>
                  </a:lnTo>
                  <a:lnTo>
                    <a:pt x="27" y="18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42" y="3"/>
                  </a:lnTo>
                  <a:lnTo>
                    <a:pt x="51" y="0"/>
                  </a:lnTo>
                  <a:lnTo>
                    <a:pt x="54" y="3"/>
                  </a:lnTo>
                  <a:lnTo>
                    <a:pt x="57" y="6"/>
                  </a:lnTo>
                  <a:lnTo>
                    <a:pt x="63" y="9"/>
                  </a:lnTo>
                  <a:lnTo>
                    <a:pt x="72" y="15"/>
                  </a:lnTo>
                  <a:lnTo>
                    <a:pt x="75" y="15"/>
                  </a:lnTo>
                  <a:lnTo>
                    <a:pt x="78" y="21"/>
                  </a:lnTo>
                  <a:lnTo>
                    <a:pt x="81" y="21"/>
                  </a:lnTo>
                  <a:lnTo>
                    <a:pt x="87" y="24"/>
                  </a:lnTo>
                  <a:lnTo>
                    <a:pt x="90" y="27"/>
                  </a:lnTo>
                  <a:lnTo>
                    <a:pt x="96" y="24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25" name="Freeform 35">
              <a:extLst>
                <a:ext uri="{FF2B5EF4-FFF2-40B4-BE49-F238E27FC236}">
                  <a16:creationId xmlns:a16="http://schemas.microsoft.com/office/drawing/2014/main" id="{0B6CD6DD-C88F-4F2E-BE6B-26E2FCE94E8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48125" y="3025775"/>
              <a:ext cx="895350" cy="755650"/>
            </a:xfrm>
            <a:custGeom>
              <a:avLst/>
              <a:gdLst>
                <a:gd name="T0" fmla="*/ 583156 w 456"/>
                <a:gd name="T1" fmla="*/ 11807 h 384"/>
                <a:gd name="T2" fmla="*/ 612608 w 456"/>
                <a:gd name="T3" fmla="*/ 29518 h 384"/>
                <a:gd name="T4" fmla="*/ 642060 w 456"/>
                <a:gd name="T5" fmla="*/ 41325 h 384"/>
                <a:gd name="T6" fmla="*/ 671513 w 456"/>
                <a:gd name="T7" fmla="*/ 59035 h 384"/>
                <a:gd name="T8" fmla="*/ 695074 w 456"/>
                <a:gd name="T9" fmla="*/ 70842 h 384"/>
                <a:gd name="T10" fmla="*/ 718636 w 456"/>
                <a:gd name="T11" fmla="*/ 53132 h 384"/>
                <a:gd name="T12" fmla="*/ 748088 w 456"/>
                <a:gd name="T13" fmla="*/ 64939 h 384"/>
                <a:gd name="T14" fmla="*/ 777541 w 456"/>
                <a:gd name="T15" fmla="*/ 76746 h 384"/>
                <a:gd name="T16" fmla="*/ 812884 w 456"/>
                <a:gd name="T17" fmla="*/ 94456 h 384"/>
                <a:gd name="T18" fmla="*/ 854117 w 456"/>
                <a:gd name="T19" fmla="*/ 129877 h 384"/>
                <a:gd name="T20" fmla="*/ 883569 w 456"/>
                <a:gd name="T21" fmla="*/ 141684 h 384"/>
                <a:gd name="T22" fmla="*/ 889460 w 456"/>
                <a:gd name="T23" fmla="*/ 177105 h 384"/>
                <a:gd name="T24" fmla="*/ 883569 w 456"/>
                <a:gd name="T25" fmla="*/ 218430 h 384"/>
                <a:gd name="T26" fmla="*/ 871788 w 456"/>
                <a:gd name="T27" fmla="*/ 283369 h 384"/>
                <a:gd name="T28" fmla="*/ 830555 w 456"/>
                <a:gd name="T29" fmla="*/ 312886 h 384"/>
                <a:gd name="T30" fmla="*/ 801103 w 456"/>
                <a:gd name="T31" fmla="*/ 348307 h 384"/>
                <a:gd name="T32" fmla="*/ 759869 w 456"/>
                <a:gd name="T33" fmla="*/ 360114 h 384"/>
                <a:gd name="T34" fmla="*/ 724527 w 456"/>
                <a:gd name="T35" fmla="*/ 377825 h 384"/>
                <a:gd name="T36" fmla="*/ 671513 w 456"/>
                <a:gd name="T37" fmla="*/ 366018 h 384"/>
                <a:gd name="T38" fmla="*/ 624389 w 456"/>
                <a:gd name="T39" fmla="*/ 389632 h 384"/>
                <a:gd name="T40" fmla="*/ 600827 w 456"/>
                <a:gd name="T41" fmla="*/ 407343 h 384"/>
                <a:gd name="T42" fmla="*/ 577265 w 456"/>
                <a:gd name="T43" fmla="*/ 413246 h 384"/>
                <a:gd name="T44" fmla="*/ 553703 w 456"/>
                <a:gd name="T45" fmla="*/ 430957 h 384"/>
                <a:gd name="T46" fmla="*/ 541922 w 456"/>
                <a:gd name="T47" fmla="*/ 460474 h 384"/>
                <a:gd name="T48" fmla="*/ 518361 w 456"/>
                <a:gd name="T49" fmla="*/ 489992 h 384"/>
                <a:gd name="T50" fmla="*/ 488908 w 456"/>
                <a:gd name="T51" fmla="*/ 525413 h 384"/>
                <a:gd name="T52" fmla="*/ 459456 w 456"/>
                <a:gd name="T53" fmla="*/ 549027 h 384"/>
                <a:gd name="T54" fmla="*/ 453565 w 456"/>
                <a:gd name="T55" fmla="*/ 572641 h 384"/>
                <a:gd name="T56" fmla="*/ 488908 w 456"/>
                <a:gd name="T57" fmla="*/ 631676 h 384"/>
                <a:gd name="T58" fmla="*/ 500689 w 456"/>
                <a:gd name="T59" fmla="*/ 673001 h 384"/>
                <a:gd name="T60" fmla="*/ 500689 w 456"/>
                <a:gd name="T61" fmla="*/ 690711 h 384"/>
                <a:gd name="T62" fmla="*/ 500689 w 456"/>
                <a:gd name="T63" fmla="*/ 708422 h 384"/>
                <a:gd name="T64" fmla="*/ 471237 w 456"/>
                <a:gd name="T65" fmla="*/ 720229 h 384"/>
                <a:gd name="T66" fmla="*/ 447675 w 456"/>
                <a:gd name="T67" fmla="*/ 737939 h 384"/>
                <a:gd name="T68" fmla="*/ 394661 w 456"/>
                <a:gd name="T69" fmla="*/ 749746 h 384"/>
                <a:gd name="T70" fmla="*/ 353428 w 456"/>
                <a:gd name="T71" fmla="*/ 732036 h 384"/>
                <a:gd name="T72" fmla="*/ 318085 w 456"/>
                <a:gd name="T73" fmla="*/ 726132 h 384"/>
                <a:gd name="T74" fmla="*/ 282742 w 456"/>
                <a:gd name="T75" fmla="*/ 720229 h 384"/>
                <a:gd name="T76" fmla="*/ 253290 w 456"/>
                <a:gd name="T77" fmla="*/ 743843 h 384"/>
                <a:gd name="T78" fmla="*/ 212057 w 456"/>
                <a:gd name="T79" fmla="*/ 743843 h 384"/>
                <a:gd name="T80" fmla="*/ 159042 w 456"/>
                <a:gd name="T81" fmla="*/ 726132 h 384"/>
                <a:gd name="T82" fmla="*/ 117809 w 456"/>
                <a:gd name="T83" fmla="*/ 690711 h 384"/>
                <a:gd name="T84" fmla="*/ 88357 w 456"/>
                <a:gd name="T85" fmla="*/ 655290 h 384"/>
                <a:gd name="T86" fmla="*/ 53014 w 456"/>
                <a:gd name="T87" fmla="*/ 608062 h 384"/>
                <a:gd name="T88" fmla="*/ 17671 w 456"/>
                <a:gd name="T89" fmla="*/ 590352 h 384"/>
                <a:gd name="T90" fmla="*/ 29452 w 456"/>
                <a:gd name="T91" fmla="*/ 501799 h 384"/>
                <a:gd name="T92" fmla="*/ 70686 w 456"/>
                <a:gd name="T93" fmla="*/ 413246 h 384"/>
                <a:gd name="T94" fmla="*/ 82466 w 456"/>
                <a:gd name="T95" fmla="*/ 342404 h 384"/>
                <a:gd name="T96" fmla="*/ 106028 w 456"/>
                <a:gd name="T97" fmla="*/ 295176 h 384"/>
                <a:gd name="T98" fmla="*/ 135481 w 456"/>
                <a:gd name="T99" fmla="*/ 230237 h 384"/>
                <a:gd name="T100" fmla="*/ 170823 w 456"/>
                <a:gd name="T101" fmla="*/ 200720 h 384"/>
                <a:gd name="T102" fmla="*/ 223838 w 456"/>
                <a:gd name="T103" fmla="*/ 177105 h 384"/>
                <a:gd name="T104" fmla="*/ 276852 w 456"/>
                <a:gd name="T105" fmla="*/ 177105 h 384"/>
                <a:gd name="T106" fmla="*/ 294523 w 456"/>
                <a:gd name="T107" fmla="*/ 165298 h 384"/>
                <a:gd name="T108" fmla="*/ 329866 w 456"/>
                <a:gd name="T109" fmla="*/ 135781 h 384"/>
                <a:gd name="T110" fmla="*/ 347537 w 456"/>
                <a:gd name="T111" fmla="*/ 118070 h 384"/>
                <a:gd name="T112" fmla="*/ 353428 w 456"/>
                <a:gd name="T113" fmla="*/ 82649 h 384"/>
                <a:gd name="T114" fmla="*/ 394661 w 456"/>
                <a:gd name="T115" fmla="*/ 53132 h 384"/>
                <a:gd name="T116" fmla="*/ 430004 w 456"/>
                <a:gd name="T117" fmla="*/ 47228 h 384"/>
                <a:gd name="T118" fmla="*/ 471237 w 456"/>
                <a:gd name="T119" fmla="*/ 47228 h 384"/>
                <a:gd name="T120" fmla="*/ 500689 w 456"/>
                <a:gd name="T121" fmla="*/ 41325 h 384"/>
                <a:gd name="T122" fmla="*/ 536032 w 456"/>
                <a:gd name="T123" fmla="*/ 11807 h 38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6" h="384">
                  <a:moveTo>
                    <a:pt x="273" y="6"/>
                  </a:moveTo>
                  <a:lnTo>
                    <a:pt x="276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82" y="9"/>
                  </a:lnTo>
                  <a:lnTo>
                    <a:pt x="285" y="9"/>
                  </a:lnTo>
                  <a:lnTo>
                    <a:pt x="288" y="9"/>
                  </a:lnTo>
                  <a:lnTo>
                    <a:pt x="288" y="12"/>
                  </a:lnTo>
                  <a:lnTo>
                    <a:pt x="288" y="9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3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09" y="9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27" y="24"/>
                  </a:lnTo>
                  <a:lnTo>
                    <a:pt x="327" y="21"/>
                  </a:lnTo>
                  <a:lnTo>
                    <a:pt x="327" y="18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4"/>
                  </a:lnTo>
                  <a:lnTo>
                    <a:pt x="336" y="24"/>
                  </a:lnTo>
                  <a:lnTo>
                    <a:pt x="336" y="27"/>
                  </a:lnTo>
                  <a:lnTo>
                    <a:pt x="336" y="24"/>
                  </a:lnTo>
                  <a:lnTo>
                    <a:pt x="339" y="24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5" y="27"/>
                  </a:lnTo>
                  <a:lnTo>
                    <a:pt x="348" y="30"/>
                  </a:lnTo>
                  <a:lnTo>
                    <a:pt x="348" y="27"/>
                  </a:lnTo>
                  <a:lnTo>
                    <a:pt x="351" y="27"/>
                  </a:lnTo>
                  <a:lnTo>
                    <a:pt x="351" y="30"/>
                  </a:lnTo>
                  <a:lnTo>
                    <a:pt x="351" y="33"/>
                  </a:lnTo>
                  <a:lnTo>
                    <a:pt x="354" y="33"/>
                  </a:lnTo>
                  <a:lnTo>
                    <a:pt x="354" y="36"/>
                  </a:lnTo>
                  <a:lnTo>
                    <a:pt x="351" y="36"/>
                  </a:lnTo>
                  <a:lnTo>
                    <a:pt x="354" y="36"/>
                  </a:lnTo>
                  <a:lnTo>
                    <a:pt x="354" y="33"/>
                  </a:lnTo>
                  <a:lnTo>
                    <a:pt x="357" y="33"/>
                  </a:lnTo>
                  <a:lnTo>
                    <a:pt x="360" y="33"/>
                  </a:lnTo>
                  <a:lnTo>
                    <a:pt x="360" y="30"/>
                  </a:lnTo>
                  <a:lnTo>
                    <a:pt x="360" y="33"/>
                  </a:lnTo>
                  <a:lnTo>
                    <a:pt x="363" y="33"/>
                  </a:lnTo>
                  <a:lnTo>
                    <a:pt x="363" y="30"/>
                  </a:lnTo>
                  <a:lnTo>
                    <a:pt x="360" y="30"/>
                  </a:lnTo>
                  <a:lnTo>
                    <a:pt x="360" y="27"/>
                  </a:lnTo>
                  <a:lnTo>
                    <a:pt x="363" y="27"/>
                  </a:lnTo>
                  <a:lnTo>
                    <a:pt x="366" y="27"/>
                  </a:lnTo>
                  <a:lnTo>
                    <a:pt x="369" y="27"/>
                  </a:lnTo>
                  <a:lnTo>
                    <a:pt x="369" y="30"/>
                  </a:lnTo>
                  <a:lnTo>
                    <a:pt x="372" y="30"/>
                  </a:lnTo>
                  <a:lnTo>
                    <a:pt x="372" y="33"/>
                  </a:lnTo>
                  <a:lnTo>
                    <a:pt x="375" y="33"/>
                  </a:lnTo>
                  <a:lnTo>
                    <a:pt x="375" y="30"/>
                  </a:lnTo>
                  <a:lnTo>
                    <a:pt x="375" y="33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1" y="36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1" y="33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7" y="30"/>
                  </a:lnTo>
                  <a:lnTo>
                    <a:pt x="390" y="30"/>
                  </a:lnTo>
                  <a:lnTo>
                    <a:pt x="393" y="30"/>
                  </a:lnTo>
                  <a:lnTo>
                    <a:pt x="393" y="33"/>
                  </a:lnTo>
                  <a:lnTo>
                    <a:pt x="396" y="33"/>
                  </a:lnTo>
                  <a:lnTo>
                    <a:pt x="396" y="30"/>
                  </a:lnTo>
                  <a:lnTo>
                    <a:pt x="396" y="33"/>
                  </a:lnTo>
                  <a:lnTo>
                    <a:pt x="396" y="36"/>
                  </a:lnTo>
                  <a:lnTo>
                    <a:pt x="399" y="36"/>
                  </a:lnTo>
                  <a:lnTo>
                    <a:pt x="396" y="36"/>
                  </a:lnTo>
                  <a:lnTo>
                    <a:pt x="396" y="39"/>
                  </a:lnTo>
                  <a:lnTo>
                    <a:pt x="399" y="39"/>
                  </a:lnTo>
                  <a:lnTo>
                    <a:pt x="399" y="42"/>
                  </a:lnTo>
                  <a:lnTo>
                    <a:pt x="399" y="45"/>
                  </a:lnTo>
                  <a:lnTo>
                    <a:pt x="402" y="45"/>
                  </a:lnTo>
                  <a:lnTo>
                    <a:pt x="402" y="48"/>
                  </a:lnTo>
                  <a:lnTo>
                    <a:pt x="402" y="45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08" y="45"/>
                  </a:lnTo>
                  <a:lnTo>
                    <a:pt x="411" y="45"/>
                  </a:lnTo>
                  <a:lnTo>
                    <a:pt x="411" y="48"/>
                  </a:lnTo>
                  <a:lnTo>
                    <a:pt x="414" y="48"/>
                  </a:lnTo>
                  <a:lnTo>
                    <a:pt x="417" y="48"/>
                  </a:lnTo>
                  <a:lnTo>
                    <a:pt x="417" y="51"/>
                  </a:lnTo>
                  <a:lnTo>
                    <a:pt x="420" y="51"/>
                  </a:lnTo>
                  <a:lnTo>
                    <a:pt x="420" y="54"/>
                  </a:lnTo>
                  <a:lnTo>
                    <a:pt x="423" y="54"/>
                  </a:lnTo>
                  <a:lnTo>
                    <a:pt x="426" y="54"/>
                  </a:lnTo>
                  <a:lnTo>
                    <a:pt x="429" y="54"/>
                  </a:lnTo>
                  <a:lnTo>
                    <a:pt x="429" y="57"/>
                  </a:lnTo>
                  <a:lnTo>
                    <a:pt x="432" y="57"/>
                  </a:lnTo>
                  <a:lnTo>
                    <a:pt x="432" y="60"/>
                  </a:lnTo>
                  <a:lnTo>
                    <a:pt x="432" y="63"/>
                  </a:lnTo>
                  <a:lnTo>
                    <a:pt x="435" y="63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35" y="66"/>
                  </a:lnTo>
                  <a:lnTo>
                    <a:pt x="438" y="66"/>
                  </a:lnTo>
                  <a:lnTo>
                    <a:pt x="438" y="69"/>
                  </a:lnTo>
                  <a:lnTo>
                    <a:pt x="438" y="72"/>
                  </a:lnTo>
                  <a:lnTo>
                    <a:pt x="441" y="72"/>
                  </a:lnTo>
                  <a:lnTo>
                    <a:pt x="441" y="75"/>
                  </a:lnTo>
                  <a:lnTo>
                    <a:pt x="441" y="78"/>
                  </a:lnTo>
                  <a:lnTo>
                    <a:pt x="444" y="78"/>
                  </a:lnTo>
                  <a:lnTo>
                    <a:pt x="447" y="78"/>
                  </a:lnTo>
                  <a:lnTo>
                    <a:pt x="450" y="78"/>
                  </a:lnTo>
                  <a:lnTo>
                    <a:pt x="450" y="75"/>
                  </a:lnTo>
                  <a:lnTo>
                    <a:pt x="450" y="72"/>
                  </a:lnTo>
                  <a:lnTo>
                    <a:pt x="453" y="72"/>
                  </a:lnTo>
                  <a:lnTo>
                    <a:pt x="456" y="72"/>
                  </a:lnTo>
                  <a:lnTo>
                    <a:pt x="453" y="72"/>
                  </a:lnTo>
                  <a:lnTo>
                    <a:pt x="453" y="75"/>
                  </a:lnTo>
                  <a:lnTo>
                    <a:pt x="450" y="75"/>
                  </a:lnTo>
                  <a:lnTo>
                    <a:pt x="453" y="75"/>
                  </a:lnTo>
                  <a:lnTo>
                    <a:pt x="450" y="78"/>
                  </a:lnTo>
                  <a:lnTo>
                    <a:pt x="453" y="81"/>
                  </a:lnTo>
                  <a:lnTo>
                    <a:pt x="456" y="81"/>
                  </a:lnTo>
                  <a:lnTo>
                    <a:pt x="456" y="84"/>
                  </a:lnTo>
                  <a:lnTo>
                    <a:pt x="456" y="87"/>
                  </a:lnTo>
                  <a:lnTo>
                    <a:pt x="453" y="87"/>
                  </a:lnTo>
                  <a:lnTo>
                    <a:pt x="453" y="90"/>
                  </a:lnTo>
                  <a:lnTo>
                    <a:pt x="450" y="90"/>
                  </a:lnTo>
                  <a:lnTo>
                    <a:pt x="447" y="90"/>
                  </a:lnTo>
                  <a:lnTo>
                    <a:pt x="447" y="93"/>
                  </a:lnTo>
                  <a:lnTo>
                    <a:pt x="450" y="96"/>
                  </a:lnTo>
                  <a:lnTo>
                    <a:pt x="450" y="99"/>
                  </a:lnTo>
                  <a:lnTo>
                    <a:pt x="450" y="102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3" y="108"/>
                  </a:lnTo>
                  <a:lnTo>
                    <a:pt x="450" y="108"/>
                  </a:lnTo>
                  <a:lnTo>
                    <a:pt x="450" y="111"/>
                  </a:lnTo>
                  <a:lnTo>
                    <a:pt x="450" y="114"/>
                  </a:lnTo>
                  <a:lnTo>
                    <a:pt x="450" y="117"/>
                  </a:lnTo>
                  <a:lnTo>
                    <a:pt x="447" y="117"/>
                  </a:lnTo>
                  <a:lnTo>
                    <a:pt x="447" y="120"/>
                  </a:lnTo>
                  <a:lnTo>
                    <a:pt x="447" y="123"/>
                  </a:lnTo>
                  <a:lnTo>
                    <a:pt x="444" y="123"/>
                  </a:lnTo>
                  <a:lnTo>
                    <a:pt x="444" y="126"/>
                  </a:lnTo>
                  <a:lnTo>
                    <a:pt x="444" y="129"/>
                  </a:lnTo>
                  <a:lnTo>
                    <a:pt x="447" y="132"/>
                  </a:lnTo>
                  <a:lnTo>
                    <a:pt x="447" y="135"/>
                  </a:lnTo>
                  <a:lnTo>
                    <a:pt x="447" y="138"/>
                  </a:lnTo>
                  <a:lnTo>
                    <a:pt x="447" y="141"/>
                  </a:lnTo>
                  <a:lnTo>
                    <a:pt x="444" y="144"/>
                  </a:lnTo>
                  <a:lnTo>
                    <a:pt x="444" y="147"/>
                  </a:lnTo>
                  <a:lnTo>
                    <a:pt x="441" y="147"/>
                  </a:lnTo>
                  <a:lnTo>
                    <a:pt x="441" y="150"/>
                  </a:lnTo>
                  <a:lnTo>
                    <a:pt x="438" y="150"/>
                  </a:lnTo>
                  <a:lnTo>
                    <a:pt x="435" y="150"/>
                  </a:lnTo>
                  <a:lnTo>
                    <a:pt x="432" y="150"/>
                  </a:lnTo>
                  <a:lnTo>
                    <a:pt x="432" y="153"/>
                  </a:lnTo>
                  <a:lnTo>
                    <a:pt x="429" y="153"/>
                  </a:lnTo>
                  <a:lnTo>
                    <a:pt x="429" y="156"/>
                  </a:lnTo>
                  <a:lnTo>
                    <a:pt x="426" y="156"/>
                  </a:lnTo>
                  <a:lnTo>
                    <a:pt x="426" y="159"/>
                  </a:lnTo>
                  <a:lnTo>
                    <a:pt x="426" y="162"/>
                  </a:lnTo>
                  <a:lnTo>
                    <a:pt x="423" y="159"/>
                  </a:lnTo>
                  <a:lnTo>
                    <a:pt x="423" y="162"/>
                  </a:lnTo>
                  <a:lnTo>
                    <a:pt x="420" y="162"/>
                  </a:lnTo>
                  <a:lnTo>
                    <a:pt x="417" y="165"/>
                  </a:lnTo>
                  <a:lnTo>
                    <a:pt x="420" y="165"/>
                  </a:lnTo>
                  <a:lnTo>
                    <a:pt x="417" y="165"/>
                  </a:lnTo>
                  <a:lnTo>
                    <a:pt x="417" y="168"/>
                  </a:lnTo>
                  <a:lnTo>
                    <a:pt x="414" y="165"/>
                  </a:lnTo>
                  <a:lnTo>
                    <a:pt x="411" y="165"/>
                  </a:lnTo>
                  <a:lnTo>
                    <a:pt x="411" y="168"/>
                  </a:lnTo>
                  <a:lnTo>
                    <a:pt x="408" y="171"/>
                  </a:lnTo>
                  <a:lnTo>
                    <a:pt x="408" y="174"/>
                  </a:lnTo>
                  <a:lnTo>
                    <a:pt x="411" y="174"/>
                  </a:lnTo>
                  <a:lnTo>
                    <a:pt x="408" y="177"/>
                  </a:lnTo>
                  <a:lnTo>
                    <a:pt x="405" y="177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2" y="180"/>
                  </a:lnTo>
                  <a:lnTo>
                    <a:pt x="402" y="177"/>
                  </a:lnTo>
                  <a:lnTo>
                    <a:pt x="399" y="177"/>
                  </a:lnTo>
                  <a:lnTo>
                    <a:pt x="396" y="177"/>
                  </a:lnTo>
                  <a:lnTo>
                    <a:pt x="393" y="177"/>
                  </a:lnTo>
                  <a:lnTo>
                    <a:pt x="393" y="180"/>
                  </a:lnTo>
                  <a:lnTo>
                    <a:pt x="390" y="180"/>
                  </a:lnTo>
                  <a:lnTo>
                    <a:pt x="387" y="183"/>
                  </a:lnTo>
                  <a:lnTo>
                    <a:pt x="390" y="183"/>
                  </a:lnTo>
                  <a:lnTo>
                    <a:pt x="387" y="183"/>
                  </a:lnTo>
                  <a:lnTo>
                    <a:pt x="387" y="186"/>
                  </a:lnTo>
                  <a:lnTo>
                    <a:pt x="384" y="189"/>
                  </a:lnTo>
                  <a:lnTo>
                    <a:pt x="384" y="192"/>
                  </a:lnTo>
                  <a:lnTo>
                    <a:pt x="381" y="195"/>
                  </a:lnTo>
                  <a:lnTo>
                    <a:pt x="381" y="198"/>
                  </a:lnTo>
                  <a:lnTo>
                    <a:pt x="378" y="198"/>
                  </a:lnTo>
                  <a:lnTo>
                    <a:pt x="375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2" y="192"/>
                  </a:lnTo>
                  <a:lnTo>
                    <a:pt x="372" y="189"/>
                  </a:lnTo>
                  <a:lnTo>
                    <a:pt x="369" y="189"/>
                  </a:lnTo>
                  <a:lnTo>
                    <a:pt x="369" y="192"/>
                  </a:lnTo>
                  <a:lnTo>
                    <a:pt x="369" y="189"/>
                  </a:lnTo>
                  <a:lnTo>
                    <a:pt x="366" y="189"/>
                  </a:lnTo>
                  <a:lnTo>
                    <a:pt x="366" y="186"/>
                  </a:lnTo>
                  <a:lnTo>
                    <a:pt x="366" y="183"/>
                  </a:lnTo>
                  <a:lnTo>
                    <a:pt x="366" y="180"/>
                  </a:lnTo>
                  <a:lnTo>
                    <a:pt x="363" y="180"/>
                  </a:lnTo>
                  <a:lnTo>
                    <a:pt x="360" y="180"/>
                  </a:lnTo>
                  <a:lnTo>
                    <a:pt x="360" y="183"/>
                  </a:lnTo>
                  <a:lnTo>
                    <a:pt x="357" y="183"/>
                  </a:lnTo>
                  <a:lnTo>
                    <a:pt x="354" y="183"/>
                  </a:lnTo>
                  <a:lnTo>
                    <a:pt x="351" y="183"/>
                  </a:lnTo>
                  <a:lnTo>
                    <a:pt x="348" y="183"/>
                  </a:lnTo>
                  <a:lnTo>
                    <a:pt x="342" y="186"/>
                  </a:lnTo>
                  <a:lnTo>
                    <a:pt x="342" y="183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9" y="189"/>
                  </a:lnTo>
                  <a:lnTo>
                    <a:pt x="336" y="192"/>
                  </a:lnTo>
                  <a:lnTo>
                    <a:pt x="333" y="192"/>
                  </a:lnTo>
                  <a:lnTo>
                    <a:pt x="330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5"/>
                  </a:lnTo>
                  <a:lnTo>
                    <a:pt x="318" y="195"/>
                  </a:lnTo>
                  <a:lnTo>
                    <a:pt x="318" y="198"/>
                  </a:lnTo>
                  <a:lnTo>
                    <a:pt x="315" y="198"/>
                  </a:lnTo>
                  <a:lnTo>
                    <a:pt x="315" y="201"/>
                  </a:lnTo>
                  <a:lnTo>
                    <a:pt x="315" y="204"/>
                  </a:lnTo>
                  <a:lnTo>
                    <a:pt x="312" y="204"/>
                  </a:lnTo>
                  <a:lnTo>
                    <a:pt x="312" y="207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6" y="207"/>
                  </a:lnTo>
                  <a:lnTo>
                    <a:pt x="306" y="210"/>
                  </a:lnTo>
                  <a:lnTo>
                    <a:pt x="306" y="207"/>
                  </a:lnTo>
                  <a:lnTo>
                    <a:pt x="303" y="207"/>
                  </a:lnTo>
                  <a:lnTo>
                    <a:pt x="300" y="207"/>
                  </a:lnTo>
                  <a:lnTo>
                    <a:pt x="300" y="210"/>
                  </a:lnTo>
                  <a:lnTo>
                    <a:pt x="297" y="210"/>
                  </a:lnTo>
                  <a:lnTo>
                    <a:pt x="300" y="210"/>
                  </a:lnTo>
                  <a:lnTo>
                    <a:pt x="300" y="213"/>
                  </a:lnTo>
                  <a:lnTo>
                    <a:pt x="297" y="213"/>
                  </a:lnTo>
                  <a:lnTo>
                    <a:pt x="297" y="210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1" y="213"/>
                  </a:lnTo>
                  <a:lnTo>
                    <a:pt x="291" y="210"/>
                  </a:lnTo>
                  <a:lnTo>
                    <a:pt x="288" y="210"/>
                  </a:lnTo>
                  <a:lnTo>
                    <a:pt x="288" y="213"/>
                  </a:lnTo>
                  <a:lnTo>
                    <a:pt x="288" y="216"/>
                  </a:lnTo>
                  <a:lnTo>
                    <a:pt x="288" y="213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9"/>
                  </a:lnTo>
                  <a:lnTo>
                    <a:pt x="282" y="219"/>
                  </a:lnTo>
                  <a:lnTo>
                    <a:pt x="285" y="219"/>
                  </a:lnTo>
                  <a:lnTo>
                    <a:pt x="285" y="222"/>
                  </a:lnTo>
                  <a:lnTo>
                    <a:pt x="282" y="222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9" y="228"/>
                  </a:lnTo>
                  <a:lnTo>
                    <a:pt x="282" y="228"/>
                  </a:lnTo>
                  <a:lnTo>
                    <a:pt x="279" y="228"/>
                  </a:lnTo>
                  <a:lnTo>
                    <a:pt x="276" y="228"/>
                  </a:lnTo>
                  <a:lnTo>
                    <a:pt x="279" y="228"/>
                  </a:lnTo>
                  <a:lnTo>
                    <a:pt x="279" y="231"/>
                  </a:lnTo>
                  <a:lnTo>
                    <a:pt x="276" y="231"/>
                  </a:lnTo>
                  <a:lnTo>
                    <a:pt x="276" y="234"/>
                  </a:lnTo>
                  <a:lnTo>
                    <a:pt x="273" y="234"/>
                  </a:lnTo>
                  <a:lnTo>
                    <a:pt x="276" y="234"/>
                  </a:lnTo>
                  <a:lnTo>
                    <a:pt x="276" y="237"/>
                  </a:lnTo>
                  <a:lnTo>
                    <a:pt x="273" y="237"/>
                  </a:lnTo>
                  <a:lnTo>
                    <a:pt x="270" y="237"/>
                  </a:lnTo>
                  <a:lnTo>
                    <a:pt x="270" y="240"/>
                  </a:lnTo>
                  <a:lnTo>
                    <a:pt x="267" y="240"/>
                  </a:lnTo>
                  <a:lnTo>
                    <a:pt x="267" y="243"/>
                  </a:lnTo>
                  <a:lnTo>
                    <a:pt x="270" y="243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1" y="249"/>
                  </a:lnTo>
                  <a:lnTo>
                    <a:pt x="264" y="249"/>
                  </a:lnTo>
                  <a:lnTo>
                    <a:pt x="264" y="252"/>
                  </a:lnTo>
                  <a:lnTo>
                    <a:pt x="261" y="252"/>
                  </a:lnTo>
                  <a:lnTo>
                    <a:pt x="261" y="255"/>
                  </a:lnTo>
                  <a:lnTo>
                    <a:pt x="258" y="255"/>
                  </a:lnTo>
                  <a:lnTo>
                    <a:pt x="258" y="258"/>
                  </a:lnTo>
                  <a:lnTo>
                    <a:pt x="258" y="261"/>
                  </a:lnTo>
                  <a:lnTo>
                    <a:pt x="255" y="261"/>
                  </a:lnTo>
                  <a:lnTo>
                    <a:pt x="255" y="264"/>
                  </a:lnTo>
                  <a:lnTo>
                    <a:pt x="255" y="267"/>
                  </a:lnTo>
                  <a:lnTo>
                    <a:pt x="252" y="267"/>
                  </a:lnTo>
                  <a:lnTo>
                    <a:pt x="249" y="267"/>
                  </a:lnTo>
                  <a:lnTo>
                    <a:pt x="249" y="270"/>
                  </a:lnTo>
                  <a:lnTo>
                    <a:pt x="249" y="273"/>
                  </a:lnTo>
                  <a:lnTo>
                    <a:pt x="249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6"/>
                  </a:lnTo>
                  <a:lnTo>
                    <a:pt x="237" y="276"/>
                  </a:lnTo>
                  <a:lnTo>
                    <a:pt x="237" y="273"/>
                  </a:lnTo>
                  <a:lnTo>
                    <a:pt x="237" y="276"/>
                  </a:lnTo>
                  <a:lnTo>
                    <a:pt x="234" y="276"/>
                  </a:lnTo>
                  <a:lnTo>
                    <a:pt x="234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28" y="282"/>
                  </a:lnTo>
                  <a:lnTo>
                    <a:pt x="228" y="279"/>
                  </a:lnTo>
                  <a:lnTo>
                    <a:pt x="225" y="279"/>
                  </a:lnTo>
                  <a:lnTo>
                    <a:pt x="225" y="282"/>
                  </a:lnTo>
                  <a:lnTo>
                    <a:pt x="225" y="285"/>
                  </a:lnTo>
                  <a:lnTo>
                    <a:pt x="228" y="285"/>
                  </a:lnTo>
                  <a:lnTo>
                    <a:pt x="228" y="288"/>
                  </a:lnTo>
                  <a:lnTo>
                    <a:pt x="231" y="288"/>
                  </a:lnTo>
                  <a:lnTo>
                    <a:pt x="231" y="291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7" y="300"/>
                  </a:lnTo>
                  <a:lnTo>
                    <a:pt x="237" y="303"/>
                  </a:lnTo>
                  <a:lnTo>
                    <a:pt x="237" y="306"/>
                  </a:lnTo>
                  <a:lnTo>
                    <a:pt x="240" y="306"/>
                  </a:lnTo>
                  <a:lnTo>
                    <a:pt x="240" y="309"/>
                  </a:lnTo>
                  <a:lnTo>
                    <a:pt x="240" y="312"/>
                  </a:lnTo>
                  <a:lnTo>
                    <a:pt x="243" y="315"/>
                  </a:lnTo>
                  <a:lnTo>
                    <a:pt x="243" y="318"/>
                  </a:lnTo>
                  <a:lnTo>
                    <a:pt x="246" y="318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4"/>
                  </a:lnTo>
                  <a:lnTo>
                    <a:pt x="249" y="327"/>
                  </a:lnTo>
                  <a:lnTo>
                    <a:pt x="249" y="330"/>
                  </a:lnTo>
                  <a:lnTo>
                    <a:pt x="252" y="330"/>
                  </a:lnTo>
                  <a:lnTo>
                    <a:pt x="255" y="330"/>
                  </a:lnTo>
                  <a:lnTo>
                    <a:pt x="258" y="330"/>
                  </a:lnTo>
                  <a:lnTo>
                    <a:pt x="258" y="333"/>
                  </a:lnTo>
                  <a:lnTo>
                    <a:pt x="255" y="333"/>
                  </a:lnTo>
                  <a:lnTo>
                    <a:pt x="255" y="336"/>
                  </a:lnTo>
                  <a:lnTo>
                    <a:pt x="255" y="339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2" y="348"/>
                  </a:lnTo>
                  <a:lnTo>
                    <a:pt x="255" y="348"/>
                  </a:lnTo>
                  <a:lnTo>
                    <a:pt x="255" y="351"/>
                  </a:lnTo>
                  <a:lnTo>
                    <a:pt x="255" y="354"/>
                  </a:lnTo>
                  <a:lnTo>
                    <a:pt x="255" y="351"/>
                  </a:lnTo>
                  <a:lnTo>
                    <a:pt x="258" y="351"/>
                  </a:lnTo>
                  <a:lnTo>
                    <a:pt x="258" y="354"/>
                  </a:lnTo>
                  <a:lnTo>
                    <a:pt x="255" y="354"/>
                  </a:lnTo>
                  <a:lnTo>
                    <a:pt x="255" y="357"/>
                  </a:lnTo>
                  <a:lnTo>
                    <a:pt x="252" y="357"/>
                  </a:lnTo>
                  <a:lnTo>
                    <a:pt x="252" y="354"/>
                  </a:lnTo>
                  <a:lnTo>
                    <a:pt x="252" y="357"/>
                  </a:lnTo>
                  <a:lnTo>
                    <a:pt x="252" y="360"/>
                  </a:lnTo>
                  <a:lnTo>
                    <a:pt x="252" y="357"/>
                  </a:lnTo>
                  <a:lnTo>
                    <a:pt x="255" y="357"/>
                  </a:lnTo>
                  <a:lnTo>
                    <a:pt x="255" y="360"/>
                  </a:lnTo>
                  <a:lnTo>
                    <a:pt x="252" y="360"/>
                  </a:lnTo>
                  <a:lnTo>
                    <a:pt x="249" y="360"/>
                  </a:lnTo>
                  <a:lnTo>
                    <a:pt x="249" y="363"/>
                  </a:lnTo>
                  <a:lnTo>
                    <a:pt x="252" y="363"/>
                  </a:lnTo>
                  <a:lnTo>
                    <a:pt x="249" y="363"/>
                  </a:lnTo>
                  <a:lnTo>
                    <a:pt x="249" y="366"/>
                  </a:lnTo>
                  <a:lnTo>
                    <a:pt x="246" y="366"/>
                  </a:lnTo>
                  <a:lnTo>
                    <a:pt x="246" y="363"/>
                  </a:lnTo>
                  <a:lnTo>
                    <a:pt x="243" y="363"/>
                  </a:lnTo>
                  <a:lnTo>
                    <a:pt x="243" y="366"/>
                  </a:lnTo>
                  <a:lnTo>
                    <a:pt x="243" y="363"/>
                  </a:lnTo>
                  <a:lnTo>
                    <a:pt x="240" y="363"/>
                  </a:lnTo>
                  <a:lnTo>
                    <a:pt x="240" y="366"/>
                  </a:lnTo>
                  <a:lnTo>
                    <a:pt x="240" y="369"/>
                  </a:lnTo>
                  <a:lnTo>
                    <a:pt x="240" y="366"/>
                  </a:lnTo>
                  <a:lnTo>
                    <a:pt x="237" y="366"/>
                  </a:lnTo>
                  <a:lnTo>
                    <a:pt x="234" y="366"/>
                  </a:lnTo>
                  <a:lnTo>
                    <a:pt x="234" y="369"/>
                  </a:lnTo>
                  <a:lnTo>
                    <a:pt x="234" y="372"/>
                  </a:lnTo>
                  <a:lnTo>
                    <a:pt x="231" y="372"/>
                  </a:lnTo>
                  <a:lnTo>
                    <a:pt x="231" y="369"/>
                  </a:lnTo>
                  <a:lnTo>
                    <a:pt x="228" y="369"/>
                  </a:lnTo>
                  <a:lnTo>
                    <a:pt x="225" y="369"/>
                  </a:lnTo>
                  <a:lnTo>
                    <a:pt x="225" y="372"/>
                  </a:lnTo>
                  <a:lnTo>
                    <a:pt x="228" y="372"/>
                  </a:lnTo>
                  <a:lnTo>
                    <a:pt x="228" y="375"/>
                  </a:lnTo>
                  <a:lnTo>
                    <a:pt x="225" y="375"/>
                  </a:lnTo>
                  <a:lnTo>
                    <a:pt x="222" y="375"/>
                  </a:lnTo>
                  <a:lnTo>
                    <a:pt x="219" y="375"/>
                  </a:lnTo>
                  <a:lnTo>
                    <a:pt x="219" y="378"/>
                  </a:lnTo>
                  <a:lnTo>
                    <a:pt x="219" y="381"/>
                  </a:lnTo>
                  <a:lnTo>
                    <a:pt x="216" y="381"/>
                  </a:lnTo>
                  <a:lnTo>
                    <a:pt x="213" y="381"/>
                  </a:lnTo>
                  <a:lnTo>
                    <a:pt x="213" y="384"/>
                  </a:lnTo>
                  <a:lnTo>
                    <a:pt x="210" y="384"/>
                  </a:lnTo>
                  <a:lnTo>
                    <a:pt x="210" y="381"/>
                  </a:lnTo>
                  <a:lnTo>
                    <a:pt x="207" y="378"/>
                  </a:lnTo>
                  <a:lnTo>
                    <a:pt x="204" y="381"/>
                  </a:lnTo>
                  <a:lnTo>
                    <a:pt x="201" y="381"/>
                  </a:lnTo>
                  <a:lnTo>
                    <a:pt x="201" y="384"/>
                  </a:lnTo>
                  <a:lnTo>
                    <a:pt x="198" y="384"/>
                  </a:lnTo>
                  <a:lnTo>
                    <a:pt x="198" y="381"/>
                  </a:lnTo>
                  <a:lnTo>
                    <a:pt x="195" y="381"/>
                  </a:lnTo>
                  <a:lnTo>
                    <a:pt x="195" y="384"/>
                  </a:lnTo>
                  <a:lnTo>
                    <a:pt x="192" y="384"/>
                  </a:lnTo>
                  <a:lnTo>
                    <a:pt x="192" y="381"/>
                  </a:lnTo>
                  <a:lnTo>
                    <a:pt x="189" y="381"/>
                  </a:lnTo>
                  <a:lnTo>
                    <a:pt x="186" y="381"/>
                  </a:lnTo>
                  <a:lnTo>
                    <a:pt x="183" y="378"/>
                  </a:lnTo>
                  <a:lnTo>
                    <a:pt x="180" y="378"/>
                  </a:lnTo>
                  <a:lnTo>
                    <a:pt x="180" y="375"/>
                  </a:lnTo>
                  <a:lnTo>
                    <a:pt x="180" y="372"/>
                  </a:lnTo>
                  <a:lnTo>
                    <a:pt x="177" y="372"/>
                  </a:lnTo>
                  <a:lnTo>
                    <a:pt x="174" y="372"/>
                  </a:lnTo>
                  <a:lnTo>
                    <a:pt x="171" y="372"/>
                  </a:lnTo>
                  <a:lnTo>
                    <a:pt x="171" y="375"/>
                  </a:lnTo>
                  <a:lnTo>
                    <a:pt x="168" y="375"/>
                  </a:lnTo>
                  <a:lnTo>
                    <a:pt x="168" y="372"/>
                  </a:lnTo>
                  <a:lnTo>
                    <a:pt x="165" y="372"/>
                  </a:lnTo>
                  <a:lnTo>
                    <a:pt x="165" y="375"/>
                  </a:lnTo>
                  <a:lnTo>
                    <a:pt x="162" y="375"/>
                  </a:lnTo>
                  <a:lnTo>
                    <a:pt x="162" y="372"/>
                  </a:lnTo>
                  <a:lnTo>
                    <a:pt x="165" y="372"/>
                  </a:lnTo>
                  <a:lnTo>
                    <a:pt x="162" y="372"/>
                  </a:lnTo>
                  <a:lnTo>
                    <a:pt x="162" y="369"/>
                  </a:lnTo>
                  <a:lnTo>
                    <a:pt x="159" y="369"/>
                  </a:lnTo>
                  <a:lnTo>
                    <a:pt x="156" y="369"/>
                  </a:lnTo>
                  <a:lnTo>
                    <a:pt x="156" y="366"/>
                  </a:lnTo>
                  <a:lnTo>
                    <a:pt x="156" y="363"/>
                  </a:lnTo>
                  <a:lnTo>
                    <a:pt x="153" y="363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53" y="366"/>
                  </a:lnTo>
                  <a:lnTo>
                    <a:pt x="153" y="369"/>
                  </a:lnTo>
                  <a:lnTo>
                    <a:pt x="150" y="369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4" y="366"/>
                  </a:lnTo>
                  <a:lnTo>
                    <a:pt x="144" y="369"/>
                  </a:lnTo>
                  <a:lnTo>
                    <a:pt x="141" y="369"/>
                  </a:lnTo>
                  <a:lnTo>
                    <a:pt x="138" y="369"/>
                  </a:lnTo>
                  <a:lnTo>
                    <a:pt x="135" y="369"/>
                  </a:lnTo>
                  <a:lnTo>
                    <a:pt x="135" y="372"/>
                  </a:lnTo>
                  <a:lnTo>
                    <a:pt x="132" y="372"/>
                  </a:lnTo>
                  <a:lnTo>
                    <a:pt x="132" y="369"/>
                  </a:lnTo>
                  <a:lnTo>
                    <a:pt x="129" y="369"/>
                  </a:lnTo>
                  <a:lnTo>
                    <a:pt x="129" y="372"/>
                  </a:lnTo>
                  <a:lnTo>
                    <a:pt x="129" y="375"/>
                  </a:lnTo>
                  <a:lnTo>
                    <a:pt x="132" y="375"/>
                  </a:lnTo>
                  <a:lnTo>
                    <a:pt x="129" y="375"/>
                  </a:lnTo>
                  <a:lnTo>
                    <a:pt x="129" y="378"/>
                  </a:lnTo>
                  <a:lnTo>
                    <a:pt x="126" y="378"/>
                  </a:lnTo>
                  <a:lnTo>
                    <a:pt x="123" y="378"/>
                  </a:lnTo>
                  <a:lnTo>
                    <a:pt x="123" y="381"/>
                  </a:lnTo>
                  <a:lnTo>
                    <a:pt x="120" y="381"/>
                  </a:lnTo>
                  <a:lnTo>
                    <a:pt x="120" y="384"/>
                  </a:lnTo>
                  <a:lnTo>
                    <a:pt x="117" y="384"/>
                  </a:lnTo>
                  <a:lnTo>
                    <a:pt x="114" y="384"/>
                  </a:lnTo>
                  <a:lnTo>
                    <a:pt x="114" y="381"/>
                  </a:lnTo>
                  <a:lnTo>
                    <a:pt x="114" y="378"/>
                  </a:lnTo>
                  <a:lnTo>
                    <a:pt x="111" y="378"/>
                  </a:lnTo>
                  <a:lnTo>
                    <a:pt x="111" y="381"/>
                  </a:lnTo>
                  <a:lnTo>
                    <a:pt x="108" y="381"/>
                  </a:lnTo>
                  <a:lnTo>
                    <a:pt x="108" y="378"/>
                  </a:lnTo>
                  <a:lnTo>
                    <a:pt x="108" y="375"/>
                  </a:lnTo>
                  <a:lnTo>
                    <a:pt x="105" y="375"/>
                  </a:lnTo>
                  <a:lnTo>
                    <a:pt x="102" y="375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75"/>
                  </a:lnTo>
                  <a:lnTo>
                    <a:pt x="93" y="375"/>
                  </a:lnTo>
                  <a:lnTo>
                    <a:pt x="90" y="375"/>
                  </a:lnTo>
                  <a:lnTo>
                    <a:pt x="90" y="372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78" y="369"/>
                  </a:lnTo>
                  <a:lnTo>
                    <a:pt x="78" y="366"/>
                  </a:lnTo>
                  <a:lnTo>
                    <a:pt x="75" y="366"/>
                  </a:lnTo>
                  <a:lnTo>
                    <a:pt x="72" y="366"/>
                  </a:lnTo>
                  <a:lnTo>
                    <a:pt x="72" y="363"/>
                  </a:lnTo>
                  <a:lnTo>
                    <a:pt x="69" y="363"/>
                  </a:lnTo>
                  <a:lnTo>
                    <a:pt x="69" y="360"/>
                  </a:lnTo>
                  <a:lnTo>
                    <a:pt x="69" y="357"/>
                  </a:lnTo>
                  <a:lnTo>
                    <a:pt x="66" y="357"/>
                  </a:lnTo>
                  <a:lnTo>
                    <a:pt x="66" y="354"/>
                  </a:lnTo>
                  <a:lnTo>
                    <a:pt x="63" y="354"/>
                  </a:lnTo>
                  <a:lnTo>
                    <a:pt x="63" y="351"/>
                  </a:lnTo>
                  <a:lnTo>
                    <a:pt x="60" y="351"/>
                  </a:lnTo>
                  <a:lnTo>
                    <a:pt x="60" y="348"/>
                  </a:lnTo>
                  <a:lnTo>
                    <a:pt x="60" y="345"/>
                  </a:lnTo>
                  <a:lnTo>
                    <a:pt x="57" y="345"/>
                  </a:lnTo>
                  <a:lnTo>
                    <a:pt x="54" y="345"/>
                  </a:lnTo>
                  <a:lnTo>
                    <a:pt x="54" y="342"/>
                  </a:lnTo>
                  <a:lnTo>
                    <a:pt x="51" y="342"/>
                  </a:lnTo>
                  <a:lnTo>
                    <a:pt x="51" y="339"/>
                  </a:lnTo>
                  <a:lnTo>
                    <a:pt x="54" y="339"/>
                  </a:lnTo>
                  <a:lnTo>
                    <a:pt x="51" y="339"/>
                  </a:lnTo>
                  <a:lnTo>
                    <a:pt x="51" y="336"/>
                  </a:lnTo>
                  <a:lnTo>
                    <a:pt x="48" y="336"/>
                  </a:lnTo>
                  <a:lnTo>
                    <a:pt x="48" y="333"/>
                  </a:lnTo>
                  <a:lnTo>
                    <a:pt x="45" y="333"/>
                  </a:lnTo>
                  <a:lnTo>
                    <a:pt x="45" y="330"/>
                  </a:lnTo>
                  <a:lnTo>
                    <a:pt x="42" y="330"/>
                  </a:lnTo>
                  <a:lnTo>
                    <a:pt x="42" y="327"/>
                  </a:lnTo>
                  <a:lnTo>
                    <a:pt x="42" y="324"/>
                  </a:lnTo>
                  <a:lnTo>
                    <a:pt x="39" y="324"/>
                  </a:lnTo>
                  <a:lnTo>
                    <a:pt x="39" y="321"/>
                  </a:lnTo>
                  <a:lnTo>
                    <a:pt x="39" y="318"/>
                  </a:lnTo>
                  <a:lnTo>
                    <a:pt x="39" y="315"/>
                  </a:lnTo>
                  <a:lnTo>
                    <a:pt x="36" y="315"/>
                  </a:lnTo>
                  <a:lnTo>
                    <a:pt x="33" y="315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7" y="306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1" y="306"/>
                  </a:lnTo>
                  <a:lnTo>
                    <a:pt x="18" y="303"/>
                  </a:lnTo>
                  <a:lnTo>
                    <a:pt x="18" y="300"/>
                  </a:lnTo>
                  <a:lnTo>
                    <a:pt x="18" y="303"/>
                  </a:lnTo>
                  <a:lnTo>
                    <a:pt x="15" y="303"/>
                  </a:lnTo>
                  <a:lnTo>
                    <a:pt x="15" y="300"/>
                  </a:lnTo>
                  <a:lnTo>
                    <a:pt x="12" y="300"/>
                  </a:lnTo>
                  <a:lnTo>
                    <a:pt x="12" y="297"/>
                  </a:lnTo>
                  <a:lnTo>
                    <a:pt x="9" y="297"/>
                  </a:lnTo>
                  <a:lnTo>
                    <a:pt x="9" y="300"/>
                  </a:lnTo>
                  <a:lnTo>
                    <a:pt x="9" y="297"/>
                  </a:lnTo>
                  <a:lnTo>
                    <a:pt x="6" y="297"/>
                  </a:lnTo>
                  <a:lnTo>
                    <a:pt x="6" y="294"/>
                  </a:lnTo>
                  <a:lnTo>
                    <a:pt x="6" y="291"/>
                  </a:lnTo>
                  <a:lnTo>
                    <a:pt x="3" y="291"/>
                  </a:lnTo>
                  <a:lnTo>
                    <a:pt x="3" y="288"/>
                  </a:lnTo>
                  <a:lnTo>
                    <a:pt x="3" y="285"/>
                  </a:lnTo>
                  <a:lnTo>
                    <a:pt x="0" y="282"/>
                  </a:lnTo>
                  <a:lnTo>
                    <a:pt x="3" y="279"/>
                  </a:lnTo>
                  <a:lnTo>
                    <a:pt x="6" y="273"/>
                  </a:lnTo>
                  <a:lnTo>
                    <a:pt x="12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5" y="252"/>
                  </a:lnTo>
                  <a:lnTo>
                    <a:pt x="18" y="249"/>
                  </a:lnTo>
                  <a:lnTo>
                    <a:pt x="18" y="246"/>
                  </a:lnTo>
                  <a:lnTo>
                    <a:pt x="21" y="243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7" y="228"/>
                  </a:lnTo>
                  <a:lnTo>
                    <a:pt x="30" y="225"/>
                  </a:lnTo>
                  <a:lnTo>
                    <a:pt x="30" y="222"/>
                  </a:lnTo>
                  <a:lnTo>
                    <a:pt x="33" y="219"/>
                  </a:lnTo>
                  <a:lnTo>
                    <a:pt x="33" y="216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9" y="207"/>
                  </a:lnTo>
                  <a:lnTo>
                    <a:pt x="39" y="204"/>
                  </a:lnTo>
                  <a:lnTo>
                    <a:pt x="39" y="201"/>
                  </a:lnTo>
                  <a:lnTo>
                    <a:pt x="42" y="198"/>
                  </a:lnTo>
                  <a:lnTo>
                    <a:pt x="45" y="195"/>
                  </a:lnTo>
                  <a:lnTo>
                    <a:pt x="45" y="192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48" y="186"/>
                  </a:lnTo>
                  <a:lnTo>
                    <a:pt x="42" y="186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5" y="168"/>
                  </a:lnTo>
                  <a:lnTo>
                    <a:pt x="48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51" y="159"/>
                  </a:lnTo>
                  <a:lnTo>
                    <a:pt x="51" y="156"/>
                  </a:lnTo>
                  <a:lnTo>
                    <a:pt x="48" y="153"/>
                  </a:lnTo>
                  <a:lnTo>
                    <a:pt x="45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7" y="141"/>
                  </a:lnTo>
                  <a:lnTo>
                    <a:pt x="57" y="132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3" y="126"/>
                  </a:lnTo>
                  <a:lnTo>
                    <a:pt x="66" y="126"/>
                  </a:lnTo>
                  <a:lnTo>
                    <a:pt x="63" y="123"/>
                  </a:lnTo>
                  <a:lnTo>
                    <a:pt x="66" y="123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5" y="114"/>
                  </a:lnTo>
                  <a:lnTo>
                    <a:pt x="78" y="114"/>
                  </a:lnTo>
                  <a:lnTo>
                    <a:pt x="78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8" y="108"/>
                  </a:lnTo>
                  <a:lnTo>
                    <a:pt x="78" y="105"/>
                  </a:lnTo>
                  <a:lnTo>
                    <a:pt x="81" y="105"/>
                  </a:lnTo>
                  <a:lnTo>
                    <a:pt x="84" y="105"/>
                  </a:lnTo>
                  <a:lnTo>
                    <a:pt x="84" y="102"/>
                  </a:lnTo>
                  <a:lnTo>
                    <a:pt x="87" y="102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5" y="96"/>
                  </a:lnTo>
                  <a:lnTo>
                    <a:pt x="105" y="93"/>
                  </a:lnTo>
                  <a:lnTo>
                    <a:pt x="108" y="93"/>
                  </a:lnTo>
                  <a:lnTo>
                    <a:pt x="111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87"/>
                  </a:lnTo>
                  <a:lnTo>
                    <a:pt x="120" y="87"/>
                  </a:lnTo>
                  <a:lnTo>
                    <a:pt x="123" y="84"/>
                  </a:lnTo>
                  <a:lnTo>
                    <a:pt x="126" y="84"/>
                  </a:lnTo>
                  <a:lnTo>
                    <a:pt x="126" y="87"/>
                  </a:lnTo>
                  <a:lnTo>
                    <a:pt x="129" y="90"/>
                  </a:lnTo>
                  <a:lnTo>
                    <a:pt x="132" y="90"/>
                  </a:lnTo>
                  <a:lnTo>
                    <a:pt x="132" y="87"/>
                  </a:lnTo>
                  <a:lnTo>
                    <a:pt x="135" y="87"/>
                  </a:lnTo>
                  <a:lnTo>
                    <a:pt x="135" y="90"/>
                  </a:lnTo>
                  <a:lnTo>
                    <a:pt x="138" y="90"/>
                  </a:lnTo>
                  <a:lnTo>
                    <a:pt x="141" y="90"/>
                  </a:lnTo>
                  <a:lnTo>
                    <a:pt x="141" y="93"/>
                  </a:lnTo>
                  <a:lnTo>
                    <a:pt x="141" y="96"/>
                  </a:lnTo>
                  <a:lnTo>
                    <a:pt x="141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4" y="96"/>
                  </a:lnTo>
                  <a:lnTo>
                    <a:pt x="144" y="93"/>
                  </a:lnTo>
                  <a:lnTo>
                    <a:pt x="147" y="93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59" y="72"/>
                  </a:lnTo>
                  <a:lnTo>
                    <a:pt x="162" y="72"/>
                  </a:lnTo>
                  <a:lnTo>
                    <a:pt x="162" y="69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9"/>
                  </a:lnTo>
                  <a:lnTo>
                    <a:pt x="177" y="69"/>
                  </a:lnTo>
                  <a:lnTo>
                    <a:pt x="177" y="66"/>
                  </a:lnTo>
                  <a:lnTo>
                    <a:pt x="180" y="66"/>
                  </a:lnTo>
                  <a:lnTo>
                    <a:pt x="183" y="69"/>
                  </a:lnTo>
                  <a:lnTo>
                    <a:pt x="183" y="66"/>
                  </a:lnTo>
                  <a:lnTo>
                    <a:pt x="180" y="66"/>
                  </a:lnTo>
                  <a:lnTo>
                    <a:pt x="177" y="66"/>
                  </a:lnTo>
                  <a:lnTo>
                    <a:pt x="177" y="63"/>
                  </a:lnTo>
                  <a:lnTo>
                    <a:pt x="177" y="60"/>
                  </a:lnTo>
                  <a:lnTo>
                    <a:pt x="180" y="60"/>
                  </a:lnTo>
                  <a:lnTo>
                    <a:pt x="180" y="57"/>
                  </a:lnTo>
                  <a:lnTo>
                    <a:pt x="183" y="57"/>
                  </a:lnTo>
                  <a:lnTo>
                    <a:pt x="183" y="54"/>
                  </a:lnTo>
                  <a:lnTo>
                    <a:pt x="180" y="54"/>
                  </a:lnTo>
                  <a:lnTo>
                    <a:pt x="180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74" y="48"/>
                  </a:lnTo>
                  <a:lnTo>
                    <a:pt x="174" y="45"/>
                  </a:lnTo>
                  <a:lnTo>
                    <a:pt x="177" y="45"/>
                  </a:lnTo>
                  <a:lnTo>
                    <a:pt x="180" y="45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89" y="36"/>
                  </a:lnTo>
                  <a:lnTo>
                    <a:pt x="189" y="33"/>
                  </a:lnTo>
                  <a:lnTo>
                    <a:pt x="192" y="33"/>
                  </a:lnTo>
                  <a:lnTo>
                    <a:pt x="192" y="30"/>
                  </a:lnTo>
                  <a:lnTo>
                    <a:pt x="195" y="30"/>
                  </a:lnTo>
                  <a:lnTo>
                    <a:pt x="198" y="30"/>
                  </a:lnTo>
                  <a:lnTo>
                    <a:pt x="198" y="33"/>
                  </a:lnTo>
                  <a:lnTo>
                    <a:pt x="198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4" y="24"/>
                  </a:lnTo>
                  <a:lnTo>
                    <a:pt x="207" y="24"/>
                  </a:lnTo>
                  <a:lnTo>
                    <a:pt x="207" y="27"/>
                  </a:lnTo>
                  <a:lnTo>
                    <a:pt x="210" y="27"/>
                  </a:lnTo>
                  <a:lnTo>
                    <a:pt x="210" y="24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6" y="27"/>
                  </a:lnTo>
                  <a:lnTo>
                    <a:pt x="216" y="24"/>
                  </a:lnTo>
                  <a:lnTo>
                    <a:pt x="219" y="24"/>
                  </a:lnTo>
                  <a:lnTo>
                    <a:pt x="216" y="24"/>
                  </a:lnTo>
                  <a:lnTo>
                    <a:pt x="216" y="21"/>
                  </a:lnTo>
                  <a:lnTo>
                    <a:pt x="219" y="21"/>
                  </a:lnTo>
                  <a:lnTo>
                    <a:pt x="219" y="18"/>
                  </a:lnTo>
                  <a:lnTo>
                    <a:pt x="219" y="21"/>
                  </a:lnTo>
                  <a:lnTo>
                    <a:pt x="222" y="21"/>
                  </a:lnTo>
                  <a:lnTo>
                    <a:pt x="222" y="24"/>
                  </a:lnTo>
                  <a:lnTo>
                    <a:pt x="225" y="24"/>
                  </a:lnTo>
                  <a:lnTo>
                    <a:pt x="228" y="24"/>
                  </a:lnTo>
                  <a:lnTo>
                    <a:pt x="231" y="24"/>
                  </a:lnTo>
                  <a:lnTo>
                    <a:pt x="234" y="24"/>
                  </a:lnTo>
                  <a:lnTo>
                    <a:pt x="237" y="24"/>
                  </a:lnTo>
                  <a:lnTo>
                    <a:pt x="240" y="24"/>
                  </a:lnTo>
                  <a:lnTo>
                    <a:pt x="240" y="27"/>
                  </a:lnTo>
                  <a:lnTo>
                    <a:pt x="237" y="27"/>
                  </a:lnTo>
                  <a:lnTo>
                    <a:pt x="240" y="27"/>
                  </a:lnTo>
                  <a:lnTo>
                    <a:pt x="240" y="30"/>
                  </a:lnTo>
                  <a:lnTo>
                    <a:pt x="240" y="27"/>
                  </a:lnTo>
                  <a:lnTo>
                    <a:pt x="243" y="27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1"/>
                  </a:lnTo>
                  <a:lnTo>
                    <a:pt x="249" y="18"/>
                  </a:lnTo>
                  <a:lnTo>
                    <a:pt x="252" y="18"/>
                  </a:lnTo>
                  <a:lnTo>
                    <a:pt x="255" y="18"/>
                  </a:lnTo>
                  <a:lnTo>
                    <a:pt x="255" y="21"/>
                  </a:lnTo>
                  <a:lnTo>
                    <a:pt x="258" y="21"/>
                  </a:lnTo>
                  <a:lnTo>
                    <a:pt x="258" y="24"/>
                  </a:lnTo>
                  <a:lnTo>
                    <a:pt x="261" y="24"/>
                  </a:lnTo>
                  <a:lnTo>
                    <a:pt x="261" y="21"/>
                  </a:lnTo>
                  <a:lnTo>
                    <a:pt x="264" y="21"/>
                  </a:lnTo>
                  <a:lnTo>
                    <a:pt x="264" y="18"/>
                  </a:lnTo>
                  <a:lnTo>
                    <a:pt x="264" y="15"/>
                  </a:lnTo>
                  <a:lnTo>
                    <a:pt x="267" y="15"/>
                  </a:lnTo>
                  <a:lnTo>
                    <a:pt x="267" y="12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3" y="9"/>
                  </a:lnTo>
                  <a:lnTo>
                    <a:pt x="273" y="6"/>
                  </a:lnTo>
                  <a:close/>
                </a:path>
              </a:pathLst>
            </a:custGeom>
            <a:solidFill>
              <a:srgbClr val="F79646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26" name="Freeform 36">
              <a:extLst>
                <a:ext uri="{FF2B5EF4-FFF2-40B4-BE49-F238E27FC236}">
                  <a16:creationId xmlns:a16="http://schemas.microsoft.com/office/drawing/2014/main" id="{A3EB2A42-493D-401D-B28E-04512BC8BD7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778375" y="3049588"/>
              <a:ext cx="679450" cy="808037"/>
            </a:xfrm>
            <a:custGeom>
              <a:avLst/>
              <a:gdLst>
                <a:gd name="T0" fmla="*/ 478569 w 345"/>
                <a:gd name="T1" fmla="*/ 94369 h 411"/>
                <a:gd name="T2" fmla="*/ 531743 w 345"/>
                <a:gd name="T3" fmla="*/ 70777 h 411"/>
                <a:gd name="T4" fmla="*/ 537652 w 345"/>
                <a:gd name="T5" fmla="*/ 0 h 411"/>
                <a:gd name="T6" fmla="*/ 584918 w 345"/>
                <a:gd name="T7" fmla="*/ 11796 h 411"/>
                <a:gd name="T8" fmla="*/ 679450 w 345"/>
                <a:gd name="T9" fmla="*/ 17694 h 411"/>
                <a:gd name="T10" fmla="*/ 667633 w 345"/>
                <a:gd name="T11" fmla="*/ 76675 h 411"/>
                <a:gd name="T12" fmla="*/ 644000 w 345"/>
                <a:gd name="T13" fmla="*/ 129758 h 411"/>
                <a:gd name="T14" fmla="*/ 632184 w 345"/>
                <a:gd name="T15" fmla="*/ 194637 h 411"/>
                <a:gd name="T16" fmla="*/ 620367 w 345"/>
                <a:gd name="T17" fmla="*/ 253617 h 411"/>
                <a:gd name="T18" fmla="*/ 602643 w 345"/>
                <a:gd name="T19" fmla="*/ 306700 h 411"/>
                <a:gd name="T20" fmla="*/ 567193 w 345"/>
                <a:gd name="T21" fmla="*/ 353885 h 411"/>
                <a:gd name="T22" fmla="*/ 543560 w 345"/>
                <a:gd name="T23" fmla="*/ 383375 h 411"/>
                <a:gd name="T24" fmla="*/ 484477 w 345"/>
                <a:gd name="T25" fmla="*/ 412866 h 411"/>
                <a:gd name="T26" fmla="*/ 449028 w 345"/>
                <a:gd name="T27" fmla="*/ 454152 h 411"/>
                <a:gd name="T28" fmla="*/ 407670 w 345"/>
                <a:gd name="T29" fmla="*/ 501337 h 411"/>
                <a:gd name="T30" fmla="*/ 372220 w 345"/>
                <a:gd name="T31" fmla="*/ 566216 h 411"/>
                <a:gd name="T32" fmla="*/ 348587 w 345"/>
                <a:gd name="T33" fmla="*/ 613400 h 411"/>
                <a:gd name="T34" fmla="*/ 324954 w 345"/>
                <a:gd name="T35" fmla="*/ 666483 h 411"/>
                <a:gd name="T36" fmla="*/ 289505 w 345"/>
                <a:gd name="T37" fmla="*/ 719566 h 411"/>
                <a:gd name="T38" fmla="*/ 259963 w 345"/>
                <a:gd name="T39" fmla="*/ 766750 h 411"/>
                <a:gd name="T40" fmla="*/ 236330 w 345"/>
                <a:gd name="T41" fmla="*/ 802139 h 411"/>
                <a:gd name="T42" fmla="*/ 230422 w 345"/>
                <a:gd name="T43" fmla="*/ 778547 h 411"/>
                <a:gd name="T44" fmla="*/ 206789 w 345"/>
                <a:gd name="T45" fmla="*/ 760852 h 411"/>
                <a:gd name="T46" fmla="*/ 189064 w 345"/>
                <a:gd name="T47" fmla="*/ 749056 h 411"/>
                <a:gd name="T48" fmla="*/ 171340 w 345"/>
                <a:gd name="T49" fmla="*/ 737260 h 411"/>
                <a:gd name="T50" fmla="*/ 153615 w 345"/>
                <a:gd name="T51" fmla="*/ 731362 h 411"/>
                <a:gd name="T52" fmla="*/ 106349 w 345"/>
                <a:gd name="T53" fmla="*/ 719566 h 411"/>
                <a:gd name="T54" fmla="*/ 64991 w 345"/>
                <a:gd name="T55" fmla="*/ 713668 h 411"/>
                <a:gd name="T56" fmla="*/ 29541 w 345"/>
                <a:gd name="T57" fmla="*/ 707770 h 411"/>
                <a:gd name="T58" fmla="*/ 0 w 345"/>
                <a:gd name="T59" fmla="*/ 666483 h 411"/>
                <a:gd name="T60" fmla="*/ 35450 w 345"/>
                <a:gd name="T61" fmla="*/ 642891 h 411"/>
                <a:gd name="T62" fmla="*/ 59083 w 345"/>
                <a:gd name="T63" fmla="*/ 619298 h 411"/>
                <a:gd name="T64" fmla="*/ 59083 w 345"/>
                <a:gd name="T65" fmla="*/ 583910 h 411"/>
                <a:gd name="T66" fmla="*/ 59083 w 345"/>
                <a:gd name="T67" fmla="*/ 548521 h 411"/>
                <a:gd name="T68" fmla="*/ 88624 w 345"/>
                <a:gd name="T69" fmla="*/ 519031 h 411"/>
                <a:gd name="T70" fmla="*/ 106349 w 345"/>
                <a:gd name="T71" fmla="*/ 489541 h 411"/>
                <a:gd name="T72" fmla="*/ 94532 w 345"/>
                <a:gd name="T73" fmla="*/ 448254 h 411"/>
                <a:gd name="T74" fmla="*/ 64991 w 345"/>
                <a:gd name="T75" fmla="*/ 412866 h 411"/>
                <a:gd name="T76" fmla="*/ 35450 w 345"/>
                <a:gd name="T77" fmla="*/ 389273 h 411"/>
                <a:gd name="T78" fmla="*/ 23633 w 345"/>
                <a:gd name="T79" fmla="*/ 347987 h 411"/>
                <a:gd name="T80" fmla="*/ 59083 w 345"/>
                <a:gd name="T81" fmla="*/ 330292 h 411"/>
                <a:gd name="T82" fmla="*/ 88624 w 345"/>
                <a:gd name="T83" fmla="*/ 306700 h 411"/>
                <a:gd name="T84" fmla="*/ 112257 w 345"/>
                <a:gd name="T85" fmla="*/ 277210 h 411"/>
                <a:gd name="T86" fmla="*/ 147707 w 345"/>
                <a:gd name="T87" fmla="*/ 241821 h 411"/>
                <a:gd name="T88" fmla="*/ 153615 w 345"/>
                <a:gd name="T89" fmla="*/ 188739 h 411"/>
                <a:gd name="T90" fmla="*/ 153615 w 345"/>
                <a:gd name="T91" fmla="*/ 153350 h 411"/>
                <a:gd name="T92" fmla="*/ 159523 w 345"/>
                <a:gd name="T93" fmla="*/ 117962 h 411"/>
                <a:gd name="T94" fmla="*/ 194973 w 345"/>
                <a:gd name="T95" fmla="*/ 106165 h 411"/>
                <a:gd name="T96" fmla="*/ 242239 w 345"/>
                <a:gd name="T97" fmla="*/ 106165 h 411"/>
                <a:gd name="T98" fmla="*/ 283597 w 345"/>
                <a:gd name="T99" fmla="*/ 94369 h 411"/>
                <a:gd name="T100" fmla="*/ 354496 w 345"/>
                <a:gd name="T101" fmla="*/ 100267 h 411"/>
                <a:gd name="T102" fmla="*/ 384037 w 345"/>
                <a:gd name="T103" fmla="*/ 100267 h 411"/>
                <a:gd name="T104" fmla="*/ 112257 w 345"/>
                <a:gd name="T105" fmla="*/ 601604 h 411"/>
                <a:gd name="T106" fmla="*/ 124073 w 345"/>
                <a:gd name="T107" fmla="*/ 642891 h 411"/>
                <a:gd name="T108" fmla="*/ 141798 w 345"/>
                <a:gd name="T109" fmla="*/ 690075 h 411"/>
                <a:gd name="T110" fmla="*/ 165431 w 345"/>
                <a:gd name="T111" fmla="*/ 695973 h 411"/>
                <a:gd name="T112" fmla="*/ 200881 w 345"/>
                <a:gd name="T113" fmla="*/ 707770 h 411"/>
                <a:gd name="T114" fmla="*/ 224514 w 345"/>
                <a:gd name="T115" fmla="*/ 678279 h 411"/>
                <a:gd name="T116" fmla="*/ 206789 w 345"/>
                <a:gd name="T117" fmla="*/ 666483 h 411"/>
                <a:gd name="T118" fmla="*/ 183156 w 345"/>
                <a:gd name="T119" fmla="*/ 631095 h 411"/>
                <a:gd name="T120" fmla="*/ 159523 w 345"/>
                <a:gd name="T121" fmla="*/ 613400 h 411"/>
                <a:gd name="T122" fmla="*/ 118165 w 345"/>
                <a:gd name="T123" fmla="*/ 589808 h 4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5" h="411">
                  <a:moveTo>
                    <a:pt x="210" y="42"/>
                  </a:moveTo>
                  <a:lnTo>
                    <a:pt x="213" y="42"/>
                  </a:lnTo>
                  <a:lnTo>
                    <a:pt x="216" y="45"/>
                  </a:lnTo>
                  <a:lnTo>
                    <a:pt x="219" y="45"/>
                  </a:lnTo>
                  <a:lnTo>
                    <a:pt x="225" y="48"/>
                  </a:lnTo>
                  <a:lnTo>
                    <a:pt x="228" y="48"/>
                  </a:lnTo>
                  <a:lnTo>
                    <a:pt x="231" y="48"/>
                  </a:lnTo>
                  <a:lnTo>
                    <a:pt x="234" y="48"/>
                  </a:lnTo>
                  <a:lnTo>
                    <a:pt x="237" y="48"/>
                  </a:lnTo>
                  <a:lnTo>
                    <a:pt x="240" y="48"/>
                  </a:lnTo>
                  <a:lnTo>
                    <a:pt x="243" y="48"/>
                  </a:lnTo>
                  <a:lnTo>
                    <a:pt x="246" y="48"/>
                  </a:lnTo>
                  <a:lnTo>
                    <a:pt x="249" y="48"/>
                  </a:lnTo>
                  <a:lnTo>
                    <a:pt x="252" y="48"/>
                  </a:lnTo>
                  <a:lnTo>
                    <a:pt x="255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45"/>
                  </a:lnTo>
                  <a:lnTo>
                    <a:pt x="270" y="42"/>
                  </a:lnTo>
                  <a:lnTo>
                    <a:pt x="270" y="39"/>
                  </a:lnTo>
                  <a:lnTo>
                    <a:pt x="270" y="36"/>
                  </a:lnTo>
                  <a:lnTo>
                    <a:pt x="270" y="33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70" y="21"/>
                  </a:lnTo>
                  <a:lnTo>
                    <a:pt x="270" y="18"/>
                  </a:lnTo>
                  <a:lnTo>
                    <a:pt x="270" y="15"/>
                  </a:lnTo>
                  <a:lnTo>
                    <a:pt x="270" y="12"/>
                  </a:lnTo>
                  <a:lnTo>
                    <a:pt x="273" y="6"/>
                  </a:lnTo>
                  <a:lnTo>
                    <a:pt x="273" y="3"/>
                  </a:lnTo>
                  <a:lnTo>
                    <a:pt x="273" y="0"/>
                  </a:lnTo>
                  <a:lnTo>
                    <a:pt x="276" y="0"/>
                  </a:lnTo>
                  <a:lnTo>
                    <a:pt x="279" y="0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4" y="3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15" y="6"/>
                  </a:lnTo>
                  <a:lnTo>
                    <a:pt x="321" y="6"/>
                  </a:lnTo>
                  <a:lnTo>
                    <a:pt x="330" y="6"/>
                  </a:lnTo>
                  <a:lnTo>
                    <a:pt x="333" y="6"/>
                  </a:lnTo>
                  <a:lnTo>
                    <a:pt x="339" y="6"/>
                  </a:lnTo>
                  <a:lnTo>
                    <a:pt x="342" y="6"/>
                  </a:lnTo>
                  <a:lnTo>
                    <a:pt x="345" y="6"/>
                  </a:lnTo>
                  <a:lnTo>
                    <a:pt x="345" y="9"/>
                  </a:lnTo>
                  <a:lnTo>
                    <a:pt x="345" y="12"/>
                  </a:lnTo>
                  <a:lnTo>
                    <a:pt x="345" y="15"/>
                  </a:lnTo>
                  <a:lnTo>
                    <a:pt x="345" y="18"/>
                  </a:lnTo>
                  <a:lnTo>
                    <a:pt x="345" y="21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39" y="33"/>
                  </a:lnTo>
                  <a:lnTo>
                    <a:pt x="339" y="36"/>
                  </a:lnTo>
                  <a:lnTo>
                    <a:pt x="339" y="39"/>
                  </a:lnTo>
                  <a:lnTo>
                    <a:pt x="339" y="42"/>
                  </a:lnTo>
                  <a:lnTo>
                    <a:pt x="336" y="42"/>
                  </a:lnTo>
                  <a:lnTo>
                    <a:pt x="336" y="45"/>
                  </a:lnTo>
                  <a:lnTo>
                    <a:pt x="336" y="48"/>
                  </a:lnTo>
                  <a:lnTo>
                    <a:pt x="333" y="51"/>
                  </a:lnTo>
                  <a:lnTo>
                    <a:pt x="333" y="54"/>
                  </a:lnTo>
                  <a:lnTo>
                    <a:pt x="333" y="57"/>
                  </a:lnTo>
                  <a:lnTo>
                    <a:pt x="330" y="57"/>
                  </a:lnTo>
                  <a:lnTo>
                    <a:pt x="330" y="60"/>
                  </a:lnTo>
                  <a:lnTo>
                    <a:pt x="330" y="63"/>
                  </a:lnTo>
                  <a:lnTo>
                    <a:pt x="327" y="66"/>
                  </a:lnTo>
                  <a:lnTo>
                    <a:pt x="327" y="69"/>
                  </a:lnTo>
                  <a:lnTo>
                    <a:pt x="327" y="72"/>
                  </a:lnTo>
                  <a:lnTo>
                    <a:pt x="327" y="75"/>
                  </a:lnTo>
                  <a:lnTo>
                    <a:pt x="327" y="78"/>
                  </a:lnTo>
                  <a:lnTo>
                    <a:pt x="324" y="81"/>
                  </a:lnTo>
                  <a:lnTo>
                    <a:pt x="324" y="84"/>
                  </a:lnTo>
                  <a:lnTo>
                    <a:pt x="324" y="87"/>
                  </a:lnTo>
                  <a:lnTo>
                    <a:pt x="324" y="90"/>
                  </a:lnTo>
                  <a:lnTo>
                    <a:pt x="321" y="93"/>
                  </a:lnTo>
                  <a:lnTo>
                    <a:pt x="321" y="96"/>
                  </a:lnTo>
                  <a:lnTo>
                    <a:pt x="321" y="99"/>
                  </a:lnTo>
                  <a:lnTo>
                    <a:pt x="321" y="102"/>
                  </a:lnTo>
                  <a:lnTo>
                    <a:pt x="321" y="105"/>
                  </a:lnTo>
                  <a:lnTo>
                    <a:pt x="321" y="108"/>
                  </a:lnTo>
                  <a:lnTo>
                    <a:pt x="321" y="111"/>
                  </a:lnTo>
                  <a:lnTo>
                    <a:pt x="321" y="114"/>
                  </a:lnTo>
                  <a:lnTo>
                    <a:pt x="318" y="114"/>
                  </a:lnTo>
                  <a:lnTo>
                    <a:pt x="318" y="117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5" y="129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2" y="135"/>
                  </a:lnTo>
                  <a:lnTo>
                    <a:pt x="312" y="138"/>
                  </a:lnTo>
                  <a:lnTo>
                    <a:pt x="312" y="141"/>
                  </a:lnTo>
                  <a:lnTo>
                    <a:pt x="309" y="144"/>
                  </a:lnTo>
                  <a:lnTo>
                    <a:pt x="309" y="147"/>
                  </a:lnTo>
                  <a:lnTo>
                    <a:pt x="306" y="147"/>
                  </a:lnTo>
                  <a:lnTo>
                    <a:pt x="306" y="150"/>
                  </a:lnTo>
                  <a:lnTo>
                    <a:pt x="306" y="153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3" y="162"/>
                  </a:lnTo>
                  <a:lnTo>
                    <a:pt x="303" y="165"/>
                  </a:lnTo>
                  <a:lnTo>
                    <a:pt x="303" y="168"/>
                  </a:lnTo>
                  <a:lnTo>
                    <a:pt x="300" y="168"/>
                  </a:lnTo>
                  <a:lnTo>
                    <a:pt x="300" y="171"/>
                  </a:lnTo>
                  <a:lnTo>
                    <a:pt x="297" y="171"/>
                  </a:lnTo>
                  <a:lnTo>
                    <a:pt x="297" y="174"/>
                  </a:lnTo>
                  <a:lnTo>
                    <a:pt x="294" y="174"/>
                  </a:lnTo>
                  <a:lnTo>
                    <a:pt x="291" y="177"/>
                  </a:lnTo>
                  <a:lnTo>
                    <a:pt x="288" y="180"/>
                  </a:lnTo>
                  <a:lnTo>
                    <a:pt x="285" y="183"/>
                  </a:lnTo>
                  <a:lnTo>
                    <a:pt x="282" y="186"/>
                  </a:lnTo>
                  <a:lnTo>
                    <a:pt x="279" y="189"/>
                  </a:lnTo>
                  <a:lnTo>
                    <a:pt x="276" y="189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6" y="192"/>
                  </a:lnTo>
                  <a:lnTo>
                    <a:pt x="276" y="189"/>
                  </a:lnTo>
                  <a:lnTo>
                    <a:pt x="279" y="189"/>
                  </a:lnTo>
                  <a:lnTo>
                    <a:pt x="276" y="192"/>
                  </a:lnTo>
                  <a:lnTo>
                    <a:pt x="276" y="195"/>
                  </a:lnTo>
                  <a:lnTo>
                    <a:pt x="273" y="195"/>
                  </a:lnTo>
                  <a:lnTo>
                    <a:pt x="270" y="198"/>
                  </a:lnTo>
                  <a:lnTo>
                    <a:pt x="267" y="198"/>
                  </a:lnTo>
                  <a:lnTo>
                    <a:pt x="264" y="201"/>
                  </a:lnTo>
                  <a:lnTo>
                    <a:pt x="261" y="201"/>
                  </a:lnTo>
                  <a:lnTo>
                    <a:pt x="258" y="201"/>
                  </a:lnTo>
                  <a:lnTo>
                    <a:pt x="258" y="204"/>
                  </a:lnTo>
                  <a:lnTo>
                    <a:pt x="255" y="204"/>
                  </a:lnTo>
                  <a:lnTo>
                    <a:pt x="252" y="204"/>
                  </a:lnTo>
                  <a:lnTo>
                    <a:pt x="249" y="207"/>
                  </a:lnTo>
                  <a:lnTo>
                    <a:pt x="246" y="210"/>
                  </a:lnTo>
                  <a:lnTo>
                    <a:pt x="246" y="213"/>
                  </a:lnTo>
                  <a:lnTo>
                    <a:pt x="243" y="213"/>
                  </a:lnTo>
                  <a:lnTo>
                    <a:pt x="243" y="216"/>
                  </a:lnTo>
                  <a:lnTo>
                    <a:pt x="240" y="216"/>
                  </a:lnTo>
                  <a:lnTo>
                    <a:pt x="240" y="219"/>
                  </a:lnTo>
                  <a:lnTo>
                    <a:pt x="237" y="219"/>
                  </a:lnTo>
                  <a:lnTo>
                    <a:pt x="237" y="222"/>
                  </a:lnTo>
                  <a:lnTo>
                    <a:pt x="234" y="222"/>
                  </a:lnTo>
                  <a:lnTo>
                    <a:pt x="234" y="225"/>
                  </a:lnTo>
                  <a:lnTo>
                    <a:pt x="231" y="228"/>
                  </a:lnTo>
                  <a:lnTo>
                    <a:pt x="228" y="231"/>
                  </a:lnTo>
                  <a:lnTo>
                    <a:pt x="225" y="234"/>
                  </a:lnTo>
                  <a:lnTo>
                    <a:pt x="225" y="237"/>
                  </a:lnTo>
                  <a:lnTo>
                    <a:pt x="222" y="237"/>
                  </a:lnTo>
                  <a:lnTo>
                    <a:pt x="222" y="240"/>
                  </a:lnTo>
                  <a:lnTo>
                    <a:pt x="219" y="240"/>
                  </a:lnTo>
                  <a:lnTo>
                    <a:pt x="219" y="243"/>
                  </a:lnTo>
                  <a:lnTo>
                    <a:pt x="216" y="246"/>
                  </a:lnTo>
                  <a:lnTo>
                    <a:pt x="213" y="249"/>
                  </a:lnTo>
                  <a:lnTo>
                    <a:pt x="210" y="252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7" y="258"/>
                  </a:lnTo>
                  <a:lnTo>
                    <a:pt x="204" y="261"/>
                  </a:lnTo>
                  <a:lnTo>
                    <a:pt x="201" y="264"/>
                  </a:lnTo>
                  <a:lnTo>
                    <a:pt x="201" y="267"/>
                  </a:lnTo>
                  <a:lnTo>
                    <a:pt x="198" y="270"/>
                  </a:lnTo>
                  <a:lnTo>
                    <a:pt x="198" y="273"/>
                  </a:lnTo>
                  <a:lnTo>
                    <a:pt x="195" y="276"/>
                  </a:lnTo>
                  <a:lnTo>
                    <a:pt x="195" y="279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8"/>
                  </a:lnTo>
                  <a:lnTo>
                    <a:pt x="189" y="291"/>
                  </a:lnTo>
                  <a:lnTo>
                    <a:pt x="192" y="291"/>
                  </a:lnTo>
                  <a:lnTo>
                    <a:pt x="192" y="294"/>
                  </a:lnTo>
                  <a:lnTo>
                    <a:pt x="189" y="297"/>
                  </a:lnTo>
                  <a:lnTo>
                    <a:pt x="186" y="300"/>
                  </a:lnTo>
                  <a:lnTo>
                    <a:pt x="186" y="303"/>
                  </a:lnTo>
                  <a:lnTo>
                    <a:pt x="183" y="303"/>
                  </a:lnTo>
                  <a:lnTo>
                    <a:pt x="183" y="306"/>
                  </a:lnTo>
                  <a:lnTo>
                    <a:pt x="180" y="309"/>
                  </a:lnTo>
                  <a:lnTo>
                    <a:pt x="177" y="309"/>
                  </a:lnTo>
                  <a:lnTo>
                    <a:pt x="177" y="312"/>
                  </a:lnTo>
                  <a:lnTo>
                    <a:pt x="177" y="315"/>
                  </a:lnTo>
                  <a:lnTo>
                    <a:pt x="174" y="315"/>
                  </a:lnTo>
                  <a:lnTo>
                    <a:pt x="174" y="318"/>
                  </a:lnTo>
                  <a:lnTo>
                    <a:pt x="174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7"/>
                  </a:lnTo>
                  <a:lnTo>
                    <a:pt x="168" y="330"/>
                  </a:lnTo>
                  <a:lnTo>
                    <a:pt x="168" y="333"/>
                  </a:lnTo>
                  <a:lnTo>
                    <a:pt x="165" y="336"/>
                  </a:lnTo>
                  <a:lnTo>
                    <a:pt x="165" y="339"/>
                  </a:lnTo>
                  <a:lnTo>
                    <a:pt x="162" y="342"/>
                  </a:lnTo>
                  <a:lnTo>
                    <a:pt x="159" y="345"/>
                  </a:lnTo>
                  <a:lnTo>
                    <a:pt x="159" y="348"/>
                  </a:lnTo>
                  <a:lnTo>
                    <a:pt x="159" y="351"/>
                  </a:lnTo>
                  <a:lnTo>
                    <a:pt x="156" y="354"/>
                  </a:lnTo>
                  <a:lnTo>
                    <a:pt x="156" y="357"/>
                  </a:lnTo>
                  <a:lnTo>
                    <a:pt x="153" y="357"/>
                  </a:lnTo>
                  <a:lnTo>
                    <a:pt x="153" y="360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72"/>
                  </a:lnTo>
                  <a:lnTo>
                    <a:pt x="144" y="375"/>
                  </a:lnTo>
                  <a:lnTo>
                    <a:pt x="141" y="378"/>
                  </a:lnTo>
                  <a:lnTo>
                    <a:pt x="141" y="381"/>
                  </a:lnTo>
                  <a:lnTo>
                    <a:pt x="138" y="381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5" y="387"/>
                  </a:lnTo>
                  <a:lnTo>
                    <a:pt x="135" y="390"/>
                  </a:lnTo>
                  <a:lnTo>
                    <a:pt x="132" y="390"/>
                  </a:lnTo>
                  <a:lnTo>
                    <a:pt x="132" y="393"/>
                  </a:lnTo>
                  <a:lnTo>
                    <a:pt x="129" y="396"/>
                  </a:lnTo>
                  <a:lnTo>
                    <a:pt x="129" y="399"/>
                  </a:lnTo>
                  <a:lnTo>
                    <a:pt x="126" y="399"/>
                  </a:lnTo>
                  <a:lnTo>
                    <a:pt x="126" y="402"/>
                  </a:lnTo>
                  <a:lnTo>
                    <a:pt x="126" y="405"/>
                  </a:lnTo>
                  <a:lnTo>
                    <a:pt x="123" y="405"/>
                  </a:lnTo>
                  <a:lnTo>
                    <a:pt x="123" y="408"/>
                  </a:lnTo>
                  <a:lnTo>
                    <a:pt x="120" y="408"/>
                  </a:lnTo>
                  <a:lnTo>
                    <a:pt x="120" y="411"/>
                  </a:lnTo>
                  <a:lnTo>
                    <a:pt x="120" y="408"/>
                  </a:lnTo>
                  <a:lnTo>
                    <a:pt x="117" y="408"/>
                  </a:lnTo>
                  <a:lnTo>
                    <a:pt x="117" y="405"/>
                  </a:lnTo>
                  <a:lnTo>
                    <a:pt x="114" y="405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7" y="399"/>
                  </a:lnTo>
                  <a:lnTo>
                    <a:pt x="114" y="399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7" y="393"/>
                  </a:lnTo>
                  <a:lnTo>
                    <a:pt x="114" y="393"/>
                  </a:lnTo>
                  <a:lnTo>
                    <a:pt x="114" y="390"/>
                  </a:lnTo>
                  <a:lnTo>
                    <a:pt x="111" y="390"/>
                  </a:lnTo>
                  <a:lnTo>
                    <a:pt x="108" y="390"/>
                  </a:lnTo>
                  <a:lnTo>
                    <a:pt x="111" y="390"/>
                  </a:lnTo>
                  <a:lnTo>
                    <a:pt x="111" y="387"/>
                  </a:lnTo>
                  <a:lnTo>
                    <a:pt x="108" y="387"/>
                  </a:lnTo>
                  <a:lnTo>
                    <a:pt x="105" y="387"/>
                  </a:lnTo>
                  <a:lnTo>
                    <a:pt x="105" y="384"/>
                  </a:lnTo>
                  <a:lnTo>
                    <a:pt x="102" y="384"/>
                  </a:lnTo>
                  <a:lnTo>
                    <a:pt x="102" y="387"/>
                  </a:lnTo>
                  <a:lnTo>
                    <a:pt x="99" y="387"/>
                  </a:lnTo>
                  <a:lnTo>
                    <a:pt x="99" y="384"/>
                  </a:lnTo>
                  <a:lnTo>
                    <a:pt x="102" y="384"/>
                  </a:lnTo>
                  <a:lnTo>
                    <a:pt x="99" y="384"/>
                  </a:lnTo>
                  <a:lnTo>
                    <a:pt x="99" y="381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3" y="381"/>
                  </a:lnTo>
                  <a:lnTo>
                    <a:pt x="93" y="378"/>
                  </a:lnTo>
                  <a:lnTo>
                    <a:pt x="96" y="378"/>
                  </a:lnTo>
                  <a:lnTo>
                    <a:pt x="93" y="378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1" y="375"/>
                  </a:lnTo>
                  <a:lnTo>
                    <a:pt x="81" y="372"/>
                  </a:lnTo>
                  <a:lnTo>
                    <a:pt x="78" y="372"/>
                  </a:lnTo>
                  <a:lnTo>
                    <a:pt x="78" y="369"/>
                  </a:lnTo>
                  <a:lnTo>
                    <a:pt x="75" y="369"/>
                  </a:lnTo>
                  <a:lnTo>
                    <a:pt x="75" y="372"/>
                  </a:lnTo>
                  <a:lnTo>
                    <a:pt x="72" y="372"/>
                  </a:lnTo>
                  <a:lnTo>
                    <a:pt x="69" y="372"/>
                  </a:lnTo>
                  <a:lnTo>
                    <a:pt x="69" y="369"/>
                  </a:lnTo>
                  <a:lnTo>
                    <a:pt x="66" y="369"/>
                  </a:lnTo>
                  <a:lnTo>
                    <a:pt x="63" y="366"/>
                  </a:lnTo>
                  <a:lnTo>
                    <a:pt x="60" y="366"/>
                  </a:lnTo>
                  <a:lnTo>
                    <a:pt x="57" y="366"/>
                  </a:lnTo>
                  <a:lnTo>
                    <a:pt x="54" y="366"/>
                  </a:lnTo>
                  <a:lnTo>
                    <a:pt x="51" y="369"/>
                  </a:lnTo>
                  <a:lnTo>
                    <a:pt x="48" y="369"/>
                  </a:lnTo>
                  <a:lnTo>
                    <a:pt x="48" y="366"/>
                  </a:lnTo>
                  <a:lnTo>
                    <a:pt x="45" y="366"/>
                  </a:lnTo>
                  <a:lnTo>
                    <a:pt x="42" y="366"/>
                  </a:lnTo>
                  <a:lnTo>
                    <a:pt x="39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0" y="360"/>
                  </a:lnTo>
                  <a:lnTo>
                    <a:pt x="30" y="357"/>
                  </a:lnTo>
                  <a:lnTo>
                    <a:pt x="27" y="357"/>
                  </a:lnTo>
                  <a:lnTo>
                    <a:pt x="24" y="354"/>
                  </a:lnTo>
                  <a:lnTo>
                    <a:pt x="21" y="354"/>
                  </a:lnTo>
                  <a:lnTo>
                    <a:pt x="18" y="357"/>
                  </a:lnTo>
                  <a:lnTo>
                    <a:pt x="18" y="360"/>
                  </a:lnTo>
                  <a:lnTo>
                    <a:pt x="15" y="360"/>
                  </a:lnTo>
                  <a:lnTo>
                    <a:pt x="12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6" y="357"/>
                  </a:lnTo>
                  <a:lnTo>
                    <a:pt x="6" y="354"/>
                  </a:lnTo>
                  <a:lnTo>
                    <a:pt x="3" y="354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3" y="345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6"/>
                  </a:lnTo>
                  <a:lnTo>
                    <a:pt x="0" y="333"/>
                  </a:lnTo>
                  <a:lnTo>
                    <a:pt x="3" y="333"/>
                  </a:lnTo>
                  <a:lnTo>
                    <a:pt x="6" y="336"/>
                  </a:lnTo>
                  <a:lnTo>
                    <a:pt x="9" y="336"/>
                  </a:lnTo>
                  <a:lnTo>
                    <a:pt x="12" y="333"/>
                  </a:lnTo>
                  <a:lnTo>
                    <a:pt x="12" y="330"/>
                  </a:lnTo>
                  <a:lnTo>
                    <a:pt x="15" y="330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8" y="327"/>
                  </a:lnTo>
                  <a:lnTo>
                    <a:pt x="21" y="327"/>
                  </a:lnTo>
                  <a:lnTo>
                    <a:pt x="21" y="324"/>
                  </a:lnTo>
                  <a:lnTo>
                    <a:pt x="18" y="324"/>
                  </a:lnTo>
                  <a:lnTo>
                    <a:pt x="21" y="324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27" y="321"/>
                  </a:lnTo>
                  <a:lnTo>
                    <a:pt x="27" y="318"/>
                  </a:lnTo>
                  <a:lnTo>
                    <a:pt x="30" y="321"/>
                  </a:lnTo>
                  <a:lnTo>
                    <a:pt x="30" y="318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4" y="306"/>
                  </a:lnTo>
                  <a:lnTo>
                    <a:pt x="21" y="306"/>
                  </a:lnTo>
                  <a:lnTo>
                    <a:pt x="21" y="303"/>
                  </a:lnTo>
                  <a:lnTo>
                    <a:pt x="24" y="303"/>
                  </a:lnTo>
                  <a:lnTo>
                    <a:pt x="24" y="300"/>
                  </a:lnTo>
                  <a:lnTo>
                    <a:pt x="27" y="300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3" y="297"/>
                  </a:lnTo>
                  <a:lnTo>
                    <a:pt x="33" y="294"/>
                  </a:lnTo>
                  <a:lnTo>
                    <a:pt x="30" y="294"/>
                  </a:lnTo>
                  <a:lnTo>
                    <a:pt x="33" y="291"/>
                  </a:lnTo>
                  <a:lnTo>
                    <a:pt x="27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282"/>
                  </a:lnTo>
                  <a:lnTo>
                    <a:pt x="30" y="279"/>
                  </a:lnTo>
                  <a:lnTo>
                    <a:pt x="33" y="279"/>
                  </a:lnTo>
                  <a:lnTo>
                    <a:pt x="33" y="276"/>
                  </a:lnTo>
                  <a:lnTo>
                    <a:pt x="33" y="273"/>
                  </a:lnTo>
                  <a:lnTo>
                    <a:pt x="36" y="273"/>
                  </a:lnTo>
                  <a:lnTo>
                    <a:pt x="39" y="270"/>
                  </a:lnTo>
                  <a:lnTo>
                    <a:pt x="42" y="270"/>
                  </a:lnTo>
                  <a:lnTo>
                    <a:pt x="45" y="270"/>
                  </a:lnTo>
                  <a:lnTo>
                    <a:pt x="42" y="267"/>
                  </a:lnTo>
                  <a:lnTo>
                    <a:pt x="45" y="267"/>
                  </a:lnTo>
                  <a:lnTo>
                    <a:pt x="42" y="264"/>
                  </a:lnTo>
                  <a:lnTo>
                    <a:pt x="45" y="264"/>
                  </a:lnTo>
                  <a:lnTo>
                    <a:pt x="48" y="264"/>
                  </a:lnTo>
                  <a:lnTo>
                    <a:pt x="45" y="261"/>
                  </a:lnTo>
                  <a:lnTo>
                    <a:pt x="45" y="258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8" y="252"/>
                  </a:lnTo>
                  <a:lnTo>
                    <a:pt x="51" y="252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4" y="246"/>
                  </a:lnTo>
                  <a:lnTo>
                    <a:pt x="57" y="246"/>
                  </a:lnTo>
                  <a:lnTo>
                    <a:pt x="57" y="243"/>
                  </a:lnTo>
                  <a:lnTo>
                    <a:pt x="57" y="240"/>
                  </a:lnTo>
                  <a:lnTo>
                    <a:pt x="57" y="237"/>
                  </a:lnTo>
                  <a:lnTo>
                    <a:pt x="57" y="234"/>
                  </a:lnTo>
                  <a:lnTo>
                    <a:pt x="54" y="234"/>
                  </a:lnTo>
                  <a:lnTo>
                    <a:pt x="54" y="231"/>
                  </a:lnTo>
                  <a:lnTo>
                    <a:pt x="54" y="228"/>
                  </a:lnTo>
                  <a:lnTo>
                    <a:pt x="51" y="228"/>
                  </a:lnTo>
                  <a:lnTo>
                    <a:pt x="48" y="228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5" y="216"/>
                  </a:lnTo>
                  <a:lnTo>
                    <a:pt x="42" y="216"/>
                  </a:lnTo>
                  <a:lnTo>
                    <a:pt x="39" y="216"/>
                  </a:lnTo>
                  <a:lnTo>
                    <a:pt x="39" y="213"/>
                  </a:lnTo>
                  <a:lnTo>
                    <a:pt x="36" y="213"/>
                  </a:lnTo>
                  <a:lnTo>
                    <a:pt x="39" y="210"/>
                  </a:lnTo>
                  <a:lnTo>
                    <a:pt x="36" y="210"/>
                  </a:lnTo>
                  <a:lnTo>
                    <a:pt x="33" y="210"/>
                  </a:lnTo>
                  <a:lnTo>
                    <a:pt x="33" y="207"/>
                  </a:lnTo>
                  <a:lnTo>
                    <a:pt x="30" y="207"/>
                  </a:lnTo>
                  <a:lnTo>
                    <a:pt x="30" y="204"/>
                  </a:lnTo>
                  <a:lnTo>
                    <a:pt x="27" y="204"/>
                  </a:lnTo>
                  <a:lnTo>
                    <a:pt x="27" y="201"/>
                  </a:lnTo>
                  <a:lnTo>
                    <a:pt x="24" y="201"/>
                  </a:lnTo>
                  <a:lnTo>
                    <a:pt x="24" y="198"/>
                  </a:lnTo>
                  <a:lnTo>
                    <a:pt x="21" y="198"/>
                  </a:lnTo>
                  <a:lnTo>
                    <a:pt x="18" y="198"/>
                  </a:lnTo>
                  <a:lnTo>
                    <a:pt x="18" y="201"/>
                  </a:lnTo>
                  <a:lnTo>
                    <a:pt x="18" y="198"/>
                  </a:lnTo>
                  <a:lnTo>
                    <a:pt x="15" y="198"/>
                  </a:lnTo>
                  <a:lnTo>
                    <a:pt x="15" y="195"/>
                  </a:lnTo>
                  <a:lnTo>
                    <a:pt x="15" y="192"/>
                  </a:lnTo>
                  <a:lnTo>
                    <a:pt x="12" y="192"/>
                  </a:lnTo>
                  <a:lnTo>
                    <a:pt x="12" y="189"/>
                  </a:lnTo>
                  <a:lnTo>
                    <a:pt x="15" y="189"/>
                  </a:lnTo>
                  <a:lnTo>
                    <a:pt x="12" y="186"/>
                  </a:lnTo>
                  <a:lnTo>
                    <a:pt x="9" y="186"/>
                  </a:lnTo>
                  <a:lnTo>
                    <a:pt x="9" y="183"/>
                  </a:lnTo>
                  <a:lnTo>
                    <a:pt x="12" y="180"/>
                  </a:lnTo>
                  <a:lnTo>
                    <a:pt x="12" y="177"/>
                  </a:lnTo>
                  <a:lnTo>
                    <a:pt x="15" y="174"/>
                  </a:lnTo>
                  <a:lnTo>
                    <a:pt x="15" y="171"/>
                  </a:lnTo>
                  <a:lnTo>
                    <a:pt x="18" y="171"/>
                  </a:lnTo>
                  <a:lnTo>
                    <a:pt x="15" y="171"/>
                  </a:lnTo>
                  <a:lnTo>
                    <a:pt x="18" y="168"/>
                  </a:lnTo>
                  <a:lnTo>
                    <a:pt x="21" y="168"/>
                  </a:lnTo>
                  <a:lnTo>
                    <a:pt x="21" y="165"/>
                  </a:lnTo>
                  <a:lnTo>
                    <a:pt x="24" y="165"/>
                  </a:lnTo>
                  <a:lnTo>
                    <a:pt x="27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2"/>
                  </a:lnTo>
                  <a:lnTo>
                    <a:pt x="33" y="165"/>
                  </a:lnTo>
                  <a:lnTo>
                    <a:pt x="36" y="165"/>
                  </a:lnTo>
                  <a:lnTo>
                    <a:pt x="39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9" y="156"/>
                  </a:lnTo>
                  <a:lnTo>
                    <a:pt x="39" y="153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3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4" y="144"/>
                  </a:lnTo>
                  <a:lnTo>
                    <a:pt x="57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0" y="138"/>
                  </a:lnTo>
                  <a:lnTo>
                    <a:pt x="63" y="138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5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5" y="129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78" y="102"/>
                  </a:lnTo>
                  <a:lnTo>
                    <a:pt x="78" y="99"/>
                  </a:lnTo>
                  <a:lnTo>
                    <a:pt x="78" y="96"/>
                  </a:lnTo>
                  <a:lnTo>
                    <a:pt x="81" y="96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8" y="90"/>
                  </a:lnTo>
                  <a:lnTo>
                    <a:pt x="78" y="87"/>
                  </a:lnTo>
                  <a:lnTo>
                    <a:pt x="78" y="84"/>
                  </a:lnTo>
                  <a:lnTo>
                    <a:pt x="75" y="81"/>
                  </a:lnTo>
                  <a:lnTo>
                    <a:pt x="75" y="78"/>
                  </a:lnTo>
                  <a:lnTo>
                    <a:pt x="78" y="78"/>
                  </a:lnTo>
                  <a:lnTo>
                    <a:pt x="81" y="78"/>
                  </a:lnTo>
                  <a:lnTo>
                    <a:pt x="81" y="75"/>
                  </a:lnTo>
                  <a:lnTo>
                    <a:pt x="84" y="75"/>
                  </a:lnTo>
                  <a:lnTo>
                    <a:pt x="84" y="72"/>
                  </a:lnTo>
                  <a:lnTo>
                    <a:pt x="84" y="69"/>
                  </a:lnTo>
                  <a:lnTo>
                    <a:pt x="81" y="69"/>
                  </a:lnTo>
                  <a:lnTo>
                    <a:pt x="78" y="66"/>
                  </a:lnTo>
                  <a:lnTo>
                    <a:pt x="81" y="63"/>
                  </a:lnTo>
                  <a:lnTo>
                    <a:pt x="78" y="63"/>
                  </a:lnTo>
                  <a:lnTo>
                    <a:pt x="81" y="63"/>
                  </a:lnTo>
                  <a:lnTo>
                    <a:pt x="81" y="60"/>
                  </a:lnTo>
                  <a:lnTo>
                    <a:pt x="84" y="60"/>
                  </a:lnTo>
                  <a:lnTo>
                    <a:pt x="87" y="60"/>
                  </a:lnTo>
                  <a:lnTo>
                    <a:pt x="87" y="63"/>
                  </a:lnTo>
                  <a:lnTo>
                    <a:pt x="87" y="60"/>
                  </a:lnTo>
                  <a:lnTo>
                    <a:pt x="87" y="57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6" y="51"/>
                  </a:lnTo>
                  <a:lnTo>
                    <a:pt x="99" y="54"/>
                  </a:lnTo>
                  <a:lnTo>
                    <a:pt x="102" y="54"/>
                  </a:lnTo>
                  <a:lnTo>
                    <a:pt x="105" y="57"/>
                  </a:lnTo>
                  <a:lnTo>
                    <a:pt x="105" y="54"/>
                  </a:lnTo>
                  <a:lnTo>
                    <a:pt x="108" y="54"/>
                  </a:lnTo>
                  <a:lnTo>
                    <a:pt x="111" y="54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4"/>
                  </a:lnTo>
                  <a:lnTo>
                    <a:pt x="120" y="54"/>
                  </a:lnTo>
                  <a:lnTo>
                    <a:pt x="120" y="51"/>
                  </a:lnTo>
                  <a:lnTo>
                    <a:pt x="123" y="54"/>
                  </a:lnTo>
                  <a:lnTo>
                    <a:pt x="126" y="54"/>
                  </a:lnTo>
                  <a:lnTo>
                    <a:pt x="126" y="51"/>
                  </a:lnTo>
                  <a:lnTo>
                    <a:pt x="126" y="48"/>
                  </a:lnTo>
                  <a:lnTo>
                    <a:pt x="129" y="48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8" y="45"/>
                  </a:lnTo>
                  <a:lnTo>
                    <a:pt x="138" y="48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3" y="48"/>
                  </a:lnTo>
                  <a:lnTo>
                    <a:pt x="159" y="45"/>
                  </a:lnTo>
                  <a:lnTo>
                    <a:pt x="162" y="45"/>
                  </a:lnTo>
                  <a:lnTo>
                    <a:pt x="168" y="48"/>
                  </a:lnTo>
                  <a:lnTo>
                    <a:pt x="174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80" y="48"/>
                  </a:lnTo>
                  <a:lnTo>
                    <a:pt x="180" y="51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6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51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8" y="51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48"/>
                  </a:lnTo>
                  <a:lnTo>
                    <a:pt x="207" y="45"/>
                  </a:lnTo>
                  <a:lnTo>
                    <a:pt x="210" y="42"/>
                  </a:lnTo>
                  <a:close/>
                  <a:moveTo>
                    <a:pt x="60" y="300"/>
                  </a:moveTo>
                  <a:lnTo>
                    <a:pt x="57" y="300"/>
                  </a:lnTo>
                  <a:lnTo>
                    <a:pt x="57" y="303"/>
                  </a:lnTo>
                  <a:lnTo>
                    <a:pt x="54" y="303"/>
                  </a:lnTo>
                  <a:lnTo>
                    <a:pt x="57" y="306"/>
                  </a:lnTo>
                  <a:lnTo>
                    <a:pt x="60" y="306"/>
                  </a:lnTo>
                  <a:lnTo>
                    <a:pt x="60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54" y="315"/>
                  </a:lnTo>
                  <a:lnTo>
                    <a:pt x="54" y="318"/>
                  </a:lnTo>
                  <a:lnTo>
                    <a:pt x="51" y="321"/>
                  </a:lnTo>
                  <a:lnTo>
                    <a:pt x="54" y="321"/>
                  </a:lnTo>
                  <a:lnTo>
                    <a:pt x="57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3" y="330"/>
                  </a:lnTo>
                  <a:lnTo>
                    <a:pt x="60" y="330"/>
                  </a:lnTo>
                  <a:lnTo>
                    <a:pt x="63" y="333"/>
                  </a:lnTo>
                  <a:lnTo>
                    <a:pt x="63" y="336"/>
                  </a:lnTo>
                  <a:lnTo>
                    <a:pt x="60" y="339"/>
                  </a:lnTo>
                  <a:lnTo>
                    <a:pt x="63" y="339"/>
                  </a:lnTo>
                  <a:lnTo>
                    <a:pt x="66" y="342"/>
                  </a:lnTo>
                  <a:lnTo>
                    <a:pt x="69" y="345"/>
                  </a:lnTo>
                  <a:lnTo>
                    <a:pt x="69" y="348"/>
                  </a:lnTo>
                  <a:lnTo>
                    <a:pt x="69" y="351"/>
                  </a:lnTo>
                  <a:lnTo>
                    <a:pt x="72" y="351"/>
                  </a:lnTo>
                  <a:lnTo>
                    <a:pt x="72" y="354"/>
                  </a:lnTo>
                  <a:lnTo>
                    <a:pt x="69" y="354"/>
                  </a:lnTo>
                  <a:lnTo>
                    <a:pt x="72" y="357"/>
                  </a:lnTo>
                  <a:lnTo>
                    <a:pt x="69" y="357"/>
                  </a:lnTo>
                  <a:lnTo>
                    <a:pt x="72" y="357"/>
                  </a:lnTo>
                  <a:lnTo>
                    <a:pt x="72" y="360"/>
                  </a:lnTo>
                  <a:lnTo>
                    <a:pt x="75" y="357"/>
                  </a:lnTo>
                  <a:lnTo>
                    <a:pt x="75" y="354"/>
                  </a:lnTo>
                  <a:lnTo>
                    <a:pt x="78" y="354"/>
                  </a:lnTo>
                  <a:lnTo>
                    <a:pt x="81" y="354"/>
                  </a:lnTo>
                  <a:lnTo>
                    <a:pt x="84" y="354"/>
                  </a:lnTo>
                  <a:lnTo>
                    <a:pt x="87" y="354"/>
                  </a:lnTo>
                  <a:lnTo>
                    <a:pt x="87" y="357"/>
                  </a:lnTo>
                  <a:lnTo>
                    <a:pt x="90" y="357"/>
                  </a:lnTo>
                  <a:lnTo>
                    <a:pt x="90" y="360"/>
                  </a:lnTo>
                  <a:lnTo>
                    <a:pt x="93" y="360"/>
                  </a:lnTo>
                  <a:lnTo>
                    <a:pt x="96" y="360"/>
                  </a:lnTo>
                  <a:lnTo>
                    <a:pt x="96" y="357"/>
                  </a:lnTo>
                  <a:lnTo>
                    <a:pt x="99" y="360"/>
                  </a:lnTo>
                  <a:lnTo>
                    <a:pt x="99" y="363"/>
                  </a:lnTo>
                  <a:lnTo>
                    <a:pt x="99" y="360"/>
                  </a:lnTo>
                  <a:lnTo>
                    <a:pt x="102" y="360"/>
                  </a:lnTo>
                  <a:lnTo>
                    <a:pt x="102" y="357"/>
                  </a:lnTo>
                  <a:lnTo>
                    <a:pt x="102" y="354"/>
                  </a:lnTo>
                  <a:lnTo>
                    <a:pt x="105" y="354"/>
                  </a:lnTo>
                  <a:lnTo>
                    <a:pt x="105" y="351"/>
                  </a:lnTo>
                  <a:lnTo>
                    <a:pt x="108" y="351"/>
                  </a:lnTo>
                  <a:lnTo>
                    <a:pt x="108" y="348"/>
                  </a:lnTo>
                  <a:lnTo>
                    <a:pt x="108" y="345"/>
                  </a:lnTo>
                  <a:lnTo>
                    <a:pt x="108" y="348"/>
                  </a:lnTo>
                  <a:lnTo>
                    <a:pt x="111" y="348"/>
                  </a:lnTo>
                  <a:lnTo>
                    <a:pt x="111" y="345"/>
                  </a:lnTo>
                  <a:lnTo>
                    <a:pt x="114" y="345"/>
                  </a:lnTo>
                  <a:lnTo>
                    <a:pt x="114" y="342"/>
                  </a:lnTo>
                  <a:lnTo>
                    <a:pt x="111" y="342"/>
                  </a:lnTo>
                  <a:lnTo>
                    <a:pt x="111" y="339"/>
                  </a:lnTo>
                  <a:lnTo>
                    <a:pt x="108" y="339"/>
                  </a:lnTo>
                  <a:lnTo>
                    <a:pt x="108" y="342"/>
                  </a:lnTo>
                  <a:lnTo>
                    <a:pt x="108" y="339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5" y="339"/>
                  </a:lnTo>
                  <a:lnTo>
                    <a:pt x="105" y="336"/>
                  </a:lnTo>
                  <a:lnTo>
                    <a:pt x="102" y="336"/>
                  </a:lnTo>
                  <a:lnTo>
                    <a:pt x="102" y="333"/>
                  </a:lnTo>
                  <a:lnTo>
                    <a:pt x="99" y="333"/>
                  </a:lnTo>
                  <a:lnTo>
                    <a:pt x="99" y="330"/>
                  </a:lnTo>
                  <a:lnTo>
                    <a:pt x="96" y="327"/>
                  </a:lnTo>
                  <a:lnTo>
                    <a:pt x="99" y="327"/>
                  </a:lnTo>
                  <a:lnTo>
                    <a:pt x="99" y="324"/>
                  </a:lnTo>
                  <a:lnTo>
                    <a:pt x="96" y="324"/>
                  </a:lnTo>
                  <a:lnTo>
                    <a:pt x="96" y="321"/>
                  </a:lnTo>
                  <a:lnTo>
                    <a:pt x="93" y="321"/>
                  </a:lnTo>
                  <a:lnTo>
                    <a:pt x="90" y="318"/>
                  </a:lnTo>
                  <a:lnTo>
                    <a:pt x="93" y="318"/>
                  </a:lnTo>
                  <a:lnTo>
                    <a:pt x="90" y="315"/>
                  </a:lnTo>
                  <a:lnTo>
                    <a:pt x="90" y="312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4" y="312"/>
                  </a:lnTo>
                  <a:lnTo>
                    <a:pt x="81" y="312"/>
                  </a:lnTo>
                  <a:lnTo>
                    <a:pt x="78" y="312"/>
                  </a:lnTo>
                  <a:lnTo>
                    <a:pt x="75" y="312"/>
                  </a:lnTo>
                  <a:lnTo>
                    <a:pt x="75" y="309"/>
                  </a:lnTo>
                  <a:lnTo>
                    <a:pt x="72" y="309"/>
                  </a:lnTo>
                  <a:lnTo>
                    <a:pt x="69" y="309"/>
                  </a:lnTo>
                  <a:lnTo>
                    <a:pt x="69" y="306"/>
                  </a:lnTo>
                  <a:lnTo>
                    <a:pt x="66" y="306"/>
                  </a:lnTo>
                  <a:lnTo>
                    <a:pt x="63" y="306"/>
                  </a:lnTo>
                  <a:lnTo>
                    <a:pt x="63" y="303"/>
                  </a:lnTo>
                  <a:lnTo>
                    <a:pt x="60" y="303"/>
                  </a:lnTo>
                  <a:lnTo>
                    <a:pt x="60" y="30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27" name="Freeform 37">
              <a:extLst>
                <a:ext uri="{FF2B5EF4-FFF2-40B4-BE49-F238E27FC236}">
                  <a16:creationId xmlns:a16="http://schemas.microsoft.com/office/drawing/2014/main" id="{044C3F1C-5B06-4348-B16C-13410F5B705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89450" y="3379788"/>
              <a:ext cx="403225" cy="395287"/>
            </a:xfrm>
            <a:custGeom>
              <a:avLst/>
              <a:gdLst>
                <a:gd name="T0" fmla="*/ 272770 w 204"/>
                <a:gd name="T1" fmla="*/ 0 h 201"/>
                <a:gd name="T2" fmla="*/ 284629 w 204"/>
                <a:gd name="T3" fmla="*/ 23599 h 201"/>
                <a:gd name="T4" fmla="*/ 296489 w 204"/>
                <a:gd name="T5" fmla="*/ 35399 h 201"/>
                <a:gd name="T6" fmla="*/ 314278 w 204"/>
                <a:gd name="T7" fmla="*/ 47198 h 201"/>
                <a:gd name="T8" fmla="*/ 326138 w 204"/>
                <a:gd name="T9" fmla="*/ 58998 h 201"/>
                <a:gd name="T10" fmla="*/ 349857 w 204"/>
                <a:gd name="T11" fmla="*/ 70798 h 201"/>
                <a:gd name="T12" fmla="*/ 361717 w 204"/>
                <a:gd name="T13" fmla="*/ 88497 h 201"/>
                <a:gd name="T14" fmla="*/ 385436 w 204"/>
                <a:gd name="T15" fmla="*/ 106197 h 201"/>
                <a:gd name="T16" fmla="*/ 397295 w 204"/>
                <a:gd name="T17" fmla="*/ 129796 h 201"/>
                <a:gd name="T18" fmla="*/ 397295 w 204"/>
                <a:gd name="T19" fmla="*/ 153395 h 201"/>
                <a:gd name="T20" fmla="*/ 379506 w 204"/>
                <a:gd name="T21" fmla="*/ 171094 h 201"/>
                <a:gd name="T22" fmla="*/ 379506 w 204"/>
                <a:gd name="T23" fmla="*/ 188794 h 201"/>
                <a:gd name="T24" fmla="*/ 367646 w 204"/>
                <a:gd name="T25" fmla="*/ 200593 h 201"/>
                <a:gd name="T26" fmla="*/ 349857 w 204"/>
                <a:gd name="T27" fmla="*/ 224193 h 201"/>
                <a:gd name="T28" fmla="*/ 355787 w 204"/>
                <a:gd name="T29" fmla="*/ 247792 h 201"/>
                <a:gd name="T30" fmla="*/ 343927 w 204"/>
                <a:gd name="T31" fmla="*/ 259591 h 201"/>
                <a:gd name="T32" fmla="*/ 326138 w 204"/>
                <a:gd name="T33" fmla="*/ 271391 h 201"/>
                <a:gd name="T34" fmla="*/ 302419 w 204"/>
                <a:gd name="T35" fmla="*/ 289090 h 201"/>
                <a:gd name="T36" fmla="*/ 266840 w 204"/>
                <a:gd name="T37" fmla="*/ 294990 h 201"/>
                <a:gd name="T38" fmla="*/ 231261 w 204"/>
                <a:gd name="T39" fmla="*/ 294990 h 201"/>
                <a:gd name="T40" fmla="*/ 213472 w 204"/>
                <a:gd name="T41" fmla="*/ 318590 h 201"/>
                <a:gd name="T42" fmla="*/ 207542 w 204"/>
                <a:gd name="T43" fmla="*/ 336289 h 201"/>
                <a:gd name="T44" fmla="*/ 189753 w 204"/>
                <a:gd name="T45" fmla="*/ 359888 h 201"/>
                <a:gd name="T46" fmla="*/ 189753 w 204"/>
                <a:gd name="T47" fmla="*/ 377588 h 201"/>
                <a:gd name="T48" fmla="*/ 171964 w 204"/>
                <a:gd name="T49" fmla="*/ 383487 h 201"/>
                <a:gd name="T50" fmla="*/ 148244 w 204"/>
                <a:gd name="T51" fmla="*/ 377588 h 201"/>
                <a:gd name="T52" fmla="*/ 130455 w 204"/>
                <a:gd name="T53" fmla="*/ 359888 h 201"/>
                <a:gd name="T54" fmla="*/ 112666 w 204"/>
                <a:gd name="T55" fmla="*/ 342189 h 201"/>
                <a:gd name="T56" fmla="*/ 100806 w 204"/>
                <a:gd name="T57" fmla="*/ 330389 h 201"/>
                <a:gd name="T58" fmla="*/ 88947 w 204"/>
                <a:gd name="T59" fmla="*/ 318590 h 201"/>
                <a:gd name="T60" fmla="*/ 71157 w 204"/>
                <a:gd name="T61" fmla="*/ 300890 h 201"/>
                <a:gd name="T62" fmla="*/ 47438 w 204"/>
                <a:gd name="T63" fmla="*/ 289090 h 201"/>
                <a:gd name="T64" fmla="*/ 35579 w 204"/>
                <a:gd name="T65" fmla="*/ 265491 h 201"/>
                <a:gd name="T66" fmla="*/ 23719 w 204"/>
                <a:gd name="T67" fmla="*/ 235992 h 201"/>
                <a:gd name="T68" fmla="*/ 5930 w 204"/>
                <a:gd name="T69" fmla="*/ 206493 h 201"/>
                <a:gd name="T70" fmla="*/ 5930 w 204"/>
                <a:gd name="T71" fmla="*/ 194694 h 201"/>
                <a:gd name="T72" fmla="*/ 23719 w 204"/>
                <a:gd name="T73" fmla="*/ 188794 h 201"/>
                <a:gd name="T74" fmla="*/ 41508 w 204"/>
                <a:gd name="T75" fmla="*/ 182894 h 201"/>
                <a:gd name="T76" fmla="*/ 53368 w 204"/>
                <a:gd name="T77" fmla="*/ 171094 h 201"/>
                <a:gd name="T78" fmla="*/ 65228 w 204"/>
                <a:gd name="T79" fmla="*/ 147495 h 201"/>
                <a:gd name="T80" fmla="*/ 77087 w 204"/>
                <a:gd name="T81" fmla="*/ 135696 h 201"/>
                <a:gd name="T82" fmla="*/ 83017 w 204"/>
                <a:gd name="T83" fmla="*/ 117996 h 201"/>
                <a:gd name="T84" fmla="*/ 94876 w 204"/>
                <a:gd name="T85" fmla="*/ 106197 h 201"/>
                <a:gd name="T86" fmla="*/ 106736 w 204"/>
                <a:gd name="T87" fmla="*/ 94397 h 201"/>
                <a:gd name="T88" fmla="*/ 118596 w 204"/>
                <a:gd name="T89" fmla="*/ 82597 h 201"/>
                <a:gd name="T90" fmla="*/ 118596 w 204"/>
                <a:gd name="T91" fmla="*/ 70798 h 201"/>
                <a:gd name="T92" fmla="*/ 130455 w 204"/>
                <a:gd name="T93" fmla="*/ 58998 h 201"/>
                <a:gd name="T94" fmla="*/ 142315 w 204"/>
                <a:gd name="T95" fmla="*/ 58998 h 201"/>
                <a:gd name="T96" fmla="*/ 148244 w 204"/>
                <a:gd name="T97" fmla="*/ 53098 h 201"/>
                <a:gd name="T98" fmla="*/ 166034 w 204"/>
                <a:gd name="T99" fmla="*/ 58998 h 201"/>
                <a:gd name="T100" fmla="*/ 171964 w 204"/>
                <a:gd name="T101" fmla="*/ 53098 h 201"/>
                <a:gd name="T102" fmla="*/ 183823 w 204"/>
                <a:gd name="T103" fmla="*/ 29499 h 201"/>
                <a:gd name="T104" fmla="*/ 213472 w 204"/>
                <a:gd name="T105" fmla="*/ 23599 h 201"/>
                <a:gd name="T106" fmla="*/ 231261 w 204"/>
                <a:gd name="T107" fmla="*/ 11800 h 2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01">
                  <a:moveTo>
                    <a:pt x="126" y="3"/>
                  </a:moveTo>
                  <a:lnTo>
                    <a:pt x="129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0"/>
                  </a:lnTo>
                  <a:lnTo>
                    <a:pt x="138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9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9"/>
                  </a:lnTo>
                  <a:lnTo>
                    <a:pt x="147" y="9"/>
                  </a:lnTo>
                  <a:lnTo>
                    <a:pt x="147" y="12"/>
                  </a:lnTo>
                  <a:lnTo>
                    <a:pt x="150" y="12"/>
                  </a:lnTo>
                  <a:lnTo>
                    <a:pt x="150" y="15"/>
                  </a:lnTo>
                  <a:lnTo>
                    <a:pt x="150" y="18"/>
                  </a:lnTo>
                  <a:lnTo>
                    <a:pt x="153" y="18"/>
                  </a:lnTo>
                  <a:lnTo>
                    <a:pt x="156" y="18"/>
                  </a:lnTo>
                  <a:lnTo>
                    <a:pt x="159" y="18"/>
                  </a:lnTo>
                  <a:lnTo>
                    <a:pt x="162" y="21"/>
                  </a:lnTo>
                  <a:lnTo>
                    <a:pt x="159" y="21"/>
                  </a:lnTo>
                  <a:lnTo>
                    <a:pt x="159" y="24"/>
                  </a:lnTo>
                  <a:lnTo>
                    <a:pt x="162" y="24"/>
                  </a:lnTo>
                  <a:lnTo>
                    <a:pt x="162" y="27"/>
                  </a:lnTo>
                  <a:lnTo>
                    <a:pt x="162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30"/>
                  </a:lnTo>
                  <a:lnTo>
                    <a:pt x="171" y="33"/>
                  </a:lnTo>
                  <a:lnTo>
                    <a:pt x="174" y="33"/>
                  </a:lnTo>
                  <a:lnTo>
                    <a:pt x="174" y="36"/>
                  </a:lnTo>
                  <a:lnTo>
                    <a:pt x="177" y="36"/>
                  </a:lnTo>
                  <a:lnTo>
                    <a:pt x="177" y="39"/>
                  </a:lnTo>
                  <a:lnTo>
                    <a:pt x="180" y="39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6" y="42"/>
                  </a:lnTo>
                  <a:lnTo>
                    <a:pt x="183" y="45"/>
                  </a:lnTo>
                  <a:lnTo>
                    <a:pt x="186" y="45"/>
                  </a:lnTo>
                  <a:lnTo>
                    <a:pt x="186" y="48"/>
                  </a:lnTo>
                  <a:lnTo>
                    <a:pt x="189" y="48"/>
                  </a:lnTo>
                  <a:lnTo>
                    <a:pt x="192" y="48"/>
                  </a:lnTo>
                  <a:lnTo>
                    <a:pt x="195" y="51"/>
                  </a:lnTo>
                  <a:lnTo>
                    <a:pt x="195" y="54"/>
                  </a:lnTo>
                  <a:lnTo>
                    <a:pt x="195" y="57"/>
                  </a:lnTo>
                  <a:lnTo>
                    <a:pt x="195" y="60"/>
                  </a:lnTo>
                  <a:lnTo>
                    <a:pt x="198" y="60"/>
                  </a:lnTo>
                  <a:lnTo>
                    <a:pt x="201" y="60"/>
                  </a:lnTo>
                  <a:lnTo>
                    <a:pt x="201" y="63"/>
                  </a:lnTo>
                  <a:lnTo>
                    <a:pt x="201" y="66"/>
                  </a:lnTo>
                  <a:lnTo>
                    <a:pt x="204" y="66"/>
                  </a:lnTo>
                  <a:lnTo>
                    <a:pt x="204" y="69"/>
                  </a:lnTo>
                  <a:lnTo>
                    <a:pt x="204" y="72"/>
                  </a:lnTo>
                  <a:lnTo>
                    <a:pt x="204" y="75"/>
                  </a:lnTo>
                  <a:lnTo>
                    <a:pt x="204" y="78"/>
                  </a:lnTo>
                  <a:lnTo>
                    <a:pt x="201" y="78"/>
                  </a:lnTo>
                  <a:lnTo>
                    <a:pt x="201" y="81"/>
                  </a:lnTo>
                  <a:lnTo>
                    <a:pt x="201" y="84"/>
                  </a:lnTo>
                  <a:lnTo>
                    <a:pt x="198" y="84"/>
                  </a:lnTo>
                  <a:lnTo>
                    <a:pt x="195" y="84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2" y="90"/>
                  </a:lnTo>
                  <a:lnTo>
                    <a:pt x="192" y="93"/>
                  </a:lnTo>
                  <a:lnTo>
                    <a:pt x="195" y="96"/>
                  </a:lnTo>
                  <a:lnTo>
                    <a:pt x="192" y="96"/>
                  </a:lnTo>
                  <a:lnTo>
                    <a:pt x="189" y="96"/>
                  </a:lnTo>
                  <a:lnTo>
                    <a:pt x="192" y="99"/>
                  </a:lnTo>
                  <a:lnTo>
                    <a:pt x="189" y="99"/>
                  </a:lnTo>
                  <a:lnTo>
                    <a:pt x="192" y="102"/>
                  </a:lnTo>
                  <a:lnTo>
                    <a:pt x="189" y="102"/>
                  </a:lnTo>
                  <a:lnTo>
                    <a:pt x="186" y="102"/>
                  </a:lnTo>
                  <a:lnTo>
                    <a:pt x="183" y="105"/>
                  </a:lnTo>
                  <a:lnTo>
                    <a:pt x="180" y="105"/>
                  </a:lnTo>
                  <a:lnTo>
                    <a:pt x="180" y="108"/>
                  </a:lnTo>
                  <a:lnTo>
                    <a:pt x="180" y="111"/>
                  </a:lnTo>
                  <a:lnTo>
                    <a:pt x="177" y="111"/>
                  </a:lnTo>
                  <a:lnTo>
                    <a:pt x="177" y="114"/>
                  </a:lnTo>
                  <a:lnTo>
                    <a:pt x="177" y="117"/>
                  </a:lnTo>
                  <a:lnTo>
                    <a:pt x="177" y="120"/>
                  </a:lnTo>
                  <a:lnTo>
                    <a:pt x="174" y="123"/>
                  </a:lnTo>
                  <a:lnTo>
                    <a:pt x="180" y="123"/>
                  </a:lnTo>
                  <a:lnTo>
                    <a:pt x="177" y="126"/>
                  </a:lnTo>
                  <a:lnTo>
                    <a:pt x="180" y="126"/>
                  </a:lnTo>
                  <a:lnTo>
                    <a:pt x="180" y="129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4" y="132"/>
                  </a:lnTo>
                  <a:lnTo>
                    <a:pt x="171" y="132"/>
                  </a:lnTo>
                  <a:lnTo>
                    <a:pt x="171" y="135"/>
                  </a:lnTo>
                  <a:lnTo>
                    <a:pt x="168" y="135"/>
                  </a:lnTo>
                  <a:lnTo>
                    <a:pt x="168" y="138"/>
                  </a:lnTo>
                  <a:lnTo>
                    <a:pt x="168" y="135"/>
                  </a:lnTo>
                  <a:lnTo>
                    <a:pt x="165" y="138"/>
                  </a:lnTo>
                  <a:lnTo>
                    <a:pt x="165" y="141"/>
                  </a:lnTo>
                  <a:lnTo>
                    <a:pt x="162" y="141"/>
                  </a:lnTo>
                  <a:lnTo>
                    <a:pt x="159" y="144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53" y="147"/>
                  </a:lnTo>
                  <a:lnTo>
                    <a:pt x="150" y="147"/>
                  </a:lnTo>
                  <a:lnTo>
                    <a:pt x="147" y="147"/>
                  </a:lnTo>
                  <a:lnTo>
                    <a:pt x="144" y="147"/>
                  </a:lnTo>
                  <a:lnTo>
                    <a:pt x="141" y="150"/>
                  </a:lnTo>
                  <a:lnTo>
                    <a:pt x="138" y="150"/>
                  </a:lnTo>
                  <a:lnTo>
                    <a:pt x="135" y="150"/>
                  </a:lnTo>
                  <a:lnTo>
                    <a:pt x="129" y="150"/>
                  </a:lnTo>
                  <a:lnTo>
                    <a:pt x="126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6"/>
                  </a:lnTo>
                  <a:lnTo>
                    <a:pt x="111" y="156"/>
                  </a:lnTo>
                  <a:lnTo>
                    <a:pt x="111" y="159"/>
                  </a:lnTo>
                  <a:lnTo>
                    <a:pt x="108" y="162"/>
                  </a:lnTo>
                  <a:lnTo>
                    <a:pt x="105" y="162"/>
                  </a:lnTo>
                  <a:lnTo>
                    <a:pt x="102" y="162"/>
                  </a:lnTo>
                  <a:lnTo>
                    <a:pt x="99" y="165"/>
                  </a:lnTo>
                  <a:lnTo>
                    <a:pt x="102" y="168"/>
                  </a:lnTo>
                  <a:lnTo>
                    <a:pt x="105" y="168"/>
                  </a:lnTo>
                  <a:lnTo>
                    <a:pt x="105" y="171"/>
                  </a:lnTo>
                  <a:lnTo>
                    <a:pt x="105" y="174"/>
                  </a:lnTo>
                  <a:lnTo>
                    <a:pt x="105" y="177"/>
                  </a:lnTo>
                  <a:lnTo>
                    <a:pt x="102" y="177"/>
                  </a:lnTo>
                  <a:lnTo>
                    <a:pt x="99" y="180"/>
                  </a:lnTo>
                  <a:lnTo>
                    <a:pt x="96" y="180"/>
                  </a:lnTo>
                  <a:lnTo>
                    <a:pt x="96" y="183"/>
                  </a:lnTo>
                  <a:lnTo>
                    <a:pt x="99" y="183"/>
                  </a:lnTo>
                  <a:lnTo>
                    <a:pt x="99" y="186"/>
                  </a:lnTo>
                  <a:lnTo>
                    <a:pt x="96" y="186"/>
                  </a:lnTo>
                  <a:lnTo>
                    <a:pt x="99" y="189"/>
                  </a:lnTo>
                  <a:lnTo>
                    <a:pt x="96" y="189"/>
                  </a:lnTo>
                  <a:lnTo>
                    <a:pt x="96" y="192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201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87" y="195"/>
                  </a:lnTo>
                  <a:lnTo>
                    <a:pt x="84" y="195"/>
                  </a:lnTo>
                  <a:lnTo>
                    <a:pt x="81" y="195"/>
                  </a:lnTo>
                  <a:lnTo>
                    <a:pt x="81" y="198"/>
                  </a:lnTo>
                  <a:lnTo>
                    <a:pt x="78" y="195"/>
                  </a:lnTo>
                  <a:lnTo>
                    <a:pt x="78" y="192"/>
                  </a:lnTo>
                  <a:lnTo>
                    <a:pt x="75" y="192"/>
                  </a:lnTo>
                  <a:lnTo>
                    <a:pt x="75" y="189"/>
                  </a:lnTo>
                  <a:lnTo>
                    <a:pt x="72" y="189"/>
                  </a:lnTo>
                  <a:lnTo>
                    <a:pt x="69" y="189"/>
                  </a:lnTo>
                  <a:lnTo>
                    <a:pt x="69" y="186"/>
                  </a:lnTo>
                  <a:lnTo>
                    <a:pt x="66" y="186"/>
                  </a:lnTo>
                  <a:lnTo>
                    <a:pt x="66" y="183"/>
                  </a:lnTo>
                  <a:lnTo>
                    <a:pt x="66" y="180"/>
                  </a:lnTo>
                  <a:lnTo>
                    <a:pt x="63" y="180"/>
                  </a:lnTo>
                  <a:lnTo>
                    <a:pt x="63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57" y="174"/>
                  </a:lnTo>
                  <a:lnTo>
                    <a:pt x="57" y="177"/>
                  </a:lnTo>
                  <a:lnTo>
                    <a:pt x="57" y="174"/>
                  </a:lnTo>
                  <a:lnTo>
                    <a:pt x="57" y="171"/>
                  </a:lnTo>
                  <a:lnTo>
                    <a:pt x="57" y="168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51" y="165"/>
                  </a:lnTo>
                  <a:lnTo>
                    <a:pt x="51" y="162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8" y="162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2" y="153"/>
                  </a:lnTo>
                  <a:lnTo>
                    <a:pt x="39" y="153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50"/>
                  </a:lnTo>
                  <a:lnTo>
                    <a:pt x="30" y="150"/>
                  </a:lnTo>
                  <a:lnTo>
                    <a:pt x="27" y="150"/>
                  </a:lnTo>
                  <a:lnTo>
                    <a:pt x="24" y="150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1" y="141"/>
                  </a:lnTo>
                  <a:lnTo>
                    <a:pt x="21" y="138"/>
                  </a:lnTo>
                  <a:lnTo>
                    <a:pt x="18" y="138"/>
                  </a:lnTo>
                  <a:lnTo>
                    <a:pt x="18" y="135"/>
                  </a:lnTo>
                  <a:lnTo>
                    <a:pt x="15" y="132"/>
                  </a:lnTo>
                  <a:lnTo>
                    <a:pt x="15" y="129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12" y="123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9" y="114"/>
                  </a:lnTo>
                  <a:lnTo>
                    <a:pt x="6" y="111"/>
                  </a:lnTo>
                  <a:lnTo>
                    <a:pt x="6" y="108"/>
                  </a:lnTo>
                  <a:lnTo>
                    <a:pt x="3" y="108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2" y="96"/>
                  </a:lnTo>
                  <a:lnTo>
                    <a:pt x="12" y="93"/>
                  </a:lnTo>
                  <a:lnTo>
                    <a:pt x="12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8" y="93"/>
                  </a:lnTo>
                  <a:lnTo>
                    <a:pt x="21" y="93"/>
                  </a:lnTo>
                  <a:lnTo>
                    <a:pt x="21" y="90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7"/>
                  </a:lnTo>
                  <a:lnTo>
                    <a:pt x="27" y="87"/>
                  </a:lnTo>
                  <a:lnTo>
                    <a:pt x="30" y="87"/>
                  </a:lnTo>
                  <a:lnTo>
                    <a:pt x="30" y="84"/>
                  </a:lnTo>
                  <a:lnTo>
                    <a:pt x="30" y="81"/>
                  </a:lnTo>
                  <a:lnTo>
                    <a:pt x="33" y="81"/>
                  </a:lnTo>
                  <a:lnTo>
                    <a:pt x="33" y="78"/>
                  </a:lnTo>
                  <a:lnTo>
                    <a:pt x="33" y="75"/>
                  </a:lnTo>
                  <a:lnTo>
                    <a:pt x="36" y="75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9" y="69"/>
                  </a:lnTo>
                  <a:lnTo>
                    <a:pt x="36" y="69"/>
                  </a:lnTo>
                  <a:lnTo>
                    <a:pt x="39" y="69"/>
                  </a:lnTo>
                  <a:lnTo>
                    <a:pt x="42" y="69"/>
                  </a:lnTo>
                  <a:lnTo>
                    <a:pt x="42" y="66"/>
                  </a:lnTo>
                  <a:lnTo>
                    <a:pt x="45" y="66"/>
                  </a:lnTo>
                  <a:lnTo>
                    <a:pt x="45" y="63"/>
                  </a:lnTo>
                  <a:lnTo>
                    <a:pt x="42" y="63"/>
                  </a:lnTo>
                  <a:lnTo>
                    <a:pt x="42" y="60"/>
                  </a:lnTo>
                  <a:lnTo>
                    <a:pt x="45" y="60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54"/>
                  </a:lnTo>
                  <a:lnTo>
                    <a:pt x="48" y="54"/>
                  </a:lnTo>
                  <a:lnTo>
                    <a:pt x="51" y="54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54" y="48"/>
                  </a:lnTo>
                  <a:lnTo>
                    <a:pt x="57" y="48"/>
                  </a:lnTo>
                  <a:lnTo>
                    <a:pt x="54" y="48"/>
                  </a:lnTo>
                  <a:lnTo>
                    <a:pt x="54" y="45"/>
                  </a:lnTo>
                  <a:lnTo>
                    <a:pt x="54" y="42"/>
                  </a:lnTo>
                  <a:lnTo>
                    <a:pt x="57" y="42"/>
                  </a:lnTo>
                  <a:lnTo>
                    <a:pt x="60" y="42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3" y="33"/>
                  </a:lnTo>
                  <a:lnTo>
                    <a:pt x="63" y="36"/>
                  </a:lnTo>
                  <a:lnTo>
                    <a:pt x="63" y="33"/>
                  </a:lnTo>
                  <a:lnTo>
                    <a:pt x="63" y="30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78" y="27"/>
                  </a:lnTo>
                  <a:lnTo>
                    <a:pt x="81" y="27"/>
                  </a:lnTo>
                  <a:lnTo>
                    <a:pt x="81" y="30"/>
                  </a:lnTo>
                  <a:lnTo>
                    <a:pt x="81" y="27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7" y="27"/>
                  </a:lnTo>
                  <a:lnTo>
                    <a:pt x="87" y="24"/>
                  </a:lnTo>
                  <a:lnTo>
                    <a:pt x="90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3" y="18"/>
                  </a:lnTo>
                  <a:lnTo>
                    <a:pt x="93" y="15"/>
                  </a:lnTo>
                  <a:lnTo>
                    <a:pt x="96" y="15"/>
                  </a:lnTo>
                  <a:lnTo>
                    <a:pt x="96" y="12"/>
                  </a:lnTo>
                  <a:lnTo>
                    <a:pt x="99" y="12"/>
                  </a:lnTo>
                  <a:lnTo>
                    <a:pt x="102" y="12"/>
                  </a:lnTo>
                  <a:lnTo>
                    <a:pt x="105" y="12"/>
                  </a:lnTo>
                  <a:lnTo>
                    <a:pt x="108" y="12"/>
                  </a:lnTo>
                  <a:lnTo>
                    <a:pt x="111" y="12"/>
                  </a:lnTo>
                  <a:lnTo>
                    <a:pt x="114" y="9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3"/>
                  </a:lnTo>
                  <a:lnTo>
                    <a:pt x="117" y="6"/>
                  </a:lnTo>
                  <a:lnTo>
                    <a:pt x="123" y="3"/>
                  </a:lnTo>
                  <a:lnTo>
                    <a:pt x="126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28" name="Freeform 38">
              <a:extLst>
                <a:ext uri="{FF2B5EF4-FFF2-40B4-BE49-F238E27FC236}">
                  <a16:creationId xmlns:a16="http://schemas.microsoft.com/office/drawing/2014/main" id="{61348DAF-49E0-415D-B90C-91504C04B3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9975" y="3640138"/>
              <a:ext cx="123825" cy="123825"/>
            </a:xfrm>
            <a:custGeom>
              <a:avLst/>
              <a:gdLst>
                <a:gd name="T0" fmla="*/ 11793 w 63"/>
                <a:gd name="T1" fmla="*/ 5896 h 63"/>
                <a:gd name="T2" fmla="*/ 17689 w 63"/>
                <a:gd name="T3" fmla="*/ 0 h 63"/>
                <a:gd name="T4" fmla="*/ 23586 w 63"/>
                <a:gd name="T5" fmla="*/ 5896 h 63"/>
                <a:gd name="T6" fmla="*/ 29482 w 63"/>
                <a:gd name="T7" fmla="*/ 11793 h 63"/>
                <a:gd name="T8" fmla="*/ 35379 w 63"/>
                <a:gd name="T9" fmla="*/ 17689 h 63"/>
                <a:gd name="T10" fmla="*/ 47171 w 63"/>
                <a:gd name="T11" fmla="*/ 17689 h 63"/>
                <a:gd name="T12" fmla="*/ 53068 w 63"/>
                <a:gd name="T13" fmla="*/ 23586 h 63"/>
                <a:gd name="T14" fmla="*/ 64861 w 63"/>
                <a:gd name="T15" fmla="*/ 23586 h 63"/>
                <a:gd name="T16" fmla="*/ 70757 w 63"/>
                <a:gd name="T17" fmla="*/ 17689 h 63"/>
                <a:gd name="T18" fmla="*/ 70757 w 63"/>
                <a:gd name="T19" fmla="*/ 17689 h 63"/>
                <a:gd name="T20" fmla="*/ 76654 w 63"/>
                <a:gd name="T21" fmla="*/ 23586 h 63"/>
                <a:gd name="T22" fmla="*/ 82550 w 63"/>
                <a:gd name="T23" fmla="*/ 35379 h 63"/>
                <a:gd name="T24" fmla="*/ 82550 w 63"/>
                <a:gd name="T25" fmla="*/ 41275 h 63"/>
                <a:gd name="T26" fmla="*/ 88446 w 63"/>
                <a:gd name="T27" fmla="*/ 47171 h 63"/>
                <a:gd name="T28" fmla="*/ 94343 w 63"/>
                <a:gd name="T29" fmla="*/ 53068 h 63"/>
                <a:gd name="T30" fmla="*/ 94343 w 63"/>
                <a:gd name="T31" fmla="*/ 58964 h 63"/>
                <a:gd name="T32" fmla="*/ 100239 w 63"/>
                <a:gd name="T33" fmla="*/ 64861 h 63"/>
                <a:gd name="T34" fmla="*/ 106136 w 63"/>
                <a:gd name="T35" fmla="*/ 70757 h 63"/>
                <a:gd name="T36" fmla="*/ 106136 w 63"/>
                <a:gd name="T37" fmla="*/ 70757 h 63"/>
                <a:gd name="T38" fmla="*/ 106136 w 63"/>
                <a:gd name="T39" fmla="*/ 70757 h 63"/>
                <a:gd name="T40" fmla="*/ 112032 w 63"/>
                <a:gd name="T41" fmla="*/ 76654 h 63"/>
                <a:gd name="T42" fmla="*/ 112032 w 63"/>
                <a:gd name="T43" fmla="*/ 76654 h 63"/>
                <a:gd name="T44" fmla="*/ 117929 w 63"/>
                <a:gd name="T45" fmla="*/ 82550 h 63"/>
                <a:gd name="T46" fmla="*/ 123825 w 63"/>
                <a:gd name="T47" fmla="*/ 88446 h 63"/>
                <a:gd name="T48" fmla="*/ 117929 w 63"/>
                <a:gd name="T49" fmla="*/ 94343 h 63"/>
                <a:gd name="T50" fmla="*/ 112032 w 63"/>
                <a:gd name="T51" fmla="*/ 88446 h 63"/>
                <a:gd name="T52" fmla="*/ 112032 w 63"/>
                <a:gd name="T53" fmla="*/ 100239 h 63"/>
                <a:gd name="T54" fmla="*/ 106136 w 63"/>
                <a:gd name="T55" fmla="*/ 106136 h 63"/>
                <a:gd name="T56" fmla="*/ 100239 w 63"/>
                <a:gd name="T57" fmla="*/ 112032 h 63"/>
                <a:gd name="T58" fmla="*/ 94343 w 63"/>
                <a:gd name="T59" fmla="*/ 117929 h 63"/>
                <a:gd name="T60" fmla="*/ 94343 w 63"/>
                <a:gd name="T61" fmla="*/ 117929 h 63"/>
                <a:gd name="T62" fmla="*/ 88446 w 63"/>
                <a:gd name="T63" fmla="*/ 117929 h 63"/>
                <a:gd name="T64" fmla="*/ 76654 w 63"/>
                <a:gd name="T65" fmla="*/ 117929 h 63"/>
                <a:gd name="T66" fmla="*/ 70757 w 63"/>
                <a:gd name="T67" fmla="*/ 112032 h 63"/>
                <a:gd name="T68" fmla="*/ 64861 w 63"/>
                <a:gd name="T69" fmla="*/ 106136 h 63"/>
                <a:gd name="T70" fmla="*/ 53068 w 63"/>
                <a:gd name="T71" fmla="*/ 106136 h 63"/>
                <a:gd name="T72" fmla="*/ 47171 w 63"/>
                <a:gd name="T73" fmla="*/ 112032 h 63"/>
                <a:gd name="T74" fmla="*/ 41275 w 63"/>
                <a:gd name="T75" fmla="*/ 112032 h 63"/>
                <a:gd name="T76" fmla="*/ 41275 w 63"/>
                <a:gd name="T77" fmla="*/ 112032 h 63"/>
                <a:gd name="T78" fmla="*/ 41275 w 63"/>
                <a:gd name="T79" fmla="*/ 106136 h 63"/>
                <a:gd name="T80" fmla="*/ 35379 w 63"/>
                <a:gd name="T81" fmla="*/ 100239 h 63"/>
                <a:gd name="T82" fmla="*/ 35379 w 63"/>
                <a:gd name="T83" fmla="*/ 88446 h 63"/>
                <a:gd name="T84" fmla="*/ 23586 w 63"/>
                <a:gd name="T85" fmla="*/ 76654 h 63"/>
                <a:gd name="T86" fmla="*/ 23586 w 63"/>
                <a:gd name="T87" fmla="*/ 70757 h 63"/>
                <a:gd name="T88" fmla="*/ 17689 w 63"/>
                <a:gd name="T89" fmla="*/ 58964 h 63"/>
                <a:gd name="T90" fmla="*/ 23586 w 63"/>
                <a:gd name="T91" fmla="*/ 53068 h 63"/>
                <a:gd name="T92" fmla="*/ 11793 w 63"/>
                <a:gd name="T93" fmla="*/ 47171 h 63"/>
                <a:gd name="T94" fmla="*/ 0 w 63"/>
                <a:gd name="T95" fmla="*/ 41275 h 63"/>
                <a:gd name="T96" fmla="*/ 5896 w 63"/>
                <a:gd name="T97" fmla="*/ 29482 h 63"/>
                <a:gd name="T98" fmla="*/ 11793 w 63"/>
                <a:gd name="T99" fmla="*/ 17689 h 63"/>
                <a:gd name="T100" fmla="*/ 17689 w 63"/>
                <a:gd name="T101" fmla="*/ 11793 h 63"/>
                <a:gd name="T102" fmla="*/ 5896 w 63"/>
                <a:gd name="T103" fmla="*/ 5896 h 6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3" h="63">
                  <a:moveTo>
                    <a:pt x="3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6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3" y="12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9" y="12"/>
                  </a:lnTo>
                  <a:lnTo>
                    <a:pt x="39" y="15"/>
                  </a:lnTo>
                  <a:lnTo>
                    <a:pt x="42" y="18"/>
                  </a:lnTo>
                  <a:lnTo>
                    <a:pt x="39" y="18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7"/>
                  </a:lnTo>
                  <a:lnTo>
                    <a:pt x="45" y="27"/>
                  </a:lnTo>
                  <a:lnTo>
                    <a:pt x="48" y="30"/>
                  </a:lnTo>
                  <a:lnTo>
                    <a:pt x="48" y="33"/>
                  </a:lnTo>
                  <a:lnTo>
                    <a:pt x="51" y="33"/>
                  </a:lnTo>
                  <a:lnTo>
                    <a:pt x="51" y="36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7" y="39"/>
                  </a:lnTo>
                  <a:lnTo>
                    <a:pt x="57" y="42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42"/>
                  </a:lnTo>
                  <a:lnTo>
                    <a:pt x="63" y="42"/>
                  </a:lnTo>
                  <a:lnTo>
                    <a:pt x="63" y="45"/>
                  </a:lnTo>
                  <a:lnTo>
                    <a:pt x="60" y="45"/>
                  </a:lnTo>
                  <a:lnTo>
                    <a:pt x="60" y="48"/>
                  </a:lnTo>
                  <a:lnTo>
                    <a:pt x="57" y="48"/>
                  </a:lnTo>
                  <a:lnTo>
                    <a:pt x="57" y="45"/>
                  </a:lnTo>
                  <a:lnTo>
                    <a:pt x="57" y="48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1" y="54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48" y="60"/>
                  </a:lnTo>
                  <a:lnTo>
                    <a:pt x="48" y="63"/>
                  </a:lnTo>
                  <a:lnTo>
                    <a:pt x="48" y="60"/>
                  </a:lnTo>
                  <a:lnTo>
                    <a:pt x="45" y="57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60"/>
                  </a:lnTo>
                  <a:lnTo>
                    <a:pt x="39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3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7"/>
                  </a:lnTo>
                  <a:lnTo>
                    <a:pt x="21" y="60"/>
                  </a:lnTo>
                  <a:lnTo>
                    <a:pt x="21" y="57"/>
                  </a:lnTo>
                  <a:lnTo>
                    <a:pt x="18" y="57"/>
                  </a:lnTo>
                  <a:lnTo>
                    <a:pt x="21" y="57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18" y="51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5" y="42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29" name="Freeform 39">
              <a:extLst>
                <a:ext uri="{FF2B5EF4-FFF2-40B4-BE49-F238E27FC236}">
                  <a16:creationId xmlns:a16="http://schemas.microsoft.com/office/drawing/2014/main" id="{AF1A73DB-4783-434F-A8E6-272C72D7ED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9838" y="3644900"/>
              <a:ext cx="1236662" cy="828675"/>
            </a:xfrm>
            <a:custGeom>
              <a:avLst/>
              <a:gdLst>
                <a:gd name="T0" fmla="*/ 1041711 w 628"/>
                <a:gd name="T1" fmla="*/ 41335 h 421"/>
                <a:gd name="T2" fmla="*/ 1000357 w 628"/>
                <a:gd name="T3" fmla="*/ 64956 h 421"/>
                <a:gd name="T4" fmla="*/ 1035803 w 628"/>
                <a:gd name="T5" fmla="*/ 106291 h 421"/>
                <a:gd name="T6" fmla="*/ 1077156 w 628"/>
                <a:gd name="T7" fmla="*/ 124006 h 421"/>
                <a:gd name="T8" fmla="*/ 1148048 w 628"/>
                <a:gd name="T9" fmla="*/ 135816 h 421"/>
                <a:gd name="T10" fmla="*/ 1171678 w 628"/>
                <a:gd name="T11" fmla="*/ 141721 h 421"/>
                <a:gd name="T12" fmla="*/ 1195309 w 628"/>
                <a:gd name="T13" fmla="*/ 153531 h 421"/>
                <a:gd name="T14" fmla="*/ 1224847 w 628"/>
                <a:gd name="T15" fmla="*/ 171246 h 421"/>
                <a:gd name="T16" fmla="*/ 1230754 w 628"/>
                <a:gd name="T17" fmla="*/ 200772 h 421"/>
                <a:gd name="T18" fmla="*/ 1207124 w 628"/>
                <a:gd name="T19" fmla="*/ 253917 h 421"/>
                <a:gd name="T20" fmla="*/ 1153955 w 628"/>
                <a:gd name="T21" fmla="*/ 295252 h 421"/>
                <a:gd name="T22" fmla="*/ 1106694 w 628"/>
                <a:gd name="T23" fmla="*/ 336588 h 421"/>
                <a:gd name="T24" fmla="*/ 1053526 w 628"/>
                <a:gd name="T25" fmla="*/ 395638 h 421"/>
                <a:gd name="T26" fmla="*/ 1012172 w 628"/>
                <a:gd name="T27" fmla="*/ 450752 h 421"/>
                <a:gd name="T28" fmla="*/ 959004 w 628"/>
                <a:gd name="T29" fmla="*/ 509802 h 421"/>
                <a:gd name="T30" fmla="*/ 899928 w 628"/>
                <a:gd name="T31" fmla="*/ 545233 h 421"/>
                <a:gd name="T32" fmla="*/ 852667 w 628"/>
                <a:gd name="T33" fmla="*/ 598378 h 421"/>
                <a:gd name="T34" fmla="*/ 799498 w 628"/>
                <a:gd name="T35" fmla="*/ 633808 h 421"/>
                <a:gd name="T36" fmla="*/ 734514 w 628"/>
                <a:gd name="T37" fmla="*/ 681049 h 421"/>
                <a:gd name="T38" fmla="*/ 675438 w 628"/>
                <a:gd name="T39" fmla="*/ 716479 h 421"/>
                <a:gd name="T40" fmla="*/ 610454 w 628"/>
                <a:gd name="T41" fmla="*/ 734194 h 421"/>
                <a:gd name="T42" fmla="*/ 545470 w 628"/>
                <a:gd name="T43" fmla="*/ 728289 h 421"/>
                <a:gd name="T44" fmla="*/ 486394 w 628"/>
                <a:gd name="T45" fmla="*/ 757814 h 421"/>
                <a:gd name="T46" fmla="*/ 462764 w 628"/>
                <a:gd name="T47" fmla="*/ 793245 h 421"/>
                <a:gd name="T48" fmla="*/ 397780 w 628"/>
                <a:gd name="T49" fmla="*/ 781435 h 421"/>
                <a:gd name="T50" fmla="*/ 356426 w 628"/>
                <a:gd name="T51" fmla="*/ 822770 h 421"/>
                <a:gd name="T52" fmla="*/ 291443 w 628"/>
                <a:gd name="T53" fmla="*/ 816865 h 421"/>
                <a:gd name="T54" fmla="*/ 224490 w 628"/>
                <a:gd name="T55" fmla="*/ 799150 h 421"/>
                <a:gd name="T56" fmla="*/ 153598 w 628"/>
                <a:gd name="T57" fmla="*/ 781435 h 421"/>
                <a:gd name="T58" fmla="*/ 129968 w 628"/>
                <a:gd name="T59" fmla="*/ 746004 h 421"/>
                <a:gd name="T60" fmla="*/ 147691 w 628"/>
                <a:gd name="T61" fmla="*/ 698764 h 421"/>
                <a:gd name="T62" fmla="*/ 70891 w 628"/>
                <a:gd name="T63" fmla="*/ 663334 h 421"/>
                <a:gd name="T64" fmla="*/ 17723 w 628"/>
                <a:gd name="T65" fmla="*/ 627903 h 421"/>
                <a:gd name="T66" fmla="*/ 64984 w 628"/>
                <a:gd name="T67" fmla="*/ 551138 h 421"/>
                <a:gd name="T68" fmla="*/ 94522 w 628"/>
                <a:gd name="T69" fmla="*/ 497992 h 421"/>
                <a:gd name="T70" fmla="*/ 153598 w 628"/>
                <a:gd name="T71" fmla="*/ 456657 h 421"/>
                <a:gd name="T72" fmla="*/ 206767 w 628"/>
                <a:gd name="T73" fmla="*/ 433037 h 421"/>
                <a:gd name="T74" fmla="*/ 238274 w 628"/>
                <a:gd name="T75" fmla="*/ 401543 h 421"/>
                <a:gd name="T76" fmla="*/ 232366 w 628"/>
                <a:gd name="T77" fmla="*/ 360208 h 421"/>
                <a:gd name="T78" fmla="*/ 285535 w 628"/>
                <a:gd name="T79" fmla="*/ 330683 h 421"/>
                <a:gd name="T80" fmla="*/ 320981 w 628"/>
                <a:gd name="T81" fmla="*/ 265727 h 421"/>
                <a:gd name="T82" fmla="*/ 391872 w 628"/>
                <a:gd name="T83" fmla="*/ 242107 h 421"/>
                <a:gd name="T84" fmla="*/ 445041 w 628"/>
                <a:gd name="T85" fmla="*/ 224392 h 421"/>
                <a:gd name="T86" fmla="*/ 462764 w 628"/>
                <a:gd name="T87" fmla="*/ 177151 h 421"/>
                <a:gd name="T88" fmla="*/ 468671 w 628"/>
                <a:gd name="T89" fmla="*/ 118101 h 421"/>
                <a:gd name="T90" fmla="*/ 510025 w 628"/>
                <a:gd name="T91" fmla="*/ 124006 h 421"/>
                <a:gd name="T92" fmla="*/ 551378 w 628"/>
                <a:gd name="T93" fmla="*/ 106291 h 421"/>
                <a:gd name="T94" fmla="*/ 586824 w 628"/>
                <a:gd name="T95" fmla="*/ 106291 h 421"/>
                <a:gd name="T96" fmla="*/ 622269 w 628"/>
                <a:gd name="T97" fmla="*/ 118101 h 421"/>
                <a:gd name="T98" fmla="*/ 675438 w 628"/>
                <a:gd name="T99" fmla="*/ 124006 h 421"/>
                <a:gd name="T100" fmla="*/ 710884 w 628"/>
                <a:gd name="T101" fmla="*/ 106291 h 421"/>
                <a:gd name="T102" fmla="*/ 746329 w 628"/>
                <a:gd name="T103" fmla="*/ 94481 h 421"/>
                <a:gd name="T104" fmla="*/ 764052 w 628"/>
                <a:gd name="T105" fmla="*/ 76766 h 421"/>
                <a:gd name="T106" fmla="*/ 775868 w 628"/>
                <a:gd name="T107" fmla="*/ 64956 h 421"/>
                <a:gd name="T108" fmla="*/ 781775 w 628"/>
                <a:gd name="T109" fmla="*/ 35430 h 421"/>
                <a:gd name="T110" fmla="*/ 823129 w 628"/>
                <a:gd name="T111" fmla="*/ 64956 h 421"/>
                <a:gd name="T112" fmla="*/ 852667 w 628"/>
                <a:gd name="T113" fmla="*/ 106291 h 421"/>
                <a:gd name="T114" fmla="*/ 899928 w 628"/>
                <a:gd name="T115" fmla="*/ 112196 h 421"/>
                <a:gd name="T116" fmla="*/ 911743 w 628"/>
                <a:gd name="T117" fmla="*/ 64956 h 421"/>
                <a:gd name="T118" fmla="*/ 959004 w 628"/>
                <a:gd name="T119" fmla="*/ 29525 h 421"/>
                <a:gd name="T120" fmla="*/ 1035803 w 628"/>
                <a:gd name="T121" fmla="*/ 5905 h 4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28" h="421">
                  <a:moveTo>
                    <a:pt x="529" y="0"/>
                  </a:moveTo>
                  <a:lnTo>
                    <a:pt x="529" y="3"/>
                  </a:lnTo>
                  <a:lnTo>
                    <a:pt x="532" y="3"/>
                  </a:lnTo>
                  <a:lnTo>
                    <a:pt x="532" y="6"/>
                  </a:lnTo>
                  <a:lnTo>
                    <a:pt x="535" y="6"/>
                  </a:lnTo>
                  <a:lnTo>
                    <a:pt x="535" y="9"/>
                  </a:lnTo>
                  <a:lnTo>
                    <a:pt x="538" y="12"/>
                  </a:lnTo>
                  <a:lnTo>
                    <a:pt x="538" y="15"/>
                  </a:lnTo>
                  <a:lnTo>
                    <a:pt x="538" y="18"/>
                  </a:lnTo>
                  <a:lnTo>
                    <a:pt x="535" y="15"/>
                  </a:lnTo>
                  <a:lnTo>
                    <a:pt x="535" y="18"/>
                  </a:lnTo>
                  <a:lnTo>
                    <a:pt x="532" y="18"/>
                  </a:lnTo>
                  <a:lnTo>
                    <a:pt x="532" y="21"/>
                  </a:lnTo>
                  <a:lnTo>
                    <a:pt x="529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29" y="24"/>
                  </a:lnTo>
                  <a:lnTo>
                    <a:pt x="526" y="24"/>
                  </a:lnTo>
                  <a:lnTo>
                    <a:pt x="526" y="27"/>
                  </a:lnTo>
                  <a:lnTo>
                    <a:pt x="526" y="30"/>
                  </a:lnTo>
                  <a:lnTo>
                    <a:pt x="523" y="27"/>
                  </a:lnTo>
                  <a:lnTo>
                    <a:pt x="520" y="27"/>
                  </a:lnTo>
                  <a:lnTo>
                    <a:pt x="520" y="30"/>
                  </a:lnTo>
                  <a:lnTo>
                    <a:pt x="517" y="33"/>
                  </a:lnTo>
                  <a:lnTo>
                    <a:pt x="514" y="33"/>
                  </a:lnTo>
                  <a:lnTo>
                    <a:pt x="511" y="30"/>
                  </a:lnTo>
                  <a:lnTo>
                    <a:pt x="508" y="30"/>
                  </a:lnTo>
                  <a:lnTo>
                    <a:pt x="508" y="33"/>
                  </a:lnTo>
                  <a:lnTo>
                    <a:pt x="508" y="36"/>
                  </a:lnTo>
                  <a:lnTo>
                    <a:pt x="508" y="39"/>
                  </a:lnTo>
                  <a:lnTo>
                    <a:pt x="511" y="42"/>
                  </a:lnTo>
                  <a:lnTo>
                    <a:pt x="508" y="42"/>
                  </a:lnTo>
                  <a:lnTo>
                    <a:pt x="508" y="48"/>
                  </a:lnTo>
                  <a:lnTo>
                    <a:pt x="511" y="51"/>
                  </a:lnTo>
                  <a:lnTo>
                    <a:pt x="514" y="51"/>
                  </a:lnTo>
                  <a:lnTo>
                    <a:pt x="514" y="54"/>
                  </a:lnTo>
                  <a:lnTo>
                    <a:pt x="517" y="54"/>
                  </a:lnTo>
                  <a:lnTo>
                    <a:pt x="517" y="57"/>
                  </a:lnTo>
                  <a:lnTo>
                    <a:pt x="520" y="57"/>
                  </a:lnTo>
                  <a:lnTo>
                    <a:pt x="523" y="57"/>
                  </a:lnTo>
                  <a:lnTo>
                    <a:pt x="526" y="57"/>
                  </a:lnTo>
                  <a:lnTo>
                    <a:pt x="526" y="54"/>
                  </a:lnTo>
                  <a:lnTo>
                    <a:pt x="529" y="51"/>
                  </a:lnTo>
                  <a:lnTo>
                    <a:pt x="532" y="51"/>
                  </a:lnTo>
                  <a:lnTo>
                    <a:pt x="535" y="54"/>
                  </a:lnTo>
                  <a:lnTo>
                    <a:pt x="538" y="54"/>
                  </a:lnTo>
                  <a:lnTo>
                    <a:pt x="538" y="57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7" y="63"/>
                  </a:lnTo>
                  <a:lnTo>
                    <a:pt x="550" y="63"/>
                  </a:lnTo>
                  <a:lnTo>
                    <a:pt x="553" y="63"/>
                  </a:lnTo>
                  <a:lnTo>
                    <a:pt x="556" y="63"/>
                  </a:lnTo>
                  <a:lnTo>
                    <a:pt x="556" y="66"/>
                  </a:lnTo>
                  <a:lnTo>
                    <a:pt x="559" y="66"/>
                  </a:lnTo>
                  <a:lnTo>
                    <a:pt x="562" y="63"/>
                  </a:lnTo>
                  <a:lnTo>
                    <a:pt x="565" y="63"/>
                  </a:lnTo>
                  <a:lnTo>
                    <a:pt x="568" y="63"/>
                  </a:lnTo>
                  <a:lnTo>
                    <a:pt x="571" y="63"/>
                  </a:lnTo>
                  <a:lnTo>
                    <a:pt x="574" y="66"/>
                  </a:lnTo>
                  <a:lnTo>
                    <a:pt x="577" y="66"/>
                  </a:lnTo>
                  <a:lnTo>
                    <a:pt x="577" y="69"/>
                  </a:lnTo>
                  <a:lnTo>
                    <a:pt x="580" y="69"/>
                  </a:lnTo>
                  <a:lnTo>
                    <a:pt x="583" y="69"/>
                  </a:lnTo>
                  <a:lnTo>
                    <a:pt x="583" y="66"/>
                  </a:lnTo>
                  <a:lnTo>
                    <a:pt x="586" y="66"/>
                  </a:lnTo>
                  <a:lnTo>
                    <a:pt x="586" y="69"/>
                  </a:lnTo>
                  <a:lnTo>
                    <a:pt x="589" y="69"/>
                  </a:lnTo>
                  <a:lnTo>
                    <a:pt x="589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601" y="75"/>
                  </a:lnTo>
                  <a:lnTo>
                    <a:pt x="604" y="75"/>
                  </a:lnTo>
                  <a:lnTo>
                    <a:pt x="601" y="75"/>
                  </a:lnTo>
                  <a:lnTo>
                    <a:pt x="601" y="78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7" y="75"/>
                  </a:lnTo>
                  <a:lnTo>
                    <a:pt x="607" y="78"/>
                  </a:lnTo>
                  <a:lnTo>
                    <a:pt x="607" y="81"/>
                  </a:lnTo>
                  <a:lnTo>
                    <a:pt x="610" y="81"/>
                  </a:lnTo>
                  <a:lnTo>
                    <a:pt x="607" y="81"/>
                  </a:lnTo>
                  <a:lnTo>
                    <a:pt x="607" y="84"/>
                  </a:lnTo>
                  <a:lnTo>
                    <a:pt x="610" y="84"/>
                  </a:lnTo>
                  <a:lnTo>
                    <a:pt x="610" y="81"/>
                  </a:lnTo>
                  <a:lnTo>
                    <a:pt x="613" y="81"/>
                  </a:lnTo>
                  <a:lnTo>
                    <a:pt x="613" y="84"/>
                  </a:lnTo>
                  <a:lnTo>
                    <a:pt x="616" y="84"/>
                  </a:lnTo>
                  <a:lnTo>
                    <a:pt x="619" y="84"/>
                  </a:lnTo>
                  <a:lnTo>
                    <a:pt x="619" y="87"/>
                  </a:lnTo>
                  <a:lnTo>
                    <a:pt x="616" y="87"/>
                  </a:lnTo>
                  <a:lnTo>
                    <a:pt x="619" y="87"/>
                  </a:lnTo>
                  <a:lnTo>
                    <a:pt x="622" y="87"/>
                  </a:lnTo>
                  <a:lnTo>
                    <a:pt x="622" y="90"/>
                  </a:lnTo>
                  <a:lnTo>
                    <a:pt x="625" y="90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2" y="96"/>
                  </a:lnTo>
                  <a:lnTo>
                    <a:pt x="625" y="96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2" y="102"/>
                  </a:lnTo>
                  <a:lnTo>
                    <a:pt x="625" y="102"/>
                  </a:lnTo>
                  <a:lnTo>
                    <a:pt x="625" y="105"/>
                  </a:lnTo>
                  <a:lnTo>
                    <a:pt x="628" y="105"/>
                  </a:lnTo>
                  <a:lnTo>
                    <a:pt x="628" y="108"/>
                  </a:lnTo>
                  <a:lnTo>
                    <a:pt x="625" y="111"/>
                  </a:lnTo>
                  <a:lnTo>
                    <a:pt x="625" y="114"/>
                  </a:lnTo>
                  <a:lnTo>
                    <a:pt x="622" y="114"/>
                  </a:lnTo>
                  <a:lnTo>
                    <a:pt x="622" y="117"/>
                  </a:lnTo>
                  <a:lnTo>
                    <a:pt x="619" y="117"/>
                  </a:lnTo>
                  <a:lnTo>
                    <a:pt x="619" y="120"/>
                  </a:lnTo>
                  <a:lnTo>
                    <a:pt x="616" y="120"/>
                  </a:lnTo>
                  <a:lnTo>
                    <a:pt x="616" y="123"/>
                  </a:lnTo>
                  <a:lnTo>
                    <a:pt x="616" y="126"/>
                  </a:lnTo>
                  <a:lnTo>
                    <a:pt x="613" y="126"/>
                  </a:lnTo>
                  <a:lnTo>
                    <a:pt x="613" y="129"/>
                  </a:lnTo>
                  <a:lnTo>
                    <a:pt x="610" y="129"/>
                  </a:lnTo>
                  <a:lnTo>
                    <a:pt x="607" y="132"/>
                  </a:lnTo>
                  <a:lnTo>
                    <a:pt x="607" y="135"/>
                  </a:lnTo>
                  <a:lnTo>
                    <a:pt x="604" y="135"/>
                  </a:lnTo>
                  <a:lnTo>
                    <a:pt x="604" y="138"/>
                  </a:lnTo>
                  <a:lnTo>
                    <a:pt x="601" y="138"/>
                  </a:lnTo>
                  <a:lnTo>
                    <a:pt x="601" y="141"/>
                  </a:lnTo>
                  <a:lnTo>
                    <a:pt x="598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89" y="144"/>
                  </a:lnTo>
                  <a:lnTo>
                    <a:pt x="589" y="147"/>
                  </a:lnTo>
                  <a:lnTo>
                    <a:pt x="586" y="150"/>
                  </a:lnTo>
                  <a:lnTo>
                    <a:pt x="583" y="153"/>
                  </a:lnTo>
                  <a:lnTo>
                    <a:pt x="580" y="153"/>
                  </a:lnTo>
                  <a:lnTo>
                    <a:pt x="580" y="156"/>
                  </a:lnTo>
                  <a:lnTo>
                    <a:pt x="577" y="156"/>
                  </a:lnTo>
                  <a:lnTo>
                    <a:pt x="577" y="159"/>
                  </a:lnTo>
                  <a:lnTo>
                    <a:pt x="574" y="159"/>
                  </a:lnTo>
                  <a:lnTo>
                    <a:pt x="574" y="162"/>
                  </a:lnTo>
                  <a:lnTo>
                    <a:pt x="571" y="162"/>
                  </a:lnTo>
                  <a:lnTo>
                    <a:pt x="571" y="165"/>
                  </a:lnTo>
                  <a:lnTo>
                    <a:pt x="568" y="165"/>
                  </a:lnTo>
                  <a:lnTo>
                    <a:pt x="565" y="165"/>
                  </a:lnTo>
                  <a:lnTo>
                    <a:pt x="565" y="168"/>
                  </a:lnTo>
                  <a:lnTo>
                    <a:pt x="562" y="168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4"/>
                  </a:lnTo>
                  <a:lnTo>
                    <a:pt x="556" y="174"/>
                  </a:lnTo>
                  <a:lnTo>
                    <a:pt x="556" y="177"/>
                  </a:lnTo>
                  <a:lnTo>
                    <a:pt x="553" y="180"/>
                  </a:lnTo>
                  <a:lnTo>
                    <a:pt x="550" y="183"/>
                  </a:lnTo>
                  <a:lnTo>
                    <a:pt x="550" y="186"/>
                  </a:lnTo>
                  <a:lnTo>
                    <a:pt x="547" y="189"/>
                  </a:lnTo>
                  <a:lnTo>
                    <a:pt x="547" y="192"/>
                  </a:lnTo>
                  <a:lnTo>
                    <a:pt x="544" y="192"/>
                  </a:lnTo>
                  <a:lnTo>
                    <a:pt x="541" y="195"/>
                  </a:lnTo>
                  <a:lnTo>
                    <a:pt x="538" y="198"/>
                  </a:lnTo>
                  <a:lnTo>
                    <a:pt x="538" y="201"/>
                  </a:lnTo>
                  <a:lnTo>
                    <a:pt x="535" y="201"/>
                  </a:lnTo>
                  <a:lnTo>
                    <a:pt x="535" y="204"/>
                  </a:lnTo>
                  <a:lnTo>
                    <a:pt x="535" y="207"/>
                  </a:lnTo>
                  <a:lnTo>
                    <a:pt x="532" y="207"/>
                  </a:lnTo>
                  <a:lnTo>
                    <a:pt x="532" y="210"/>
                  </a:lnTo>
                  <a:lnTo>
                    <a:pt x="529" y="210"/>
                  </a:lnTo>
                  <a:lnTo>
                    <a:pt x="529" y="213"/>
                  </a:lnTo>
                  <a:lnTo>
                    <a:pt x="526" y="213"/>
                  </a:lnTo>
                  <a:lnTo>
                    <a:pt x="526" y="217"/>
                  </a:lnTo>
                  <a:lnTo>
                    <a:pt x="523" y="217"/>
                  </a:lnTo>
                  <a:lnTo>
                    <a:pt x="523" y="220"/>
                  </a:lnTo>
                  <a:lnTo>
                    <a:pt x="520" y="223"/>
                  </a:lnTo>
                  <a:lnTo>
                    <a:pt x="517" y="226"/>
                  </a:lnTo>
                  <a:lnTo>
                    <a:pt x="517" y="229"/>
                  </a:lnTo>
                  <a:lnTo>
                    <a:pt x="514" y="229"/>
                  </a:lnTo>
                  <a:lnTo>
                    <a:pt x="511" y="232"/>
                  </a:lnTo>
                  <a:lnTo>
                    <a:pt x="508" y="232"/>
                  </a:lnTo>
                  <a:lnTo>
                    <a:pt x="508" y="235"/>
                  </a:lnTo>
                  <a:lnTo>
                    <a:pt x="505" y="238"/>
                  </a:lnTo>
                  <a:lnTo>
                    <a:pt x="502" y="241"/>
                  </a:lnTo>
                  <a:lnTo>
                    <a:pt x="499" y="244"/>
                  </a:lnTo>
                  <a:lnTo>
                    <a:pt x="499" y="247"/>
                  </a:lnTo>
                  <a:lnTo>
                    <a:pt x="496" y="247"/>
                  </a:lnTo>
                  <a:lnTo>
                    <a:pt x="493" y="250"/>
                  </a:lnTo>
                  <a:lnTo>
                    <a:pt x="493" y="253"/>
                  </a:lnTo>
                  <a:lnTo>
                    <a:pt x="490" y="253"/>
                  </a:lnTo>
                  <a:lnTo>
                    <a:pt x="490" y="256"/>
                  </a:lnTo>
                  <a:lnTo>
                    <a:pt x="487" y="256"/>
                  </a:lnTo>
                  <a:lnTo>
                    <a:pt x="487" y="259"/>
                  </a:lnTo>
                  <a:lnTo>
                    <a:pt x="484" y="259"/>
                  </a:lnTo>
                  <a:lnTo>
                    <a:pt x="481" y="259"/>
                  </a:lnTo>
                  <a:lnTo>
                    <a:pt x="481" y="262"/>
                  </a:lnTo>
                  <a:lnTo>
                    <a:pt x="478" y="262"/>
                  </a:lnTo>
                  <a:lnTo>
                    <a:pt x="478" y="265"/>
                  </a:lnTo>
                  <a:lnTo>
                    <a:pt x="475" y="265"/>
                  </a:lnTo>
                  <a:lnTo>
                    <a:pt x="475" y="268"/>
                  </a:lnTo>
                  <a:lnTo>
                    <a:pt x="472" y="268"/>
                  </a:lnTo>
                  <a:lnTo>
                    <a:pt x="472" y="271"/>
                  </a:lnTo>
                  <a:lnTo>
                    <a:pt x="469" y="271"/>
                  </a:lnTo>
                  <a:lnTo>
                    <a:pt x="466" y="274"/>
                  </a:lnTo>
                  <a:lnTo>
                    <a:pt x="463" y="274"/>
                  </a:lnTo>
                  <a:lnTo>
                    <a:pt x="460" y="277"/>
                  </a:lnTo>
                  <a:lnTo>
                    <a:pt x="457" y="277"/>
                  </a:lnTo>
                  <a:lnTo>
                    <a:pt x="457" y="280"/>
                  </a:lnTo>
                  <a:lnTo>
                    <a:pt x="454" y="280"/>
                  </a:lnTo>
                  <a:lnTo>
                    <a:pt x="454" y="283"/>
                  </a:lnTo>
                  <a:lnTo>
                    <a:pt x="454" y="286"/>
                  </a:lnTo>
                  <a:lnTo>
                    <a:pt x="451" y="286"/>
                  </a:lnTo>
                  <a:lnTo>
                    <a:pt x="451" y="289"/>
                  </a:lnTo>
                  <a:lnTo>
                    <a:pt x="448" y="289"/>
                  </a:lnTo>
                  <a:lnTo>
                    <a:pt x="448" y="292"/>
                  </a:lnTo>
                  <a:lnTo>
                    <a:pt x="445" y="292"/>
                  </a:lnTo>
                  <a:lnTo>
                    <a:pt x="442" y="295"/>
                  </a:lnTo>
                  <a:lnTo>
                    <a:pt x="439" y="298"/>
                  </a:lnTo>
                  <a:lnTo>
                    <a:pt x="436" y="301"/>
                  </a:lnTo>
                  <a:lnTo>
                    <a:pt x="436" y="304"/>
                  </a:lnTo>
                  <a:lnTo>
                    <a:pt x="433" y="304"/>
                  </a:lnTo>
                  <a:lnTo>
                    <a:pt x="430" y="304"/>
                  </a:lnTo>
                  <a:lnTo>
                    <a:pt x="430" y="307"/>
                  </a:lnTo>
                  <a:lnTo>
                    <a:pt x="427" y="307"/>
                  </a:lnTo>
                  <a:lnTo>
                    <a:pt x="424" y="307"/>
                  </a:lnTo>
                  <a:lnTo>
                    <a:pt x="424" y="310"/>
                  </a:lnTo>
                  <a:lnTo>
                    <a:pt x="421" y="310"/>
                  </a:lnTo>
                  <a:lnTo>
                    <a:pt x="418" y="313"/>
                  </a:lnTo>
                  <a:lnTo>
                    <a:pt x="418" y="316"/>
                  </a:lnTo>
                  <a:lnTo>
                    <a:pt x="415" y="316"/>
                  </a:lnTo>
                  <a:lnTo>
                    <a:pt x="415" y="319"/>
                  </a:lnTo>
                  <a:lnTo>
                    <a:pt x="412" y="319"/>
                  </a:lnTo>
                  <a:lnTo>
                    <a:pt x="409" y="319"/>
                  </a:lnTo>
                  <a:lnTo>
                    <a:pt x="409" y="322"/>
                  </a:lnTo>
                  <a:lnTo>
                    <a:pt x="406" y="322"/>
                  </a:lnTo>
                  <a:lnTo>
                    <a:pt x="403" y="325"/>
                  </a:lnTo>
                  <a:lnTo>
                    <a:pt x="400" y="325"/>
                  </a:lnTo>
                  <a:lnTo>
                    <a:pt x="400" y="328"/>
                  </a:lnTo>
                  <a:lnTo>
                    <a:pt x="397" y="328"/>
                  </a:lnTo>
                  <a:lnTo>
                    <a:pt x="397" y="331"/>
                  </a:lnTo>
                  <a:lnTo>
                    <a:pt x="394" y="331"/>
                  </a:lnTo>
                  <a:lnTo>
                    <a:pt x="391" y="334"/>
                  </a:lnTo>
                  <a:lnTo>
                    <a:pt x="388" y="334"/>
                  </a:lnTo>
                  <a:lnTo>
                    <a:pt x="388" y="337"/>
                  </a:lnTo>
                  <a:lnTo>
                    <a:pt x="385" y="337"/>
                  </a:lnTo>
                  <a:lnTo>
                    <a:pt x="382" y="340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3" y="346"/>
                  </a:lnTo>
                  <a:lnTo>
                    <a:pt x="370" y="349"/>
                  </a:lnTo>
                  <a:lnTo>
                    <a:pt x="370" y="352"/>
                  </a:lnTo>
                  <a:lnTo>
                    <a:pt x="367" y="352"/>
                  </a:lnTo>
                  <a:lnTo>
                    <a:pt x="364" y="352"/>
                  </a:lnTo>
                  <a:lnTo>
                    <a:pt x="364" y="355"/>
                  </a:lnTo>
                  <a:lnTo>
                    <a:pt x="361" y="355"/>
                  </a:lnTo>
                  <a:lnTo>
                    <a:pt x="358" y="355"/>
                  </a:lnTo>
                  <a:lnTo>
                    <a:pt x="355" y="355"/>
                  </a:lnTo>
                  <a:lnTo>
                    <a:pt x="355" y="358"/>
                  </a:lnTo>
                  <a:lnTo>
                    <a:pt x="352" y="358"/>
                  </a:lnTo>
                  <a:lnTo>
                    <a:pt x="349" y="361"/>
                  </a:lnTo>
                  <a:lnTo>
                    <a:pt x="346" y="361"/>
                  </a:lnTo>
                  <a:lnTo>
                    <a:pt x="343" y="361"/>
                  </a:lnTo>
                  <a:lnTo>
                    <a:pt x="343" y="364"/>
                  </a:lnTo>
                  <a:lnTo>
                    <a:pt x="340" y="364"/>
                  </a:lnTo>
                  <a:lnTo>
                    <a:pt x="337" y="364"/>
                  </a:lnTo>
                  <a:lnTo>
                    <a:pt x="334" y="367"/>
                  </a:lnTo>
                  <a:lnTo>
                    <a:pt x="331" y="367"/>
                  </a:lnTo>
                  <a:lnTo>
                    <a:pt x="331" y="370"/>
                  </a:lnTo>
                  <a:lnTo>
                    <a:pt x="328" y="370"/>
                  </a:lnTo>
                  <a:lnTo>
                    <a:pt x="325" y="370"/>
                  </a:lnTo>
                  <a:lnTo>
                    <a:pt x="325" y="373"/>
                  </a:lnTo>
                  <a:lnTo>
                    <a:pt x="322" y="373"/>
                  </a:lnTo>
                  <a:lnTo>
                    <a:pt x="319" y="373"/>
                  </a:lnTo>
                  <a:lnTo>
                    <a:pt x="319" y="376"/>
                  </a:lnTo>
                  <a:lnTo>
                    <a:pt x="316" y="376"/>
                  </a:lnTo>
                  <a:lnTo>
                    <a:pt x="313" y="376"/>
                  </a:lnTo>
                  <a:lnTo>
                    <a:pt x="310" y="373"/>
                  </a:lnTo>
                  <a:lnTo>
                    <a:pt x="307" y="373"/>
                  </a:lnTo>
                  <a:lnTo>
                    <a:pt x="304" y="373"/>
                  </a:lnTo>
                  <a:lnTo>
                    <a:pt x="304" y="376"/>
                  </a:lnTo>
                  <a:lnTo>
                    <a:pt x="301" y="376"/>
                  </a:lnTo>
                  <a:lnTo>
                    <a:pt x="301" y="373"/>
                  </a:lnTo>
                  <a:lnTo>
                    <a:pt x="298" y="373"/>
                  </a:lnTo>
                  <a:lnTo>
                    <a:pt x="295" y="373"/>
                  </a:lnTo>
                  <a:lnTo>
                    <a:pt x="292" y="370"/>
                  </a:lnTo>
                  <a:lnTo>
                    <a:pt x="289" y="370"/>
                  </a:lnTo>
                  <a:lnTo>
                    <a:pt x="286" y="370"/>
                  </a:lnTo>
                  <a:lnTo>
                    <a:pt x="283" y="370"/>
                  </a:lnTo>
                  <a:lnTo>
                    <a:pt x="280" y="367"/>
                  </a:lnTo>
                  <a:lnTo>
                    <a:pt x="277" y="367"/>
                  </a:lnTo>
                  <a:lnTo>
                    <a:pt x="277" y="370"/>
                  </a:lnTo>
                  <a:lnTo>
                    <a:pt x="274" y="370"/>
                  </a:lnTo>
                  <a:lnTo>
                    <a:pt x="271" y="370"/>
                  </a:lnTo>
                  <a:lnTo>
                    <a:pt x="268" y="370"/>
                  </a:lnTo>
                  <a:lnTo>
                    <a:pt x="265" y="370"/>
                  </a:lnTo>
                  <a:lnTo>
                    <a:pt x="262" y="370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6" y="376"/>
                  </a:lnTo>
                  <a:lnTo>
                    <a:pt x="253" y="376"/>
                  </a:lnTo>
                  <a:lnTo>
                    <a:pt x="253" y="379"/>
                  </a:lnTo>
                  <a:lnTo>
                    <a:pt x="250" y="379"/>
                  </a:lnTo>
                  <a:lnTo>
                    <a:pt x="247" y="379"/>
                  </a:lnTo>
                  <a:lnTo>
                    <a:pt x="247" y="382"/>
                  </a:lnTo>
                  <a:lnTo>
                    <a:pt x="247" y="385"/>
                  </a:lnTo>
                  <a:lnTo>
                    <a:pt x="244" y="385"/>
                  </a:lnTo>
                  <a:lnTo>
                    <a:pt x="244" y="388"/>
                  </a:lnTo>
                  <a:lnTo>
                    <a:pt x="244" y="391"/>
                  </a:lnTo>
                  <a:lnTo>
                    <a:pt x="244" y="394"/>
                  </a:lnTo>
                  <a:lnTo>
                    <a:pt x="247" y="394"/>
                  </a:lnTo>
                  <a:lnTo>
                    <a:pt x="247" y="397"/>
                  </a:lnTo>
                  <a:lnTo>
                    <a:pt x="250" y="397"/>
                  </a:lnTo>
                  <a:lnTo>
                    <a:pt x="250" y="400"/>
                  </a:lnTo>
                  <a:lnTo>
                    <a:pt x="250" y="403"/>
                  </a:lnTo>
                  <a:lnTo>
                    <a:pt x="247" y="403"/>
                  </a:lnTo>
                  <a:lnTo>
                    <a:pt x="244" y="403"/>
                  </a:lnTo>
                  <a:lnTo>
                    <a:pt x="241" y="403"/>
                  </a:lnTo>
                  <a:lnTo>
                    <a:pt x="238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6" y="403"/>
                  </a:lnTo>
                  <a:lnTo>
                    <a:pt x="223" y="403"/>
                  </a:lnTo>
                  <a:lnTo>
                    <a:pt x="223" y="400"/>
                  </a:lnTo>
                  <a:lnTo>
                    <a:pt x="220" y="400"/>
                  </a:lnTo>
                  <a:lnTo>
                    <a:pt x="217" y="400"/>
                  </a:lnTo>
                  <a:lnTo>
                    <a:pt x="217" y="397"/>
                  </a:lnTo>
                  <a:lnTo>
                    <a:pt x="214" y="397"/>
                  </a:lnTo>
                  <a:lnTo>
                    <a:pt x="211" y="397"/>
                  </a:lnTo>
                  <a:lnTo>
                    <a:pt x="208" y="397"/>
                  </a:lnTo>
                  <a:lnTo>
                    <a:pt x="205" y="397"/>
                  </a:lnTo>
                  <a:lnTo>
                    <a:pt x="202" y="394"/>
                  </a:lnTo>
                  <a:lnTo>
                    <a:pt x="202" y="397"/>
                  </a:lnTo>
                  <a:lnTo>
                    <a:pt x="199" y="397"/>
                  </a:lnTo>
                  <a:lnTo>
                    <a:pt x="196" y="397"/>
                  </a:lnTo>
                  <a:lnTo>
                    <a:pt x="193" y="397"/>
                  </a:lnTo>
                  <a:lnTo>
                    <a:pt x="190" y="397"/>
                  </a:lnTo>
                  <a:lnTo>
                    <a:pt x="187" y="400"/>
                  </a:lnTo>
                  <a:lnTo>
                    <a:pt x="187" y="403"/>
                  </a:lnTo>
                  <a:lnTo>
                    <a:pt x="187" y="406"/>
                  </a:lnTo>
                  <a:lnTo>
                    <a:pt x="184" y="406"/>
                  </a:lnTo>
                  <a:lnTo>
                    <a:pt x="184" y="409"/>
                  </a:lnTo>
                  <a:lnTo>
                    <a:pt x="181" y="412"/>
                  </a:lnTo>
                  <a:lnTo>
                    <a:pt x="178" y="412"/>
                  </a:lnTo>
                  <a:lnTo>
                    <a:pt x="178" y="415"/>
                  </a:lnTo>
                  <a:lnTo>
                    <a:pt x="178" y="418"/>
                  </a:lnTo>
                  <a:lnTo>
                    <a:pt x="181" y="418"/>
                  </a:lnTo>
                  <a:lnTo>
                    <a:pt x="178" y="418"/>
                  </a:lnTo>
                  <a:lnTo>
                    <a:pt x="178" y="421"/>
                  </a:lnTo>
                  <a:lnTo>
                    <a:pt x="175" y="418"/>
                  </a:lnTo>
                  <a:lnTo>
                    <a:pt x="172" y="418"/>
                  </a:lnTo>
                  <a:lnTo>
                    <a:pt x="169" y="418"/>
                  </a:lnTo>
                  <a:lnTo>
                    <a:pt x="166" y="418"/>
                  </a:lnTo>
                  <a:lnTo>
                    <a:pt x="163" y="418"/>
                  </a:lnTo>
                  <a:lnTo>
                    <a:pt x="163" y="415"/>
                  </a:lnTo>
                  <a:lnTo>
                    <a:pt x="160" y="418"/>
                  </a:lnTo>
                  <a:lnTo>
                    <a:pt x="157" y="418"/>
                  </a:lnTo>
                  <a:lnTo>
                    <a:pt x="154" y="418"/>
                  </a:lnTo>
                  <a:lnTo>
                    <a:pt x="154" y="415"/>
                  </a:lnTo>
                  <a:lnTo>
                    <a:pt x="151" y="415"/>
                  </a:lnTo>
                  <a:lnTo>
                    <a:pt x="148" y="415"/>
                  </a:lnTo>
                  <a:lnTo>
                    <a:pt x="145" y="415"/>
                  </a:lnTo>
                  <a:lnTo>
                    <a:pt x="145" y="412"/>
                  </a:lnTo>
                  <a:lnTo>
                    <a:pt x="142" y="412"/>
                  </a:lnTo>
                  <a:lnTo>
                    <a:pt x="142" y="409"/>
                  </a:lnTo>
                  <a:lnTo>
                    <a:pt x="139" y="409"/>
                  </a:lnTo>
                  <a:lnTo>
                    <a:pt x="136" y="409"/>
                  </a:lnTo>
                  <a:lnTo>
                    <a:pt x="133" y="409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7" y="406"/>
                  </a:lnTo>
                  <a:lnTo>
                    <a:pt x="124" y="406"/>
                  </a:lnTo>
                  <a:lnTo>
                    <a:pt x="121" y="406"/>
                  </a:lnTo>
                  <a:lnTo>
                    <a:pt x="118" y="406"/>
                  </a:lnTo>
                  <a:lnTo>
                    <a:pt x="114" y="406"/>
                  </a:lnTo>
                  <a:lnTo>
                    <a:pt x="111" y="403"/>
                  </a:lnTo>
                  <a:lnTo>
                    <a:pt x="108" y="403"/>
                  </a:lnTo>
                  <a:lnTo>
                    <a:pt x="105" y="403"/>
                  </a:lnTo>
                  <a:lnTo>
                    <a:pt x="102" y="403"/>
                  </a:lnTo>
                  <a:lnTo>
                    <a:pt x="102" y="400"/>
                  </a:lnTo>
                  <a:lnTo>
                    <a:pt x="99" y="400"/>
                  </a:lnTo>
                  <a:lnTo>
                    <a:pt x="96" y="400"/>
                  </a:lnTo>
                  <a:lnTo>
                    <a:pt x="93" y="400"/>
                  </a:lnTo>
                  <a:lnTo>
                    <a:pt x="90" y="400"/>
                  </a:lnTo>
                  <a:lnTo>
                    <a:pt x="87" y="400"/>
                  </a:lnTo>
                  <a:lnTo>
                    <a:pt x="87" y="397"/>
                  </a:lnTo>
                  <a:lnTo>
                    <a:pt x="84" y="397"/>
                  </a:lnTo>
                  <a:lnTo>
                    <a:pt x="81" y="397"/>
                  </a:lnTo>
                  <a:lnTo>
                    <a:pt x="78" y="397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8" y="388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4" y="385"/>
                  </a:lnTo>
                  <a:lnTo>
                    <a:pt x="75" y="382"/>
                  </a:lnTo>
                  <a:lnTo>
                    <a:pt x="72" y="382"/>
                  </a:lnTo>
                  <a:lnTo>
                    <a:pt x="69" y="379"/>
                  </a:lnTo>
                  <a:lnTo>
                    <a:pt x="69" y="376"/>
                  </a:lnTo>
                  <a:lnTo>
                    <a:pt x="66" y="376"/>
                  </a:lnTo>
                  <a:lnTo>
                    <a:pt x="66" y="379"/>
                  </a:lnTo>
                  <a:lnTo>
                    <a:pt x="63" y="379"/>
                  </a:lnTo>
                  <a:lnTo>
                    <a:pt x="60" y="379"/>
                  </a:lnTo>
                  <a:lnTo>
                    <a:pt x="57" y="376"/>
                  </a:lnTo>
                  <a:lnTo>
                    <a:pt x="60" y="373"/>
                  </a:lnTo>
                  <a:lnTo>
                    <a:pt x="60" y="370"/>
                  </a:lnTo>
                  <a:lnTo>
                    <a:pt x="63" y="370"/>
                  </a:lnTo>
                  <a:lnTo>
                    <a:pt x="69" y="367"/>
                  </a:lnTo>
                  <a:lnTo>
                    <a:pt x="69" y="364"/>
                  </a:lnTo>
                  <a:lnTo>
                    <a:pt x="72" y="364"/>
                  </a:lnTo>
                  <a:lnTo>
                    <a:pt x="75" y="364"/>
                  </a:lnTo>
                  <a:lnTo>
                    <a:pt x="81" y="364"/>
                  </a:lnTo>
                  <a:lnTo>
                    <a:pt x="81" y="361"/>
                  </a:lnTo>
                  <a:lnTo>
                    <a:pt x="75" y="358"/>
                  </a:lnTo>
                  <a:lnTo>
                    <a:pt x="75" y="355"/>
                  </a:lnTo>
                  <a:lnTo>
                    <a:pt x="75" y="352"/>
                  </a:lnTo>
                  <a:lnTo>
                    <a:pt x="75" y="349"/>
                  </a:lnTo>
                  <a:lnTo>
                    <a:pt x="75" y="346"/>
                  </a:lnTo>
                  <a:lnTo>
                    <a:pt x="72" y="346"/>
                  </a:lnTo>
                  <a:lnTo>
                    <a:pt x="66" y="343"/>
                  </a:lnTo>
                  <a:lnTo>
                    <a:pt x="63" y="343"/>
                  </a:lnTo>
                  <a:lnTo>
                    <a:pt x="60" y="343"/>
                  </a:lnTo>
                  <a:lnTo>
                    <a:pt x="57" y="343"/>
                  </a:lnTo>
                  <a:lnTo>
                    <a:pt x="54" y="343"/>
                  </a:lnTo>
                  <a:lnTo>
                    <a:pt x="51" y="340"/>
                  </a:lnTo>
                  <a:lnTo>
                    <a:pt x="51" y="337"/>
                  </a:lnTo>
                  <a:lnTo>
                    <a:pt x="48" y="337"/>
                  </a:lnTo>
                  <a:lnTo>
                    <a:pt x="39" y="337"/>
                  </a:lnTo>
                  <a:lnTo>
                    <a:pt x="36" y="337"/>
                  </a:lnTo>
                  <a:lnTo>
                    <a:pt x="33" y="337"/>
                  </a:lnTo>
                  <a:lnTo>
                    <a:pt x="30" y="337"/>
                  </a:lnTo>
                  <a:lnTo>
                    <a:pt x="24" y="340"/>
                  </a:lnTo>
                  <a:lnTo>
                    <a:pt x="21" y="340"/>
                  </a:lnTo>
                  <a:lnTo>
                    <a:pt x="18" y="340"/>
                  </a:lnTo>
                  <a:lnTo>
                    <a:pt x="12" y="340"/>
                  </a:lnTo>
                  <a:lnTo>
                    <a:pt x="9" y="340"/>
                  </a:lnTo>
                  <a:lnTo>
                    <a:pt x="6" y="340"/>
                  </a:lnTo>
                  <a:lnTo>
                    <a:pt x="0" y="337"/>
                  </a:lnTo>
                  <a:lnTo>
                    <a:pt x="3" y="334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9" y="325"/>
                  </a:lnTo>
                  <a:lnTo>
                    <a:pt x="9" y="319"/>
                  </a:lnTo>
                  <a:lnTo>
                    <a:pt x="12" y="316"/>
                  </a:lnTo>
                  <a:lnTo>
                    <a:pt x="15" y="313"/>
                  </a:lnTo>
                  <a:lnTo>
                    <a:pt x="21" y="304"/>
                  </a:lnTo>
                  <a:lnTo>
                    <a:pt x="21" y="301"/>
                  </a:lnTo>
                  <a:lnTo>
                    <a:pt x="18" y="301"/>
                  </a:lnTo>
                  <a:lnTo>
                    <a:pt x="18" y="298"/>
                  </a:lnTo>
                  <a:lnTo>
                    <a:pt x="21" y="298"/>
                  </a:lnTo>
                  <a:lnTo>
                    <a:pt x="18" y="292"/>
                  </a:lnTo>
                  <a:lnTo>
                    <a:pt x="24" y="286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77"/>
                  </a:lnTo>
                  <a:lnTo>
                    <a:pt x="33" y="280"/>
                  </a:lnTo>
                  <a:lnTo>
                    <a:pt x="36" y="280"/>
                  </a:lnTo>
                  <a:lnTo>
                    <a:pt x="39" y="277"/>
                  </a:lnTo>
                  <a:lnTo>
                    <a:pt x="45" y="277"/>
                  </a:lnTo>
                  <a:lnTo>
                    <a:pt x="48" y="280"/>
                  </a:lnTo>
                  <a:lnTo>
                    <a:pt x="54" y="280"/>
                  </a:lnTo>
                  <a:lnTo>
                    <a:pt x="57" y="274"/>
                  </a:lnTo>
                  <a:lnTo>
                    <a:pt x="54" y="274"/>
                  </a:lnTo>
                  <a:lnTo>
                    <a:pt x="54" y="271"/>
                  </a:lnTo>
                  <a:lnTo>
                    <a:pt x="51" y="268"/>
                  </a:lnTo>
                  <a:lnTo>
                    <a:pt x="45" y="265"/>
                  </a:lnTo>
                  <a:lnTo>
                    <a:pt x="48" y="265"/>
                  </a:lnTo>
                  <a:lnTo>
                    <a:pt x="48" y="262"/>
                  </a:lnTo>
                  <a:lnTo>
                    <a:pt x="48" y="259"/>
                  </a:lnTo>
                  <a:lnTo>
                    <a:pt x="48" y="253"/>
                  </a:lnTo>
                  <a:lnTo>
                    <a:pt x="45" y="250"/>
                  </a:lnTo>
                  <a:lnTo>
                    <a:pt x="45" y="244"/>
                  </a:lnTo>
                  <a:lnTo>
                    <a:pt x="42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51" y="232"/>
                  </a:lnTo>
                  <a:lnTo>
                    <a:pt x="54" y="235"/>
                  </a:lnTo>
                  <a:lnTo>
                    <a:pt x="57" y="238"/>
                  </a:lnTo>
                  <a:lnTo>
                    <a:pt x="60" y="235"/>
                  </a:lnTo>
                  <a:lnTo>
                    <a:pt x="60" y="229"/>
                  </a:lnTo>
                  <a:lnTo>
                    <a:pt x="66" y="232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78" y="232"/>
                  </a:lnTo>
                  <a:lnTo>
                    <a:pt x="81" y="232"/>
                  </a:lnTo>
                  <a:lnTo>
                    <a:pt x="78" y="229"/>
                  </a:lnTo>
                  <a:lnTo>
                    <a:pt x="81" y="223"/>
                  </a:lnTo>
                  <a:lnTo>
                    <a:pt x="81" y="220"/>
                  </a:lnTo>
                  <a:lnTo>
                    <a:pt x="84" y="220"/>
                  </a:lnTo>
                  <a:lnTo>
                    <a:pt x="87" y="217"/>
                  </a:lnTo>
                  <a:lnTo>
                    <a:pt x="90" y="217"/>
                  </a:lnTo>
                  <a:lnTo>
                    <a:pt x="93" y="220"/>
                  </a:lnTo>
                  <a:lnTo>
                    <a:pt x="93" y="223"/>
                  </a:lnTo>
                  <a:lnTo>
                    <a:pt x="96" y="223"/>
                  </a:lnTo>
                  <a:lnTo>
                    <a:pt x="99" y="223"/>
                  </a:lnTo>
                  <a:lnTo>
                    <a:pt x="102" y="223"/>
                  </a:lnTo>
                  <a:lnTo>
                    <a:pt x="102" y="220"/>
                  </a:lnTo>
                  <a:lnTo>
                    <a:pt x="105" y="220"/>
                  </a:lnTo>
                  <a:lnTo>
                    <a:pt x="105" y="217"/>
                  </a:lnTo>
                  <a:lnTo>
                    <a:pt x="108" y="217"/>
                  </a:lnTo>
                  <a:lnTo>
                    <a:pt x="111" y="217"/>
                  </a:lnTo>
                  <a:lnTo>
                    <a:pt x="111" y="213"/>
                  </a:lnTo>
                  <a:lnTo>
                    <a:pt x="114" y="213"/>
                  </a:lnTo>
                  <a:lnTo>
                    <a:pt x="118" y="213"/>
                  </a:lnTo>
                  <a:lnTo>
                    <a:pt x="118" y="210"/>
                  </a:lnTo>
                  <a:lnTo>
                    <a:pt x="121" y="210"/>
                  </a:lnTo>
                  <a:lnTo>
                    <a:pt x="121" y="207"/>
                  </a:lnTo>
                  <a:lnTo>
                    <a:pt x="118" y="207"/>
                  </a:lnTo>
                  <a:lnTo>
                    <a:pt x="118" y="204"/>
                  </a:lnTo>
                  <a:lnTo>
                    <a:pt x="118" y="201"/>
                  </a:lnTo>
                  <a:lnTo>
                    <a:pt x="118" y="204"/>
                  </a:lnTo>
                  <a:lnTo>
                    <a:pt x="121" y="204"/>
                  </a:lnTo>
                  <a:lnTo>
                    <a:pt x="118" y="201"/>
                  </a:lnTo>
                  <a:lnTo>
                    <a:pt x="121" y="201"/>
                  </a:lnTo>
                  <a:lnTo>
                    <a:pt x="121" y="198"/>
                  </a:lnTo>
                  <a:lnTo>
                    <a:pt x="124" y="198"/>
                  </a:lnTo>
                  <a:lnTo>
                    <a:pt x="124" y="195"/>
                  </a:lnTo>
                  <a:lnTo>
                    <a:pt x="127" y="192"/>
                  </a:lnTo>
                  <a:lnTo>
                    <a:pt x="124" y="192"/>
                  </a:lnTo>
                  <a:lnTo>
                    <a:pt x="124" y="189"/>
                  </a:lnTo>
                  <a:lnTo>
                    <a:pt x="121" y="189"/>
                  </a:lnTo>
                  <a:lnTo>
                    <a:pt x="121" y="186"/>
                  </a:lnTo>
                  <a:lnTo>
                    <a:pt x="121" y="189"/>
                  </a:lnTo>
                  <a:lnTo>
                    <a:pt x="118" y="189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21" y="183"/>
                  </a:lnTo>
                  <a:lnTo>
                    <a:pt x="121" y="180"/>
                  </a:lnTo>
                  <a:lnTo>
                    <a:pt x="124" y="180"/>
                  </a:lnTo>
                  <a:lnTo>
                    <a:pt x="121" y="177"/>
                  </a:lnTo>
                  <a:lnTo>
                    <a:pt x="121" y="174"/>
                  </a:lnTo>
                  <a:lnTo>
                    <a:pt x="121" y="171"/>
                  </a:lnTo>
                  <a:lnTo>
                    <a:pt x="127" y="171"/>
                  </a:lnTo>
                  <a:lnTo>
                    <a:pt x="127" y="174"/>
                  </a:lnTo>
                  <a:lnTo>
                    <a:pt x="130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6" y="168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5" y="168"/>
                  </a:lnTo>
                  <a:lnTo>
                    <a:pt x="148" y="168"/>
                  </a:lnTo>
                  <a:lnTo>
                    <a:pt x="151" y="168"/>
                  </a:lnTo>
                  <a:lnTo>
                    <a:pt x="151" y="165"/>
                  </a:lnTo>
                  <a:lnTo>
                    <a:pt x="151" y="159"/>
                  </a:lnTo>
                  <a:lnTo>
                    <a:pt x="151" y="156"/>
                  </a:lnTo>
                  <a:lnTo>
                    <a:pt x="151" y="153"/>
                  </a:lnTo>
                  <a:lnTo>
                    <a:pt x="154" y="150"/>
                  </a:lnTo>
                  <a:lnTo>
                    <a:pt x="151" y="147"/>
                  </a:lnTo>
                  <a:lnTo>
                    <a:pt x="154" y="147"/>
                  </a:lnTo>
                  <a:lnTo>
                    <a:pt x="157" y="141"/>
                  </a:lnTo>
                  <a:lnTo>
                    <a:pt x="157" y="138"/>
                  </a:lnTo>
                  <a:lnTo>
                    <a:pt x="163" y="135"/>
                  </a:lnTo>
                  <a:lnTo>
                    <a:pt x="166" y="138"/>
                  </a:lnTo>
                  <a:lnTo>
                    <a:pt x="169" y="138"/>
                  </a:lnTo>
                  <a:lnTo>
                    <a:pt x="175" y="138"/>
                  </a:lnTo>
                  <a:lnTo>
                    <a:pt x="178" y="135"/>
                  </a:lnTo>
                  <a:lnTo>
                    <a:pt x="181" y="135"/>
                  </a:lnTo>
                  <a:lnTo>
                    <a:pt x="181" y="132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0" y="126"/>
                  </a:lnTo>
                  <a:lnTo>
                    <a:pt x="193" y="126"/>
                  </a:lnTo>
                  <a:lnTo>
                    <a:pt x="196" y="126"/>
                  </a:lnTo>
                  <a:lnTo>
                    <a:pt x="199" y="123"/>
                  </a:lnTo>
                  <a:lnTo>
                    <a:pt x="199" y="126"/>
                  </a:lnTo>
                  <a:lnTo>
                    <a:pt x="199" y="123"/>
                  </a:lnTo>
                  <a:lnTo>
                    <a:pt x="202" y="123"/>
                  </a:lnTo>
                  <a:lnTo>
                    <a:pt x="205" y="123"/>
                  </a:lnTo>
                  <a:lnTo>
                    <a:pt x="208" y="123"/>
                  </a:lnTo>
                  <a:lnTo>
                    <a:pt x="208" y="120"/>
                  </a:lnTo>
                  <a:lnTo>
                    <a:pt x="211" y="120"/>
                  </a:lnTo>
                  <a:lnTo>
                    <a:pt x="208" y="120"/>
                  </a:lnTo>
                  <a:lnTo>
                    <a:pt x="211" y="117"/>
                  </a:lnTo>
                  <a:lnTo>
                    <a:pt x="214" y="120"/>
                  </a:lnTo>
                  <a:lnTo>
                    <a:pt x="217" y="120"/>
                  </a:lnTo>
                  <a:lnTo>
                    <a:pt x="223" y="123"/>
                  </a:lnTo>
                  <a:lnTo>
                    <a:pt x="223" y="120"/>
                  </a:lnTo>
                  <a:lnTo>
                    <a:pt x="223" y="117"/>
                  </a:lnTo>
                  <a:lnTo>
                    <a:pt x="223" y="114"/>
                  </a:lnTo>
                  <a:lnTo>
                    <a:pt x="226" y="114"/>
                  </a:lnTo>
                  <a:lnTo>
                    <a:pt x="226" y="111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99"/>
                  </a:lnTo>
                  <a:lnTo>
                    <a:pt x="232" y="99"/>
                  </a:lnTo>
                  <a:lnTo>
                    <a:pt x="232" y="96"/>
                  </a:lnTo>
                  <a:lnTo>
                    <a:pt x="235" y="96"/>
                  </a:lnTo>
                  <a:lnTo>
                    <a:pt x="235" y="93"/>
                  </a:lnTo>
                  <a:lnTo>
                    <a:pt x="235" y="90"/>
                  </a:lnTo>
                  <a:lnTo>
                    <a:pt x="238" y="90"/>
                  </a:lnTo>
                  <a:lnTo>
                    <a:pt x="235" y="90"/>
                  </a:lnTo>
                  <a:lnTo>
                    <a:pt x="235" y="87"/>
                  </a:lnTo>
                  <a:lnTo>
                    <a:pt x="232" y="87"/>
                  </a:lnTo>
                  <a:lnTo>
                    <a:pt x="232" y="84"/>
                  </a:lnTo>
                  <a:lnTo>
                    <a:pt x="235" y="84"/>
                  </a:lnTo>
                  <a:lnTo>
                    <a:pt x="238" y="78"/>
                  </a:lnTo>
                  <a:lnTo>
                    <a:pt x="235" y="78"/>
                  </a:lnTo>
                  <a:lnTo>
                    <a:pt x="232" y="78"/>
                  </a:lnTo>
                  <a:lnTo>
                    <a:pt x="232" y="75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6"/>
                  </a:lnTo>
                  <a:lnTo>
                    <a:pt x="232" y="63"/>
                  </a:lnTo>
                  <a:lnTo>
                    <a:pt x="235" y="63"/>
                  </a:lnTo>
                  <a:lnTo>
                    <a:pt x="238" y="60"/>
                  </a:lnTo>
                  <a:lnTo>
                    <a:pt x="241" y="60"/>
                  </a:lnTo>
                  <a:lnTo>
                    <a:pt x="244" y="60"/>
                  </a:lnTo>
                  <a:lnTo>
                    <a:pt x="244" y="63"/>
                  </a:lnTo>
                  <a:lnTo>
                    <a:pt x="244" y="66"/>
                  </a:lnTo>
                  <a:lnTo>
                    <a:pt x="247" y="66"/>
                  </a:lnTo>
                  <a:lnTo>
                    <a:pt x="247" y="63"/>
                  </a:lnTo>
                  <a:lnTo>
                    <a:pt x="250" y="63"/>
                  </a:lnTo>
                  <a:lnTo>
                    <a:pt x="250" y="66"/>
                  </a:lnTo>
                  <a:lnTo>
                    <a:pt x="250" y="69"/>
                  </a:lnTo>
                  <a:lnTo>
                    <a:pt x="253" y="69"/>
                  </a:lnTo>
                  <a:lnTo>
                    <a:pt x="256" y="69"/>
                  </a:lnTo>
                  <a:lnTo>
                    <a:pt x="256" y="66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62" y="63"/>
                  </a:lnTo>
                  <a:lnTo>
                    <a:pt x="265" y="63"/>
                  </a:lnTo>
                  <a:lnTo>
                    <a:pt x="265" y="60"/>
                  </a:lnTo>
                  <a:lnTo>
                    <a:pt x="268" y="60"/>
                  </a:lnTo>
                  <a:lnTo>
                    <a:pt x="265" y="60"/>
                  </a:lnTo>
                  <a:lnTo>
                    <a:pt x="265" y="57"/>
                  </a:lnTo>
                  <a:lnTo>
                    <a:pt x="265" y="54"/>
                  </a:lnTo>
                  <a:lnTo>
                    <a:pt x="268" y="54"/>
                  </a:lnTo>
                  <a:lnTo>
                    <a:pt x="268" y="57"/>
                  </a:lnTo>
                  <a:lnTo>
                    <a:pt x="271" y="57"/>
                  </a:lnTo>
                  <a:lnTo>
                    <a:pt x="271" y="54"/>
                  </a:lnTo>
                  <a:lnTo>
                    <a:pt x="274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1"/>
                  </a:lnTo>
                  <a:lnTo>
                    <a:pt x="283" y="51"/>
                  </a:lnTo>
                  <a:lnTo>
                    <a:pt x="286" y="51"/>
                  </a:lnTo>
                  <a:lnTo>
                    <a:pt x="286" y="54"/>
                  </a:lnTo>
                  <a:lnTo>
                    <a:pt x="289" y="54"/>
                  </a:lnTo>
                  <a:lnTo>
                    <a:pt x="289" y="51"/>
                  </a:lnTo>
                  <a:lnTo>
                    <a:pt x="286" y="51"/>
                  </a:lnTo>
                  <a:lnTo>
                    <a:pt x="286" y="48"/>
                  </a:lnTo>
                  <a:lnTo>
                    <a:pt x="289" y="48"/>
                  </a:lnTo>
                  <a:lnTo>
                    <a:pt x="292" y="48"/>
                  </a:lnTo>
                  <a:lnTo>
                    <a:pt x="292" y="51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298" y="54"/>
                  </a:lnTo>
                  <a:lnTo>
                    <a:pt x="298" y="57"/>
                  </a:lnTo>
                  <a:lnTo>
                    <a:pt x="301" y="57"/>
                  </a:lnTo>
                  <a:lnTo>
                    <a:pt x="298" y="57"/>
                  </a:lnTo>
                  <a:lnTo>
                    <a:pt x="298" y="60"/>
                  </a:lnTo>
                  <a:lnTo>
                    <a:pt x="301" y="60"/>
                  </a:lnTo>
                  <a:lnTo>
                    <a:pt x="301" y="57"/>
                  </a:lnTo>
                  <a:lnTo>
                    <a:pt x="304" y="57"/>
                  </a:lnTo>
                  <a:lnTo>
                    <a:pt x="304" y="60"/>
                  </a:lnTo>
                  <a:lnTo>
                    <a:pt x="307" y="60"/>
                  </a:lnTo>
                  <a:lnTo>
                    <a:pt x="307" y="57"/>
                  </a:lnTo>
                  <a:lnTo>
                    <a:pt x="310" y="57"/>
                  </a:lnTo>
                  <a:lnTo>
                    <a:pt x="313" y="57"/>
                  </a:lnTo>
                  <a:lnTo>
                    <a:pt x="316" y="57"/>
                  </a:lnTo>
                  <a:lnTo>
                    <a:pt x="316" y="60"/>
                  </a:lnTo>
                  <a:lnTo>
                    <a:pt x="316" y="63"/>
                  </a:lnTo>
                  <a:lnTo>
                    <a:pt x="319" y="63"/>
                  </a:lnTo>
                  <a:lnTo>
                    <a:pt x="322" y="66"/>
                  </a:lnTo>
                  <a:lnTo>
                    <a:pt x="325" y="66"/>
                  </a:lnTo>
                  <a:lnTo>
                    <a:pt x="328" y="66"/>
                  </a:lnTo>
                  <a:lnTo>
                    <a:pt x="328" y="69"/>
                  </a:lnTo>
                  <a:lnTo>
                    <a:pt x="331" y="69"/>
                  </a:lnTo>
                  <a:lnTo>
                    <a:pt x="331" y="66"/>
                  </a:lnTo>
                  <a:lnTo>
                    <a:pt x="334" y="66"/>
                  </a:lnTo>
                  <a:lnTo>
                    <a:pt x="334" y="69"/>
                  </a:lnTo>
                  <a:lnTo>
                    <a:pt x="337" y="69"/>
                  </a:lnTo>
                  <a:lnTo>
                    <a:pt x="337" y="66"/>
                  </a:lnTo>
                  <a:lnTo>
                    <a:pt x="340" y="66"/>
                  </a:lnTo>
                  <a:lnTo>
                    <a:pt x="343" y="63"/>
                  </a:lnTo>
                  <a:lnTo>
                    <a:pt x="346" y="66"/>
                  </a:lnTo>
                  <a:lnTo>
                    <a:pt x="346" y="69"/>
                  </a:lnTo>
                  <a:lnTo>
                    <a:pt x="349" y="69"/>
                  </a:lnTo>
                  <a:lnTo>
                    <a:pt x="349" y="66"/>
                  </a:lnTo>
                  <a:lnTo>
                    <a:pt x="352" y="66"/>
                  </a:lnTo>
                  <a:lnTo>
                    <a:pt x="355" y="66"/>
                  </a:lnTo>
                  <a:lnTo>
                    <a:pt x="355" y="63"/>
                  </a:lnTo>
                  <a:lnTo>
                    <a:pt x="355" y="60"/>
                  </a:lnTo>
                  <a:lnTo>
                    <a:pt x="358" y="60"/>
                  </a:lnTo>
                  <a:lnTo>
                    <a:pt x="361" y="60"/>
                  </a:lnTo>
                  <a:lnTo>
                    <a:pt x="364" y="60"/>
                  </a:lnTo>
                  <a:lnTo>
                    <a:pt x="364" y="57"/>
                  </a:lnTo>
                  <a:lnTo>
                    <a:pt x="361" y="57"/>
                  </a:lnTo>
                  <a:lnTo>
                    <a:pt x="361" y="54"/>
                  </a:lnTo>
                  <a:lnTo>
                    <a:pt x="364" y="54"/>
                  </a:lnTo>
                  <a:lnTo>
                    <a:pt x="367" y="54"/>
                  </a:lnTo>
                  <a:lnTo>
                    <a:pt x="367" y="57"/>
                  </a:lnTo>
                  <a:lnTo>
                    <a:pt x="370" y="57"/>
                  </a:lnTo>
                  <a:lnTo>
                    <a:pt x="370" y="54"/>
                  </a:lnTo>
                  <a:lnTo>
                    <a:pt x="370" y="51"/>
                  </a:lnTo>
                  <a:lnTo>
                    <a:pt x="373" y="51"/>
                  </a:lnTo>
                  <a:lnTo>
                    <a:pt x="376" y="51"/>
                  </a:lnTo>
                  <a:lnTo>
                    <a:pt x="376" y="54"/>
                  </a:lnTo>
                  <a:lnTo>
                    <a:pt x="376" y="51"/>
                  </a:lnTo>
                  <a:lnTo>
                    <a:pt x="376" y="48"/>
                  </a:lnTo>
                  <a:lnTo>
                    <a:pt x="379" y="48"/>
                  </a:lnTo>
                  <a:lnTo>
                    <a:pt x="379" y="51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51"/>
                  </a:lnTo>
                  <a:lnTo>
                    <a:pt x="385" y="51"/>
                  </a:lnTo>
                  <a:lnTo>
                    <a:pt x="385" y="48"/>
                  </a:lnTo>
                  <a:lnTo>
                    <a:pt x="388" y="48"/>
                  </a:lnTo>
                  <a:lnTo>
                    <a:pt x="385" y="48"/>
                  </a:lnTo>
                  <a:lnTo>
                    <a:pt x="385" y="45"/>
                  </a:lnTo>
                  <a:lnTo>
                    <a:pt x="388" y="45"/>
                  </a:lnTo>
                  <a:lnTo>
                    <a:pt x="391" y="45"/>
                  </a:lnTo>
                  <a:lnTo>
                    <a:pt x="391" y="42"/>
                  </a:lnTo>
                  <a:lnTo>
                    <a:pt x="388" y="42"/>
                  </a:lnTo>
                  <a:lnTo>
                    <a:pt x="388" y="45"/>
                  </a:lnTo>
                  <a:lnTo>
                    <a:pt x="388" y="42"/>
                  </a:lnTo>
                  <a:lnTo>
                    <a:pt x="388" y="39"/>
                  </a:lnTo>
                  <a:lnTo>
                    <a:pt x="388" y="42"/>
                  </a:lnTo>
                  <a:lnTo>
                    <a:pt x="391" y="42"/>
                  </a:lnTo>
                  <a:lnTo>
                    <a:pt x="391" y="39"/>
                  </a:lnTo>
                  <a:lnTo>
                    <a:pt x="394" y="39"/>
                  </a:lnTo>
                  <a:lnTo>
                    <a:pt x="394" y="36"/>
                  </a:lnTo>
                  <a:lnTo>
                    <a:pt x="391" y="36"/>
                  </a:lnTo>
                  <a:lnTo>
                    <a:pt x="391" y="39"/>
                  </a:lnTo>
                  <a:lnTo>
                    <a:pt x="391" y="36"/>
                  </a:lnTo>
                  <a:lnTo>
                    <a:pt x="391" y="33"/>
                  </a:lnTo>
                  <a:lnTo>
                    <a:pt x="388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24"/>
                  </a:lnTo>
                  <a:lnTo>
                    <a:pt x="391" y="21"/>
                  </a:lnTo>
                  <a:lnTo>
                    <a:pt x="391" y="18"/>
                  </a:lnTo>
                  <a:lnTo>
                    <a:pt x="394" y="18"/>
                  </a:lnTo>
                  <a:lnTo>
                    <a:pt x="397" y="18"/>
                  </a:lnTo>
                  <a:lnTo>
                    <a:pt x="400" y="18"/>
                  </a:lnTo>
                  <a:lnTo>
                    <a:pt x="403" y="18"/>
                  </a:lnTo>
                  <a:lnTo>
                    <a:pt x="406" y="18"/>
                  </a:lnTo>
                  <a:lnTo>
                    <a:pt x="406" y="21"/>
                  </a:lnTo>
                  <a:lnTo>
                    <a:pt x="406" y="24"/>
                  </a:lnTo>
                  <a:lnTo>
                    <a:pt x="406" y="27"/>
                  </a:lnTo>
                  <a:lnTo>
                    <a:pt x="409" y="27"/>
                  </a:lnTo>
                  <a:lnTo>
                    <a:pt x="409" y="24"/>
                  </a:lnTo>
                  <a:lnTo>
                    <a:pt x="409" y="27"/>
                  </a:lnTo>
                  <a:lnTo>
                    <a:pt x="412" y="27"/>
                  </a:lnTo>
                  <a:lnTo>
                    <a:pt x="412" y="30"/>
                  </a:lnTo>
                  <a:lnTo>
                    <a:pt x="412" y="33"/>
                  </a:lnTo>
                  <a:lnTo>
                    <a:pt x="415" y="33"/>
                  </a:lnTo>
                  <a:lnTo>
                    <a:pt x="418" y="33"/>
                  </a:lnTo>
                  <a:lnTo>
                    <a:pt x="418" y="36"/>
                  </a:lnTo>
                  <a:lnTo>
                    <a:pt x="418" y="39"/>
                  </a:lnTo>
                  <a:lnTo>
                    <a:pt x="418" y="42"/>
                  </a:lnTo>
                  <a:lnTo>
                    <a:pt x="418" y="39"/>
                  </a:lnTo>
                  <a:lnTo>
                    <a:pt x="421" y="39"/>
                  </a:lnTo>
                  <a:lnTo>
                    <a:pt x="421" y="42"/>
                  </a:lnTo>
                  <a:lnTo>
                    <a:pt x="424" y="42"/>
                  </a:lnTo>
                  <a:lnTo>
                    <a:pt x="424" y="45"/>
                  </a:lnTo>
                  <a:lnTo>
                    <a:pt x="427" y="45"/>
                  </a:lnTo>
                  <a:lnTo>
                    <a:pt x="427" y="48"/>
                  </a:lnTo>
                  <a:lnTo>
                    <a:pt x="427" y="51"/>
                  </a:lnTo>
                  <a:lnTo>
                    <a:pt x="430" y="51"/>
                  </a:lnTo>
                  <a:lnTo>
                    <a:pt x="430" y="54"/>
                  </a:lnTo>
                  <a:lnTo>
                    <a:pt x="433" y="54"/>
                  </a:lnTo>
                  <a:lnTo>
                    <a:pt x="436" y="54"/>
                  </a:lnTo>
                  <a:lnTo>
                    <a:pt x="436" y="57"/>
                  </a:lnTo>
                  <a:lnTo>
                    <a:pt x="439" y="57"/>
                  </a:lnTo>
                  <a:lnTo>
                    <a:pt x="439" y="60"/>
                  </a:lnTo>
                  <a:lnTo>
                    <a:pt x="442" y="63"/>
                  </a:lnTo>
                  <a:lnTo>
                    <a:pt x="442" y="60"/>
                  </a:lnTo>
                  <a:lnTo>
                    <a:pt x="445" y="60"/>
                  </a:lnTo>
                  <a:lnTo>
                    <a:pt x="448" y="60"/>
                  </a:lnTo>
                  <a:lnTo>
                    <a:pt x="451" y="60"/>
                  </a:lnTo>
                  <a:lnTo>
                    <a:pt x="451" y="63"/>
                  </a:lnTo>
                  <a:lnTo>
                    <a:pt x="454" y="66"/>
                  </a:lnTo>
                  <a:lnTo>
                    <a:pt x="454" y="63"/>
                  </a:lnTo>
                  <a:lnTo>
                    <a:pt x="454" y="60"/>
                  </a:lnTo>
                  <a:lnTo>
                    <a:pt x="457" y="57"/>
                  </a:lnTo>
                  <a:lnTo>
                    <a:pt x="457" y="54"/>
                  </a:lnTo>
                  <a:lnTo>
                    <a:pt x="460" y="54"/>
                  </a:lnTo>
                  <a:lnTo>
                    <a:pt x="457" y="51"/>
                  </a:lnTo>
                  <a:lnTo>
                    <a:pt x="460" y="51"/>
                  </a:lnTo>
                  <a:lnTo>
                    <a:pt x="460" y="48"/>
                  </a:lnTo>
                  <a:lnTo>
                    <a:pt x="457" y="48"/>
                  </a:lnTo>
                  <a:lnTo>
                    <a:pt x="457" y="45"/>
                  </a:lnTo>
                  <a:lnTo>
                    <a:pt x="460" y="45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6" y="39"/>
                  </a:lnTo>
                  <a:lnTo>
                    <a:pt x="466" y="36"/>
                  </a:lnTo>
                  <a:lnTo>
                    <a:pt x="466" y="33"/>
                  </a:lnTo>
                  <a:lnTo>
                    <a:pt x="463" y="33"/>
                  </a:lnTo>
                  <a:lnTo>
                    <a:pt x="460" y="30"/>
                  </a:lnTo>
                  <a:lnTo>
                    <a:pt x="463" y="27"/>
                  </a:lnTo>
                  <a:lnTo>
                    <a:pt x="466" y="27"/>
                  </a:lnTo>
                  <a:lnTo>
                    <a:pt x="469" y="27"/>
                  </a:lnTo>
                  <a:lnTo>
                    <a:pt x="472" y="24"/>
                  </a:lnTo>
                  <a:lnTo>
                    <a:pt x="472" y="21"/>
                  </a:lnTo>
                  <a:lnTo>
                    <a:pt x="475" y="21"/>
                  </a:lnTo>
                  <a:lnTo>
                    <a:pt x="475" y="18"/>
                  </a:lnTo>
                  <a:lnTo>
                    <a:pt x="478" y="18"/>
                  </a:lnTo>
                  <a:lnTo>
                    <a:pt x="478" y="15"/>
                  </a:lnTo>
                  <a:lnTo>
                    <a:pt x="481" y="18"/>
                  </a:lnTo>
                  <a:lnTo>
                    <a:pt x="484" y="18"/>
                  </a:lnTo>
                  <a:lnTo>
                    <a:pt x="484" y="15"/>
                  </a:lnTo>
                  <a:lnTo>
                    <a:pt x="487" y="15"/>
                  </a:lnTo>
                  <a:lnTo>
                    <a:pt x="490" y="15"/>
                  </a:lnTo>
                  <a:lnTo>
                    <a:pt x="496" y="15"/>
                  </a:lnTo>
                  <a:lnTo>
                    <a:pt x="499" y="15"/>
                  </a:lnTo>
                  <a:lnTo>
                    <a:pt x="502" y="15"/>
                  </a:lnTo>
                  <a:lnTo>
                    <a:pt x="505" y="12"/>
                  </a:lnTo>
                  <a:lnTo>
                    <a:pt x="508" y="12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7" y="12"/>
                  </a:lnTo>
                  <a:lnTo>
                    <a:pt x="517" y="9"/>
                  </a:lnTo>
                  <a:lnTo>
                    <a:pt x="520" y="9"/>
                  </a:lnTo>
                  <a:lnTo>
                    <a:pt x="523" y="6"/>
                  </a:lnTo>
                  <a:lnTo>
                    <a:pt x="526" y="6"/>
                  </a:lnTo>
                  <a:lnTo>
                    <a:pt x="526" y="3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>
                <a:solidFill>
                  <a:schemeClr val="bg1"/>
                </a:solidFill>
              </a:endParaRPr>
            </a:p>
          </p:txBody>
        </p:sp>
        <p:sp>
          <p:nvSpPr>
            <p:cNvPr id="130" name="Freeform 40">
              <a:extLst>
                <a:ext uri="{FF2B5EF4-FFF2-40B4-BE49-F238E27FC236}">
                  <a16:creationId xmlns:a16="http://schemas.microsoft.com/office/drawing/2014/main" id="{768C755D-8564-47C0-8D6F-F3D038FF8A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60688" y="3727450"/>
              <a:ext cx="1069975" cy="869950"/>
            </a:xfrm>
            <a:custGeom>
              <a:avLst/>
              <a:gdLst>
                <a:gd name="T0" fmla="*/ 70807 w 544"/>
                <a:gd name="T1" fmla="*/ 82665 h 442"/>
                <a:gd name="T2" fmla="*/ 147515 w 544"/>
                <a:gd name="T3" fmla="*/ 17714 h 442"/>
                <a:gd name="T4" fmla="*/ 188819 w 544"/>
                <a:gd name="T5" fmla="*/ 112188 h 442"/>
                <a:gd name="T6" fmla="*/ 212422 w 544"/>
                <a:gd name="T7" fmla="*/ 200758 h 442"/>
                <a:gd name="T8" fmla="*/ 218322 w 544"/>
                <a:gd name="T9" fmla="*/ 259804 h 442"/>
                <a:gd name="T10" fmla="*/ 253726 w 544"/>
                <a:gd name="T11" fmla="*/ 277518 h 442"/>
                <a:gd name="T12" fmla="*/ 289129 w 544"/>
                <a:gd name="T13" fmla="*/ 330660 h 442"/>
                <a:gd name="T14" fmla="*/ 289129 w 544"/>
                <a:gd name="T15" fmla="*/ 403484 h 442"/>
                <a:gd name="T16" fmla="*/ 336334 w 544"/>
                <a:gd name="T17" fmla="*/ 385770 h 442"/>
                <a:gd name="T18" fmla="*/ 413042 w 544"/>
                <a:gd name="T19" fmla="*/ 368056 h 442"/>
                <a:gd name="T20" fmla="*/ 418942 w 544"/>
                <a:gd name="T21" fmla="*/ 462530 h 442"/>
                <a:gd name="T22" fmla="*/ 501551 w 544"/>
                <a:gd name="T23" fmla="*/ 480244 h 442"/>
                <a:gd name="T24" fmla="*/ 560557 w 544"/>
                <a:gd name="T25" fmla="*/ 433007 h 442"/>
                <a:gd name="T26" fmla="*/ 625463 w 544"/>
                <a:gd name="T27" fmla="*/ 373960 h 442"/>
                <a:gd name="T28" fmla="*/ 684469 w 544"/>
                <a:gd name="T29" fmla="*/ 356246 h 442"/>
                <a:gd name="T30" fmla="*/ 713972 w 544"/>
                <a:gd name="T31" fmla="*/ 307041 h 442"/>
                <a:gd name="T32" fmla="*/ 737575 w 544"/>
                <a:gd name="T33" fmla="*/ 259804 h 442"/>
                <a:gd name="T34" fmla="*/ 820183 w 544"/>
                <a:gd name="T35" fmla="*/ 265709 h 442"/>
                <a:gd name="T36" fmla="*/ 885090 w 544"/>
                <a:gd name="T37" fmla="*/ 301137 h 442"/>
                <a:gd name="T38" fmla="*/ 955897 w 544"/>
                <a:gd name="T39" fmla="*/ 247995 h 442"/>
                <a:gd name="T40" fmla="*/ 1014903 w 544"/>
                <a:gd name="T41" fmla="*/ 271613 h 442"/>
                <a:gd name="T42" fmla="*/ 1052273 w 544"/>
                <a:gd name="T43" fmla="*/ 283423 h 442"/>
                <a:gd name="T44" fmla="*/ 1052273 w 544"/>
                <a:gd name="T45" fmla="*/ 312946 h 442"/>
                <a:gd name="T46" fmla="*/ 1014903 w 544"/>
                <a:gd name="T47" fmla="*/ 356246 h 442"/>
                <a:gd name="T48" fmla="*/ 938195 w 544"/>
                <a:gd name="T49" fmla="*/ 368056 h 442"/>
                <a:gd name="T50" fmla="*/ 920493 w 544"/>
                <a:gd name="T51" fmla="*/ 444816 h 442"/>
                <a:gd name="T52" fmla="*/ 855587 w 544"/>
                <a:gd name="T53" fmla="*/ 492053 h 442"/>
                <a:gd name="T54" fmla="*/ 837885 w 544"/>
                <a:gd name="T55" fmla="*/ 586527 h 442"/>
                <a:gd name="T56" fmla="*/ 944096 w 544"/>
                <a:gd name="T57" fmla="*/ 592432 h 442"/>
                <a:gd name="T58" fmla="*/ 938195 w 544"/>
                <a:gd name="T59" fmla="*/ 645574 h 442"/>
                <a:gd name="T60" fmla="*/ 979499 w 544"/>
                <a:gd name="T61" fmla="*/ 681002 h 442"/>
                <a:gd name="T62" fmla="*/ 926394 w 544"/>
                <a:gd name="T63" fmla="*/ 716429 h 442"/>
                <a:gd name="T64" fmla="*/ 879189 w 544"/>
                <a:gd name="T65" fmla="*/ 710525 h 442"/>
                <a:gd name="T66" fmla="*/ 843785 w 544"/>
                <a:gd name="T67" fmla="*/ 710525 h 442"/>
                <a:gd name="T68" fmla="*/ 784779 w 544"/>
                <a:gd name="T69" fmla="*/ 710525 h 442"/>
                <a:gd name="T70" fmla="*/ 719873 w 544"/>
                <a:gd name="T71" fmla="*/ 728239 h 442"/>
                <a:gd name="T72" fmla="*/ 690370 w 544"/>
                <a:gd name="T73" fmla="*/ 763667 h 442"/>
                <a:gd name="T74" fmla="*/ 613662 w 544"/>
                <a:gd name="T75" fmla="*/ 775476 h 442"/>
                <a:gd name="T76" fmla="*/ 542855 w 544"/>
                <a:gd name="T77" fmla="*/ 775476 h 442"/>
                <a:gd name="T78" fmla="*/ 477948 w 544"/>
                <a:gd name="T79" fmla="*/ 793190 h 442"/>
                <a:gd name="T80" fmla="*/ 407141 w 544"/>
                <a:gd name="T81" fmla="*/ 834522 h 442"/>
                <a:gd name="T82" fmla="*/ 359936 w 544"/>
                <a:gd name="T83" fmla="*/ 864045 h 442"/>
                <a:gd name="T84" fmla="*/ 300930 w 544"/>
                <a:gd name="T85" fmla="*/ 840427 h 442"/>
                <a:gd name="T86" fmla="*/ 259626 w 544"/>
                <a:gd name="T87" fmla="*/ 822713 h 442"/>
                <a:gd name="T88" fmla="*/ 236024 w 544"/>
                <a:gd name="T89" fmla="*/ 787285 h 442"/>
                <a:gd name="T90" fmla="*/ 177018 w 544"/>
                <a:gd name="T91" fmla="*/ 781380 h 442"/>
                <a:gd name="T92" fmla="*/ 165217 w 544"/>
                <a:gd name="T93" fmla="*/ 716429 h 442"/>
                <a:gd name="T94" fmla="*/ 118012 w 544"/>
                <a:gd name="T95" fmla="*/ 745953 h 442"/>
                <a:gd name="T96" fmla="*/ 106211 w 544"/>
                <a:gd name="T97" fmla="*/ 745953 h 442"/>
                <a:gd name="T98" fmla="*/ 94410 w 544"/>
                <a:gd name="T99" fmla="*/ 704620 h 442"/>
                <a:gd name="T100" fmla="*/ 118012 w 544"/>
                <a:gd name="T101" fmla="*/ 663288 h 442"/>
                <a:gd name="T102" fmla="*/ 94410 w 544"/>
                <a:gd name="T103" fmla="*/ 610146 h 442"/>
                <a:gd name="T104" fmla="*/ 59006 w 544"/>
                <a:gd name="T105" fmla="*/ 551100 h 442"/>
                <a:gd name="T106" fmla="*/ 47205 w 544"/>
                <a:gd name="T107" fmla="*/ 521576 h 442"/>
                <a:gd name="T108" fmla="*/ 47205 w 544"/>
                <a:gd name="T109" fmla="*/ 521576 h 442"/>
                <a:gd name="T110" fmla="*/ 29503 w 544"/>
                <a:gd name="T111" fmla="*/ 503862 h 442"/>
                <a:gd name="T112" fmla="*/ 23602 w 544"/>
                <a:gd name="T113" fmla="*/ 456625 h 442"/>
                <a:gd name="T114" fmla="*/ 64907 w 544"/>
                <a:gd name="T115" fmla="*/ 456625 h 442"/>
                <a:gd name="T116" fmla="*/ 94410 w 544"/>
                <a:gd name="T117" fmla="*/ 373960 h 442"/>
                <a:gd name="T118" fmla="*/ 88509 w 544"/>
                <a:gd name="T119" fmla="*/ 307041 h 442"/>
                <a:gd name="T120" fmla="*/ 70807 w 544"/>
                <a:gd name="T121" fmla="*/ 242090 h 442"/>
                <a:gd name="T122" fmla="*/ 29503 w 544"/>
                <a:gd name="T123" fmla="*/ 188948 h 4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44" h="442">
                  <a:moveTo>
                    <a:pt x="6" y="75"/>
                  </a:moveTo>
                  <a:lnTo>
                    <a:pt x="6" y="66"/>
                  </a:lnTo>
                  <a:lnTo>
                    <a:pt x="12" y="60"/>
                  </a:lnTo>
                  <a:lnTo>
                    <a:pt x="15" y="57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7" y="36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9" y="39"/>
                  </a:lnTo>
                  <a:lnTo>
                    <a:pt x="42" y="39"/>
                  </a:lnTo>
                  <a:lnTo>
                    <a:pt x="45" y="36"/>
                  </a:lnTo>
                  <a:lnTo>
                    <a:pt x="48" y="33"/>
                  </a:lnTo>
                  <a:lnTo>
                    <a:pt x="51" y="24"/>
                  </a:lnTo>
                  <a:lnTo>
                    <a:pt x="51" y="18"/>
                  </a:lnTo>
                  <a:lnTo>
                    <a:pt x="57" y="12"/>
                  </a:lnTo>
                  <a:lnTo>
                    <a:pt x="57" y="9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6"/>
                  </a:lnTo>
                  <a:lnTo>
                    <a:pt x="63" y="3"/>
                  </a:lnTo>
                  <a:lnTo>
                    <a:pt x="69" y="0"/>
                  </a:lnTo>
                  <a:lnTo>
                    <a:pt x="72" y="6"/>
                  </a:lnTo>
                  <a:lnTo>
                    <a:pt x="75" y="9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81" y="15"/>
                  </a:lnTo>
                  <a:lnTo>
                    <a:pt x="84" y="15"/>
                  </a:lnTo>
                  <a:lnTo>
                    <a:pt x="87" y="21"/>
                  </a:lnTo>
                  <a:lnTo>
                    <a:pt x="87" y="24"/>
                  </a:lnTo>
                  <a:lnTo>
                    <a:pt x="93" y="30"/>
                  </a:lnTo>
                  <a:lnTo>
                    <a:pt x="102" y="33"/>
                  </a:lnTo>
                  <a:lnTo>
                    <a:pt x="102" y="39"/>
                  </a:lnTo>
                  <a:lnTo>
                    <a:pt x="102" y="45"/>
                  </a:lnTo>
                  <a:lnTo>
                    <a:pt x="96" y="45"/>
                  </a:lnTo>
                  <a:lnTo>
                    <a:pt x="99" y="48"/>
                  </a:lnTo>
                  <a:lnTo>
                    <a:pt x="105" y="51"/>
                  </a:lnTo>
                  <a:lnTo>
                    <a:pt x="99" y="54"/>
                  </a:lnTo>
                  <a:lnTo>
                    <a:pt x="96" y="57"/>
                  </a:lnTo>
                  <a:lnTo>
                    <a:pt x="96" y="60"/>
                  </a:lnTo>
                  <a:lnTo>
                    <a:pt x="96" y="63"/>
                  </a:lnTo>
                  <a:lnTo>
                    <a:pt x="99" y="63"/>
                  </a:lnTo>
                  <a:lnTo>
                    <a:pt x="99" y="66"/>
                  </a:lnTo>
                  <a:lnTo>
                    <a:pt x="102" y="69"/>
                  </a:lnTo>
                  <a:lnTo>
                    <a:pt x="102" y="75"/>
                  </a:lnTo>
                  <a:lnTo>
                    <a:pt x="99" y="81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2" y="93"/>
                  </a:lnTo>
                  <a:lnTo>
                    <a:pt x="105" y="93"/>
                  </a:lnTo>
                  <a:lnTo>
                    <a:pt x="108" y="96"/>
                  </a:lnTo>
                  <a:lnTo>
                    <a:pt x="108" y="99"/>
                  </a:lnTo>
                  <a:lnTo>
                    <a:pt x="108" y="102"/>
                  </a:lnTo>
                  <a:lnTo>
                    <a:pt x="108" y="105"/>
                  </a:lnTo>
                  <a:lnTo>
                    <a:pt x="105" y="108"/>
                  </a:lnTo>
                  <a:lnTo>
                    <a:pt x="108" y="108"/>
                  </a:lnTo>
                  <a:lnTo>
                    <a:pt x="111" y="108"/>
                  </a:lnTo>
                  <a:lnTo>
                    <a:pt x="111" y="111"/>
                  </a:lnTo>
                  <a:lnTo>
                    <a:pt x="108" y="114"/>
                  </a:lnTo>
                  <a:lnTo>
                    <a:pt x="111" y="114"/>
                  </a:lnTo>
                  <a:lnTo>
                    <a:pt x="114" y="117"/>
                  </a:lnTo>
                  <a:lnTo>
                    <a:pt x="111" y="117"/>
                  </a:lnTo>
                  <a:lnTo>
                    <a:pt x="111" y="120"/>
                  </a:lnTo>
                  <a:lnTo>
                    <a:pt x="111" y="123"/>
                  </a:lnTo>
                  <a:lnTo>
                    <a:pt x="111" y="126"/>
                  </a:lnTo>
                  <a:lnTo>
                    <a:pt x="111" y="129"/>
                  </a:lnTo>
                  <a:lnTo>
                    <a:pt x="114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08" y="138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11" y="144"/>
                  </a:lnTo>
                  <a:lnTo>
                    <a:pt x="114" y="144"/>
                  </a:lnTo>
                  <a:lnTo>
                    <a:pt x="114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20" y="147"/>
                  </a:lnTo>
                  <a:lnTo>
                    <a:pt x="123" y="147"/>
                  </a:lnTo>
                  <a:lnTo>
                    <a:pt x="123" y="150"/>
                  </a:lnTo>
                  <a:lnTo>
                    <a:pt x="129" y="144"/>
                  </a:lnTo>
                  <a:lnTo>
                    <a:pt x="129" y="141"/>
                  </a:lnTo>
                  <a:lnTo>
                    <a:pt x="129" y="147"/>
                  </a:lnTo>
                  <a:lnTo>
                    <a:pt x="126" y="153"/>
                  </a:lnTo>
                  <a:lnTo>
                    <a:pt x="129" y="153"/>
                  </a:lnTo>
                  <a:lnTo>
                    <a:pt x="132" y="153"/>
                  </a:lnTo>
                  <a:lnTo>
                    <a:pt x="132" y="156"/>
                  </a:lnTo>
                  <a:lnTo>
                    <a:pt x="135" y="159"/>
                  </a:lnTo>
                  <a:lnTo>
                    <a:pt x="138" y="159"/>
                  </a:lnTo>
                  <a:lnTo>
                    <a:pt x="138" y="156"/>
                  </a:lnTo>
                  <a:lnTo>
                    <a:pt x="141" y="159"/>
                  </a:lnTo>
                  <a:lnTo>
                    <a:pt x="144" y="162"/>
                  </a:lnTo>
                  <a:lnTo>
                    <a:pt x="147" y="162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5"/>
                  </a:lnTo>
                  <a:lnTo>
                    <a:pt x="147" y="178"/>
                  </a:lnTo>
                  <a:lnTo>
                    <a:pt x="147" y="181"/>
                  </a:lnTo>
                  <a:lnTo>
                    <a:pt x="138" y="184"/>
                  </a:lnTo>
                  <a:lnTo>
                    <a:pt x="141" y="190"/>
                  </a:lnTo>
                  <a:lnTo>
                    <a:pt x="141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9"/>
                  </a:lnTo>
                  <a:lnTo>
                    <a:pt x="147" y="202"/>
                  </a:lnTo>
                  <a:lnTo>
                    <a:pt x="147" y="205"/>
                  </a:lnTo>
                  <a:lnTo>
                    <a:pt x="147" y="211"/>
                  </a:lnTo>
                  <a:lnTo>
                    <a:pt x="147" y="217"/>
                  </a:lnTo>
                  <a:lnTo>
                    <a:pt x="150" y="223"/>
                  </a:lnTo>
                  <a:lnTo>
                    <a:pt x="153" y="220"/>
                  </a:lnTo>
                  <a:lnTo>
                    <a:pt x="156" y="220"/>
                  </a:lnTo>
                  <a:lnTo>
                    <a:pt x="156" y="211"/>
                  </a:lnTo>
                  <a:lnTo>
                    <a:pt x="159" y="205"/>
                  </a:lnTo>
                  <a:lnTo>
                    <a:pt x="156" y="202"/>
                  </a:lnTo>
                  <a:lnTo>
                    <a:pt x="159" y="199"/>
                  </a:lnTo>
                  <a:lnTo>
                    <a:pt x="162" y="202"/>
                  </a:lnTo>
                  <a:lnTo>
                    <a:pt x="165" y="199"/>
                  </a:lnTo>
                  <a:lnTo>
                    <a:pt x="165" y="196"/>
                  </a:lnTo>
                  <a:lnTo>
                    <a:pt x="168" y="193"/>
                  </a:lnTo>
                  <a:lnTo>
                    <a:pt x="168" y="196"/>
                  </a:lnTo>
                  <a:lnTo>
                    <a:pt x="171" y="196"/>
                  </a:lnTo>
                  <a:lnTo>
                    <a:pt x="174" y="193"/>
                  </a:lnTo>
                  <a:lnTo>
                    <a:pt x="177" y="193"/>
                  </a:lnTo>
                  <a:lnTo>
                    <a:pt x="183" y="193"/>
                  </a:lnTo>
                  <a:lnTo>
                    <a:pt x="186" y="190"/>
                  </a:lnTo>
                  <a:lnTo>
                    <a:pt x="189" y="190"/>
                  </a:lnTo>
                  <a:lnTo>
                    <a:pt x="192" y="187"/>
                  </a:lnTo>
                  <a:lnTo>
                    <a:pt x="192" y="184"/>
                  </a:lnTo>
                  <a:lnTo>
                    <a:pt x="195" y="181"/>
                  </a:lnTo>
                  <a:lnTo>
                    <a:pt x="198" y="181"/>
                  </a:lnTo>
                  <a:lnTo>
                    <a:pt x="198" y="178"/>
                  </a:lnTo>
                  <a:lnTo>
                    <a:pt x="201" y="175"/>
                  </a:lnTo>
                  <a:lnTo>
                    <a:pt x="204" y="175"/>
                  </a:lnTo>
                  <a:lnTo>
                    <a:pt x="207" y="178"/>
                  </a:lnTo>
                  <a:lnTo>
                    <a:pt x="210" y="178"/>
                  </a:lnTo>
                  <a:lnTo>
                    <a:pt x="210" y="187"/>
                  </a:lnTo>
                  <a:lnTo>
                    <a:pt x="207" y="187"/>
                  </a:lnTo>
                  <a:lnTo>
                    <a:pt x="204" y="190"/>
                  </a:lnTo>
                  <a:lnTo>
                    <a:pt x="204" y="193"/>
                  </a:lnTo>
                  <a:lnTo>
                    <a:pt x="201" y="199"/>
                  </a:lnTo>
                  <a:lnTo>
                    <a:pt x="195" y="196"/>
                  </a:lnTo>
                  <a:lnTo>
                    <a:pt x="198" y="205"/>
                  </a:lnTo>
                  <a:lnTo>
                    <a:pt x="198" y="211"/>
                  </a:lnTo>
                  <a:lnTo>
                    <a:pt x="198" y="214"/>
                  </a:lnTo>
                  <a:lnTo>
                    <a:pt x="201" y="217"/>
                  </a:lnTo>
                  <a:lnTo>
                    <a:pt x="201" y="220"/>
                  </a:lnTo>
                  <a:lnTo>
                    <a:pt x="204" y="223"/>
                  </a:lnTo>
                  <a:lnTo>
                    <a:pt x="204" y="232"/>
                  </a:lnTo>
                  <a:lnTo>
                    <a:pt x="207" y="235"/>
                  </a:lnTo>
                  <a:lnTo>
                    <a:pt x="210" y="235"/>
                  </a:lnTo>
                  <a:lnTo>
                    <a:pt x="213" y="235"/>
                  </a:lnTo>
                  <a:lnTo>
                    <a:pt x="219" y="241"/>
                  </a:lnTo>
                  <a:lnTo>
                    <a:pt x="219" y="244"/>
                  </a:lnTo>
                  <a:lnTo>
                    <a:pt x="219" y="247"/>
                  </a:lnTo>
                  <a:lnTo>
                    <a:pt x="222" y="247"/>
                  </a:lnTo>
                  <a:lnTo>
                    <a:pt x="225" y="250"/>
                  </a:lnTo>
                  <a:lnTo>
                    <a:pt x="231" y="250"/>
                  </a:lnTo>
                  <a:lnTo>
                    <a:pt x="231" y="247"/>
                  </a:lnTo>
                  <a:lnTo>
                    <a:pt x="237" y="244"/>
                  </a:lnTo>
                  <a:lnTo>
                    <a:pt x="237" y="247"/>
                  </a:lnTo>
                  <a:lnTo>
                    <a:pt x="237" y="250"/>
                  </a:lnTo>
                  <a:lnTo>
                    <a:pt x="240" y="250"/>
                  </a:lnTo>
                  <a:lnTo>
                    <a:pt x="243" y="250"/>
                  </a:lnTo>
                  <a:lnTo>
                    <a:pt x="249" y="250"/>
                  </a:lnTo>
                  <a:lnTo>
                    <a:pt x="252" y="247"/>
                  </a:lnTo>
                  <a:lnTo>
                    <a:pt x="255" y="244"/>
                  </a:lnTo>
                  <a:lnTo>
                    <a:pt x="258" y="244"/>
                  </a:lnTo>
                  <a:lnTo>
                    <a:pt x="258" y="241"/>
                  </a:lnTo>
                  <a:lnTo>
                    <a:pt x="258" y="238"/>
                  </a:lnTo>
                  <a:lnTo>
                    <a:pt x="258" y="235"/>
                  </a:lnTo>
                  <a:lnTo>
                    <a:pt x="258" y="232"/>
                  </a:lnTo>
                  <a:lnTo>
                    <a:pt x="255" y="229"/>
                  </a:lnTo>
                  <a:lnTo>
                    <a:pt x="255" y="226"/>
                  </a:lnTo>
                  <a:lnTo>
                    <a:pt x="258" y="226"/>
                  </a:lnTo>
                  <a:lnTo>
                    <a:pt x="261" y="223"/>
                  </a:lnTo>
                  <a:lnTo>
                    <a:pt x="264" y="220"/>
                  </a:lnTo>
                  <a:lnTo>
                    <a:pt x="270" y="220"/>
                  </a:lnTo>
                  <a:lnTo>
                    <a:pt x="276" y="220"/>
                  </a:lnTo>
                  <a:lnTo>
                    <a:pt x="279" y="220"/>
                  </a:lnTo>
                  <a:lnTo>
                    <a:pt x="282" y="220"/>
                  </a:lnTo>
                  <a:lnTo>
                    <a:pt x="285" y="220"/>
                  </a:lnTo>
                  <a:lnTo>
                    <a:pt x="285" y="214"/>
                  </a:lnTo>
                  <a:lnTo>
                    <a:pt x="288" y="208"/>
                  </a:lnTo>
                  <a:lnTo>
                    <a:pt x="288" y="205"/>
                  </a:lnTo>
                  <a:lnTo>
                    <a:pt x="291" y="202"/>
                  </a:lnTo>
                  <a:lnTo>
                    <a:pt x="294" y="202"/>
                  </a:lnTo>
                  <a:lnTo>
                    <a:pt x="297" y="199"/>
                  </a:lnTo>
                  <a:lnTo>
                    <a:pt x="297" y="196"/>
                  </a:lnTo>
                  <a:lnTo>
                    <a:pt x="297" y="193"/>
                  </a:lnTo>
                  <a:lnTo>
                    <a:pt x="303" y="196"/>
                  </a:lnTo>
                  <a:lnTo>
                    <a:pt x="306" y="193"/>
                  </a:lnTo>
                  <a:lnTo>
                    <a:pt x="309" y="193"/>
                  </a:lnTo>
                  <a:lnTo>
                    <a:pt x="309" y="190"/>
                  </a:lnTo>
                  <a:lnTo>
                    <a:pt x="312" y="190"/>
                  </a:lnTo>
                  <a:lnTo>
                    <a:pt x="315" y="190"/>
                  </a:lnTo>
                  <a:lnTo>
                    <a:pt x="318" y="190"/>
                  </a:lnTo>
                  <a:lnTo>
                    <a:pt x="321" y="187"/>
                  </a:lnTo>
                  <a:lnTo>
                    <a:pt x="318" y="184"/>
                  </a:lnTo>
                  <a:lnTo>
                    <a:pt x="318" y="181"/>
                  </a:lnTo>
                  <a:lnTo>
                    <a:pt x="318" y="178"/>
                  </a:lnTo>
                  <a:lnTo>
                    <a:pt x="321" y="178"/>
                  </a:lnTo>
                  <a:lnTo>
                    <a:pt x="324" y="178"/>
                  </a:lnTo>
                  <a:lnTo>
                    <a:pt x="327" y="178"/>
                  </a:lnTo>
                  <a:lnTo>
                    <a:pt x="330" y="181"/>
                  </a:lnTo>
                  <a:lnTo>
                    <a:pt x="333" y="178"/>
                  </a:lnTo>
                  <a:lnTo>
                    <a:pt x="336" y="178"/>
                  </a:lnTo>
                  <a:lnTo>
                    <a:pt x="336" y="181"/>
                  </a:lnTo>
                  <a:lnTo>
                    <a:pt x="339" y="181"/>
                  </a:lnTo>
                  <a:lnTo>
                    <a:pt x="345" y="184"/>
                  </a:lnTo>
                  <a:lnTo>
                    <a:pt x="348" y="184"/>
                  </a:lnTo>
                  <a:lnTo>
                    <a:pt x="348" y="181"/>
                  </a:lnTo>
                  <a:lnTo>
                    <a:pt x="348" y="178"/>
                  </a:lnTo>
                  <a:lnTo>
                    <a:pt x="348" y="175"/>
                  </a:lnTo>
                  <a:lnTo>
                    <a:pt x="345" y="175"/>
                  </a:lnTo>
                  <a:lnTo>
                    <a:pt x="345" y="171"/>
                  </a:lnTo>
                  <a:lnTo>
                    <a:pt x="351" y="175"/>
                  </a:lnTo>
                  <a:lnTo>
                    <a:pt x="354" y="178"/>
                  </a:lnTo>
                  <a:lnTo>
                    <a:pt x="357" y="175"/>
                  </a:lnTo>
                  <a:lnTo>
                    <a:pt x="357" y="171"/>
                  </a:lnTo>
                  <a:lnTo>
                    <a:pt x="357" y="168"/>
                  </a:lnTo>
                  <a:lnTo>
                    <a:pt x="363" y="165"/>
                  </a:lnTo>
                  <a:lnTo>
                    <a:pt x="363" y="171"/>
                  </a:lnTo>
                  <a:lnTo>
                    <a:pt x="366" y="162"/>
                  </a:lnTo>
                  <a:lnTo>
                    <a:pt x="369" y="162"/>
                  </a:lnTo>
                  <a:lnTo>
                    <a:pt x="366" y="159"/>
                  </a:lnTo>
                  <a:lnTo>
                    <a:pt x="363" y="156"/>
                  </a:lnTo>
                  <a:lnTo>
                    <a:pt x="366" y="156"/>
                  </a:lnTo>
                  <a:lnTo>
                    <a:pt x="363" y="153"/>
                  </a:lnTo>
                  <a:lnTo>
                    <a:pt x="363" y="150"/>
                  </a:lnTo>
                  <a:lnTo>
                    <a:pt x="366" y="147"/>
                  </a:lnTo>
                  <a:lnTo>
                    <a:pt x="366" y="144"/>
                  </a:lnTo>
                  <a:lnTo>
                    <a:pt x="363" y="144"/>
                  </a:lnTo>
                  <a:lnTo>
                    <a:pt x="363" y="141"/>
                  </a:lnTo>
                  <a:lnTo>
                    <a:pt x="366" y="141"/>
                  </a:lnTo>
                  <a:lnTo>
                    <a:pt x="369" y="144"/>
                  </a:lnTo>
                  <a:lnTo>
                    <a:pt x="372" y="144"/>
                  </a:lnTo>
                  <a:lnTo>
                    <a:pt x="372" y="141"/>
                  </a:lnTo>
                  <a:lnTo>
                    <a:pt x="372" y="138"/>
                  </a:lnTo>
                  <a:lnTo>
                    <a:pt x="369" y="135"/>
                  </a:lnTo>
                  <a:lnTo>
                    <a:pt x="375" y="135"/>
                  </a:lnTo>
                  <a:lnTo>
                    <a:pt x="375" y="132"/>
                  </a:lnTo>
                  <a:lnTo>
                    <a:pt x="378" y="126"/>
                  </a:lnTo>
                  <a:lnTo>
                    <a:pt x="378" y="123"/>
                  </a:lnTo>
                  <a:lnTo>
                    <a:pt x="378" y="120"/>
                  </a:lnTo>
                  <a:lnTo>
                    <a:pt x="381" y="114"/>
                  </a:lnTo>
                  <a:lnTo>
                    <a:pt x="384" y="114"/>
                  </a:lnTo>
                  <a:lnTo>
                    <a:pt x="393" y="120"/>
                  </a:lnTo>
                  <a:lnTo>
                    <a:pt x="399" y="123"/>
                  </a:lnTo>
                  <a:lnTo>
                    <a:pt x="405" y="123"/>
                  </a:lnTo>
                  <a:lnTo>
                    <a:pt x="405" y="126"/>
                  </a:lnTo>
                  <a:lnTo>
                    <a:pt x="408" y="129"/>
                  </a:lnTo>
                  <a:lnTo>
                    <a:pt x="405" y="135"/>
                  </a:lnTo>
                  <a:lnTo>
                    <a:pt x="408" y="138"/>
                  </a:lnTo>
                  <a:lnTo>
                    <a:pt x="411" y="138"/>
                  </a:lnTo>
                  <a:lnTo>
                    <a:pt x="414" y="138"/>
                  </a:lnTo>
                  <a:lnTo>
                    <a:pt x="417" y="135"/>
                  </a:lnTo>
                  <a:lnTo>
                    <a:pt x="420" y="138"/>
                  </a:lnTo>
                  <a:lnTo>
                    <a:pt x="423" y="141"/>
                  </a:lnTo>
                  <a:lnTo>
                    <a:pt x="426" y="138"/>
                  </a:lnTo>
                  <a:lnTo>
                    <a:pt x="429" y="138"/>
                  </a:lnTo>
                  <a:lnTo>
                    <a:pt x="429" y="141"/>
                  </a:lnTo>
                  <a:lnTo>
                    <a:pt x="432" y="144"/>
                  </a:lnTo>
                  <a:lnTo>
                    <a:pt x="435" y="141"/>
                  </a:lnTo>
                  <a:lnTo>
                    <a:pt x="438" y="141"/>
                  </a:lnTo>
                  <a:lnTo>
                    <a:pt x="444" y="144"/>
                  </a:lnTo>
                  <a:lnTo>
                    <a:pt x="447" y="144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0"/>
                  </a:lnTo>
                  <a:lnTo>
                    <a:pt x="447" y="153"/>
                  </a:lnTo>
                  <a:lnTo>
                    <a:pt x="450" y="153"/>
                  </a:lnTo>
                  <a:lnTo>
                    <a:pt x="450" y="150"/>
                  </a:lnTo>
                  <a:lnTo>
                    <a:pt x="453" y="150"/>
                  </a:lnTo>
                  <a:lnTo>
                    <a:pt x="456" y="147"/>
                  </a:lnTo>
                  <a:lnTo>
                    <a:pt x="459" y="144"/>
                  </a:lnTo>
                  <a:lnTo>
                    <a:pt x="459" y="141"/>
                  </a:lnTo>
                  <a:lnTo>
                    <a:pt x="462" y="138"/>
                  </a:lnTo>
                  <a:lnTo>
                    <a:pt x="462" y="135"/>
                  </a:lnTo>
                  <a:lnTo>
                    <a:pt x="462" y="132"/>
                  </a:lnTo>
                  <a:lnTo>
                    <a:pt x="465" y="129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74" y="123"/>
                  </a:lnTo>
                  <a:lnTo>
                    <a:pt x="477" y="123"/>
                  </a:lnTo>
                  <a:lnTo>
                    <a:pt x="483" y="126"/>
                  </a:lnTo>
                  <a:lnTo>
                    <a:pt x="486" y="126"/>
                  </a:lnTo>
                  <a:lnTo>
                    <a:pt x="489" y="126"/>
                  </a:lnTo>
                  <a:lnTo>
                    <a:pt x="489" y="123"/>
                  </a:lnTo>
                  <a:lnTo>
                    <a:pt x="492" y="120"/>
                  </a:lnTo>
                  <a:lnTo>
                    <a:pt x="495" y="123"/>
                  </a:lnTo>
                  <a:lnTo>
                    <a:pt x="498" y="120"/>
                  </a:lnTo>
                  <a:lnTo>
                    <a:pt x="501" y="120"/>
                  </a:lnTo>
                  <a:lnTo>
                    <a:pt x="504" y="126"/>
                  </a:lnTo>
                  <a:lnTo>
                    <a:pt x="507" y="126"/>
                  </a:lnTo>
                  <a:lnTo>
                    <a:pt x="510" y="126"/>
                  </a:lnTo>
                  <a:lnTo>
                    <a:pt x="513" y="129"/>
                  </a:lnTo>
                  <a:lnTo>
                    <a:pt x="507" y="132"/>
                  </a:lnTo>
                  <a:lnTo>
                    <a:pt x="510" y="132"/>
                  </a:lnTo>
                  <a:lnTo>
                    <a:pt x="510" y="135"/>
                  </a:lnTo>
                  <a:lnTo>
                    <a:pt x="513" y="138"/>
                  </a:lnTo>
                  <a:lnTo>
                    <a:pt x="516" y="138"/>
                  </a:lnTo>
                  <a:lnTo>
                    <a:pt x="516" y="135"/>
                  </a:lnTo>
                  <a:lnTo>
                    <a:pt x="519" y="132"/>
                  </a:lnTo>
                  <a:lnTo>
                    <a:pt x="522" y="126"/>
                  </a:lnTo>
                  <a:lnTo>
                    <a:pt x="525" y="126"/>
                  </a:lnTo>
                  <a:lnTo>
                    <a:pt x="528" y="126"/>
                  </a:lnTo>
                  <a:lnTo>
                    <a:pt x="528" y="129"/>
                  </a:lnTo>
                  <a:lnTo>
                    <a:pt x="528" y="132"/>
                  </a:lnTo>
                  <a:lnTo>
                    <a:pt x="531" y="135"/>
                  </a:lnTo>
                  <a:lnTo>
                    <a:pt x="535" y="135"/>
                  </a:lnTo>
                  <a:lnTo>
                    <a:pt x="538" y="135"/>
                  </a:lnTo>
                  <a:lnTo>
                    <a:pt x="541" y="138"/>
                  </a:lnTo>
                  <a:lnTo>
                    <a:pt x="538" y="138"/>
                  </a:lnTo>
                  <a:lnTo>
                    <a:pt x="538" y="141"/>
                  </a:lnTo>
                  <a:lnTo>
                    <a:pt x="535" y="141"/>
                  </a:lnTo>
                  <a:lnTo>
                    <a:pt x="535" y="144"/>
                  </a:lnTo>
                  <a:lnTo>
                    <a:pt x="535" y="147"/>
                  </a:lnTo>
                  <a:lnTo>
                    <a:pt x="538" y="147"/>
                  </a:lnTo>
                  <a:lnTo>
                    <a:pt x="538" y="144"/>
                  </a:lnTo>
                  <a:lnTo>
                    <a:pt x="538" y="147"/>
                  </a:lnTo>
                  <a:lnTo>
                    <a:pt x="541" y="147"/>
                  </a:lnTo>
                  <a:lnTo>
                    <a:pt x="541" y="150"/>
                  </a:lnTo>
                  <a:lnTo>
                    <a:pt x="544" y="150"/>
                  </a:lnTo>
                  <a:lnTo>
                    <a:pt x="541" y="153"/>
                  </a:lnTo>
                  <a:lnTo>
                    <a:pt x="541" y="156"/>
                  </a:lnTo>
                  <a:lnTo>
                    <a:pt x="538" y="156"/>
                  </a:lnTo>
                  <a:lnTo>
                    <a:pt x="538" y="159"/>
                  </a:lnTo>
                  <a:lnTo>
                    <a:pt x="535" y="159"/>
                  </a:lnTo>
                  <a:lnTo>
                    <a:pt x="538" y="162"/>
                  </a:lnTo>
                  <a:lnTo>
                    <a:pt x="535" y="162"/>
                  </a:lnTo>
                  <a:lnTo>
                    <a:pt x="535" y="159"/>
                  </a:lnTo>
                  <a:lnTo>
                    <a:pt x="535" y="162"/>
                  </a:lnTo>
                  <a:lnTo>
                    <a:pt x="535" y="165"/>
                  </a:lnTo>
                  <a:lnTo>
                    <a:pt x="538" y="165"/>
                  </a:lnTo>
                  <a:lnTo>
                    <a:pt x="538" y="168"/>
                  </a:lnTo>
                  <a:lnTo>
                    <a:pt x="535" y="168"/>
                  </a:lnTo>
                  <a:lnTo>
                    <a:pt x="535" y="171"/>
                  </a:lnTo>
                  <a:lnTo>
                    <a:pt x="531" y="171"/>
                  </a:lnTo>
                  <a:lnTo>
                    <a:pt x="528" y="171"/>
                  </a:lnTo>
                  <a:lnTo>
                    <a:pt x="528" y="175"/>
                  </a:lnTo>
                  <a:lnTo>
                    <a:pt x="525" y="175"/>
                  </a:lnTo>
                  <a:lnTo>
                    <a:pt x="522" y="175"/>
                  </a:lnTo>
                  <a:lnTo>
                    <a:pt x="522" y="178"/>
                  </a:lnTo>
                  <a:lnTo>
                    <a:pt x="519" y="178"/>
                  </a:lnTo>
                  <a:lnTo>
                    <a:pt x="519" y="181"/>
                  </a:lnTo>
                  <a:lnTo>
                    <a:pt x="516" y="181"/>
                  </a:lnTo>
                  <a:lnTo>
                    <a:pt x="513" y="181"/>
                  </a:lnTo>
                  <a:lnTo>
                    <a:pt x="510" y="181"/>
                  </a:lnTo>
                  <a:lnTo>
                    <a:pt x="510" y="178"/>
                  </a:lnTo>
                  <a:lnTo>
                    <a:pt x="507" y="175"/>
                  </a:lnTo>
                  <a:lnTo>
                    <a:pt x="504" y="175"/>
                  </a:lnTo>
                  <a:lnTo>
                    <a:pt x="501" y="178"/>
                  </a:lnTo>
                  <a:lnTo>
                    <a:pt x="498" y="178"/>
                  </a:lnTo>
                  <a:lnTo>
                    <a:pt x="498" y="181"/>
                  </a:lnTo>
                  <a:lnTo>
                    <a:pt x="495" y="187"/>
                  </a:lnTo>
                  <a:lnTo>
                    <a:pt x="498" y="190"/>
                  </a:lnTo>
                  <a:lnTo>
                    <a:pt x="495" y="190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3" y="190"/>
                  </a:lnTo>
                  <a:lnTo>
                    <a:pt x="477" y="187"/>
                  </a:lnTo>
                  <a:lnTo>
                    <a:pt x="477" y="193"/>
                  </a:lnTo>
                  <a:lnTo>
                    <a:pt x="474" y="196"/>
                  </a:lnTo>
                  <a:lnTo>
                    <a:pt x="471" y="193"/>
                  </a:lnTo>
                  <a:lnTo>
                    <a:pt x="468" y="190"/>
                  </a:lnTo>
                  <a:lnTo>
                    <a:pt x="465" y="196"/>
                  </a:lnTo>
                  <a:lnTo>
                    <a:pt x="462" y="196"/>
                  </a:lnTo>
                  <a:lnTo>
                    <a:pt x="459" y="199"/>
                  </a:lnTo>
                  <a:lnTo>
                    <a:pt x="462" y="202"/>
                  </a:lnTo>
                  <a:lnTo>
                    <a:pt x="462" y="208"/>
                  </a:lnTo>
                  <a:lnTo>
                    <a:pt x="465" y="211"/>
                  </a:lnTo>
                  <a:lnTo>
                    <a:pt x="465" y="217"/>
                  </a:lnTo>
                  <a:lnTo>
                    <a:pt x="465" y="220"/>
                  </a:lnTo>
                  <a:lnTo>
                    <a:pt x="465" y="223"/>
                  </a:lnTo>
                  <a:lnTo>
                    <a:pt x="462" y="223"/>
                  </a:lnTo>
                  <a:lnTo>
                    <a:pt x="468" y="226"/>
                  </a:lnTo>
                  <a:lnTo>
                    <a:pt x="471" y="229"/>
                  </a:lnTo>
                  <a:lnTo>
                    <a:pt x="471" y="232"/>
                  </a:lnTo>
                  <a:lnTo>
                    <a:pt x="474" y="232"/>
                  </a:lnTo>
                  <a:lnTo>
                    <a:pt x="471" y="238"/>
                  </a:lnTo>
                  <a:lnTo>
                    <a:pt x="465" y="238"/>
                  </a:lnTo>
                  <a:lnTo>
                    <a:pt x="462" y="235"/>
                  </a:lnTo>
                  <a:lnTo>
                    <a:pt x="456" y="235"/>
                  </a:lnTo>
                  <a:lnTo>
                    <a:pt x="453" y="238"/>
                  </a:lnTo>
                  <a:lnTo>
                    <a:pt x="450" y="238"/>
                  </a:lnTo>
                  <a:lnTo>
                    <a:pt x="447" y="235"/>
                  </a:lnTo>
                  <a:lnTo>
                    <a:pt x="450" y="238"/>
                  </a:lnTo>
                  <a:lnTo>
                    <a:pt x="450" y="241"/>
                  </a:lnTo>
                  <a:lnTo>
                    <a:pt x="450" y="244"/>
                  </a:lnTo>
                  <a:lnTo>
                    <a:pt x="441" y="244"/>
                  </a:lnTo>
                  <a:lnTo>
                    <a:pt x="435" y="250"/>
                  </a:lnTo>
                  <a:lnTo>
                    <a:pt x="438" y="256"/>
                  </a:lnTo>
                  <a:lnTo>
                    <a:pt x="435" y="256"/>
                  </a:lnTo>
                  <a:lnTo>
                    <a:pt x="435" y="259"/>
                  </a:lnTo>
                  <a:lnTo>
                    <a:pt x="438" y="259"/>
                  </a:lnTo>
                  <a:lnTo>
                    <a:pt x="438" y="262"/>
                  </a:lnTo>
                  <a:lnTo>
                    <a:pt x="432" y="271"/>
                  </a:lnTo>
                  <a:lnTo>
                    <a:pt x="429" y="274"/>
                  </a:lnTo>
                  <a:lnTo>
                    <a:pt x="426" y="277"/>
                  </a:lnTo>
                  <a:lnTo>
                    <a:pt x="426" y="283"/>
                  </a:lnTo>
                  <a:lnTo>
                    <a:pt x="423" y="286"/>
                  </a:lnTo>
                  <a:lnTo>
                    <a:pt x="420" y="289"/>
                  </a:lnTo>
                  <a:lnTo>
                    <a:pt x="420" y="292"/>
                  </a:lnTo>
                  <a:lnTo>
                    <a:pt x="417" y="295"/>
                  </a:lnTo>
                  <a:lnTo>
                    <a:pt x="423" y="298"/>
                  </a:lnTo>
                  <a:lnTo>
                    <a:pt x="426" y="298"/>
                  </a:lnTo>
                  <a:lnTo>
                    <a:pt x="429" y="298"/>
                  </a:lnTo>
                  <a:lnTo>
                    <a:pt x="435" y="298"/>
                  </a:lnTo>
                  <a:lnTo>
                    <a:pt x="438" y="298"/>
                  </a:lnTo>
                  <a:lnTo>
                    <a:pt x="441" y="298"/>
                  </a:lnTo>
                  <a:lnTo>
                    <a:pt x="447" y="295"/>
                  </a:lnTo>
                  <a:lnTo>
                    <a:pt x="450" y="295"/>
                  </a:lnTo>
                  <a:lnTo>
                    <a:pt x="453" y="295"/>
                  </a:lnTo>
                  <a:lnTo>
                    <a:pt x="456" y="295"/>
                  </a:lnTo>
                  <a:lnTo>
                    <a:pt x="465" y="295"/>
                  </a:lnTo>
                  <a:lnTo>
                    <a:pt x="468" y="295"/>
                  </a:lnTo>
                  <a:lnTo>
                    <a:pt x="468" y="298"/>
                  </a:lnTo>
                  <a:lnTo>
                    <a:pt x="471" y="301"/>
                  </a:lnTo>
                  <a:lnTo>
                    <a:pt x="474" y="301"/>
                  </a:lnTo>
                  <a:lnTo>
                    <a:pt x="477" y="301"/>
                  </a:lnTo>
                  <a:lnTo>
                    <a:pt x="480" y="301"/>
                  </a:lnTo>
                  <a:lnTo>
                    <a:pt x="483" y="301"/>
                  </a:lnTo>
                  <a:lnTo>
                    <a:pt x="489" y="304"/>
                  </a:lnTo>
                  <a:lnTo>
                    <a:pt x="492" y="304"/>
                  </a:lnTo>
                  <a:lnTo>
                    <a:pt x="492" y="307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2" y="316"/>
                  </a:lnTo>
                  <a:lnTo>
                    <a:pt x="498" y="319"/>
                  </a:lnTo>
                  <a:lnTo>
                    <a:pt x="498" y="322"/>
                  </a:lnTo>
                  <a:lnTo>
                    <a:pt x="492" y="322"/>
                  </a:lnTo>
                  <a:lnTo>
                    <a:pt x="489" y="322"/>
                  </a:lnTo>
                  <a:lnTo>
                    <a:pt x="486" y="322"/>
                  </a:lnTo>
                  <a:lnTo>
                    <a:pt x="486" y="325"/>
                  </a:lnTo>
                  <a:lnTo>
                    <a:pt x="480" y="328"/>
                  </a:lnTo>
                  <a:lnTo>
                    <a:pt x="477" y="328"/>
                  </a:lnTo>
                  <a:lnTo>
                    <a:pt x="477" y="331"/>
                  </a:lnTo>
                  <a:lnTo>
                    <a:pt x="474" y="334"/>
                  </a:lnTo>
                  <a:lnTo>
                    <a:pt x="477" y="337"/>
                  </a:lnTo>
                  <a:lnTo>
                    <a:pt x="480" y="337"/>
                  </a:lnTo>
                  <a:lnTo>
                    <a:pt x="483" y="337"/>
                  </a:lnTo>
                  <a:lnTo>
                    <a:pt x="483" y="334"/>
                  </a:lnTo>
                  <a:lnTo>
                    <a:pt x="486" y="334"/>
                  </a:lnTo>
                  <a:lnTo>
                    <a:pt x="486" y="337"/>
                  </a:lnTo>
                  <a:lnTo>
                    <a:pt x="489" y="340"/>
                  </a:lnTo>
                  <a:lnTo>
                    <a:pt x="492" y="340"/>
                  </a:lnTo>
                  <a:lnTo>
                    <a:pt x="501" y="343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5" y="346"/>
                  </a:lnTo>
                  <a:lnTo>
                    <a:pt x="495" y="349"/>
                  </a:lnTo>
                  <a:lnTo>
                    <a:pt x="495" y="352"/>
                  </a:lnTo>
                  <a:lnTo>
                    <a:pt x="495" y="355"/>
                  </a:lnTo>
                  <a:lnTo>
                    <a:pt x="492" y="355"/>
                  </a:lnTo>
                  <a:lnTo>
                    <a:pt x="489" y="355"/>
                  </a:lnTo>
                  <a:lnTo>
                    <a:pt x="486" y="355"/>
                  </a:lnTo>
                  <a:lnTo>
                    <a:pt x="483" y="355"/>
                  </a:lnTo>
                  <a:lnTo>
                    <a:pt x="483" y="358"/>
                  </a:lnTo>
                  <a:lnTo>
                    <a:pt x="480" y="358"/>
                  </a:lnTo>
                  <a:lnTo>
                    <a:pt x="477" y="358"/>
                  </a:lnTo>
                  <a:lnTo>
                    <a:pt x="474" y="358"/>
                  </a:lnTo>
                  <a:lnTo>
                    <a:pt x="474" y="361"/>
                  </a:lnTo>
                  <a:lnTo>
                    <a:pt x="471" y="361"/>
                  </a:lnTo>
                  <a:lnTo>
                    <a:pt x="471" y="364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1" y="367"/>
                  </a:lnTo>
                  <a:lnTo>
                    <a:pt x="468" y="367"/>
                  </a:lnTo>
                  <a:lnTo>
                    <a:pt x="465" y="367"/>
                  </a:lnTo>
                  <a:lnTo>
                    <a:pt x="462" y="367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6" y="364"/>
                  </a:lnTo>
                  <a:lnTo>
                    <a:pt x="453" y="364"/>
                  </a:lnTo>
                  <a:lnTo>
                    <a:pt x="450" y="364"/>
                  </a:lnTo>
                  <a:lnTo>
                    <a:pt x="447" y="364"/>
                  </a:lnTo>
                  <a:lnTo>
                    <a:pt x="447" y="361"/>
                  </a:lnTo>
                  <a:lnTo>
                    <a:pt x="444" y="361"/>
                  </a:lnTo>
                  <a:lnTo>
                    <a:pt x="441" y="361"/>
                  </a:lnTo>
                  <a:lnTo>
                    <a:pt x="441" y="358"/>
                  </a:lnTo>
                  <a:lnTo>
                    <a:pt x="438" y="361"/>
                  </a:lnTo>
                  <a:lnTo>
                    <a:pt x="441" y="361"/>
                  </a:lnTo>
                  <a:lnTo>
                    <a:pt x="444" y="361"/>
                  </a:lnTo>
                  <a:lnTo>
                    <a:pt x="444" y="364"/>
                  </a:lnTo>
                  <a:lnTo>
                    <a:pt x="441" y="364"/>
                  </a:lnTo>
                  <a:lnTo>
                    <a:pt x="438" y="364"/>
                  </a:lnTo>
                  <a:lnTo>
                    <a:pt x="438" y="367"/>
                  </a:lnTo>
                  <a:lnTo>
                    <a:pt x="438" y="364"/>
                  </a:lnTo>
                  <a:lnTo>
                    <a:pt x="435" y="364"/>
                  </a:lnTo>
                  <a:lnTo>
                    <a:pt x="432" y="364"/>
                  </a:lnTo>
                  <a:lnTo>
                    <a:pt x="432" y="361"/>
                  </a:lnTo>
                  <a:lnTo>
                    <a:pt x="429" y="361"/>
                  </a:lnTo>
                  <a:lnTo>
                    <a:pt x="426" y="361"/>
                  </a:lnTo>
                  <a:lnTo>
                    <a:pt x="423" y="361"/>
                  </a:lnTo>
                  <a:lnTo>
                    <a:pt x="420" y="358"/>
                  </a:lnTo>
                  <a:lnTo>
                    <a:pt x="420" y="361"/>
                  </a:lnTo>
                  <a:lnTo>
                    <a:pt x="420" y="358"/>
                  </a:lnTo>
                  <a:lnTo>
                    <a:pt x="417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8" y="358"/>
                  </a:lnTo>
                  <a:lnTo>
                    <a:pt x="408" y="355"/>
                  </a:lnTo>
                  <a:lnTo>
                    <a:pt x="405" y="355"/>
                  </a:lnTo>
                  <a:lnTo>
                    <a:pt x="402" y="355"/>
                  </a:lnTo>
                  <a:lnTo>
                    <a:pt x="402" y="358"/>
                  </a:lnTo>
                  <a:lnTo>
                    <a:pt x="399" y="358"/>
                  </a:lnTo>
                  <a:lnTo>
                    <a:pt x="399" y="361"/>
                  </a:lnTo>
                  <a:lnTo>
                    <a:pt x="396" y="361"/>
                  </a:lnTo>
                  <a:lnTo>
                    <a:pt x="393" y="361"/>
                  </a:lnTo>
                  <a:lnTo>
                    <a:pt x="390" y="361"/>
                  </a:lnTo>
                  <a:lnTo>
                    <a:pt x="390" y="364"/>
                  </a:lnTo>
                  <a:lnTo>
                    <a:pt x="387" y="361"/>
                  </a:lnTo>
                  <a:lnTo>
                    <a:pt x="384" y="361"/>
                  </a:lnTo>
                  <a:lnTo>
                    <a:pt x="381" y="361"/>
                  </a:lnTo>
                  <a:lnTo>
                    <a:pt x="378" y="361"/>
                  </a:lnTo>
                  <a:lnTo>
                    <a:pt x="375" y="361"/>
                  </a:lnTo>
                  <a:lnTo>
                    <a:pt x="375" y="364"/>
                  </a:lnTo>
                  <a:lnTo>
                    <a:pt x="372" y="364"/>
                  </a:lnTo>
                  <a:lnTo>
                    <a:pt x="369" y="364"/>
                  </a:lnTo>
                  <a:lnTo>
                    <a:pt x="369" y="367"/>
                  </a:lnTo>
                  <a:lnTo>
                    <a:pt x="366" y="367"/>
                  </a:lnTo>
                  <a:lnTo>
                    <a:pt x="366" y="370"/>
                  </a:lnTo>
                  <a:lnTo>
                    <a:pt x="366" y="373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3" y="376"/>
                  </a:lnTo>
                  <a:lnTo>
                    <a:pt x="360" y="376"/>
                  </a:lnTo>
                  <a:lnTo>
                    <a:pt x="357" y="376"/>
                  </a:lnTo>
                  <a:lnTo>
                    <a:pt x="357" y="379"/>
                  </a:lnTo>
                  <a:lnTo>
                    <a:pt x="354" y="379"/>
                  </a:lnTo>
                  <a:lnTo>
                    <a:pt x="351" y="382"/>
                  </a:lnTo>
                  <a:lnTo>
                    <a:pt x="348" y="385"/>
                  </a:lnTo>
                  <a:lnTo>
                    <a:pt x="351" y="385"/>
                  </a:lnTo>
                  <a:lnTo>
                    <a:pt x="351" y="388"/>
                  </a:lnTo>
                  <a:lnTo>
                    <a:pt x="348" y="388"/>
                  </a:lnTo>
                  <a:lnTo>
                    <a:pt x="348" y="391"/>
                  </a:lnTo>
                  <a:lnTo>
                    <a:pt x="345" y="394"/>
                  </a:lnTo>
                  <a:lnTo>
                    <a:pt x="342" y="394"/>
                  </a:lnTo>
                  <a:lnTo>
                    <a:pt x="339" y="394"/>
                  </a:lnTo>
                  <a:lnTo>
                    <a:pt x="336" y="397"/>
                  </a:lnTo>
                  <a:lnTo>
                    <a:pt x="333" y="397"/>
                  </a:lnTo>
                  <a:lnTo>
                    <a:pt x="330" y="397"/>
                  </a:lnTo>
                  <a:lnTo>
                    <a:pt x="327" y="397"/>
                  </a:lnTo>
                  <a:lnTo>
                    <a:pt x="327" y="394"/>
                  </a:lnTo>
                  <a:lnTo>
                    <a:pt x="324" y="394"/>
                  </a:lnTo>
                  <a:lnTo>
                    <a:pt x="321" y="394"/>
                  </a:lnTo>
                  <a:lnTo>
                    <a:pt x="318" y="394"/>
                  </a:lnTo>
                  <a:lnTo>
                    <a:pt x="315" y="394"/>
                  </a:lnTo>
                  <a:lnTo>
                    <a:pt x="312" y="394"/>
                  </a:lnTo>
                  <a:lnTo>
                    <a:pt x="309" y="394"/>
                  </a:lnTo>
                  <a:lnTo>
                    <a:pt x="309" y="397"/>
                  </a:lnTo>
                  <a:lnTo>
                    <a:pt x="306" y="397"/>
                  </a:lnTo>
                  <a:lnTo>
                    <a:pt x="303" y="397"/>
                  </a:lnTo>
                  <a:lnTo>
                    <a:pt x="303" y="400"/>
                  </a:lnTo>
                  <a:lnTo>
                    <a:pt x="300" y="400"/>
                  </a:lnTo>
                  <a:lnTo>
                    <a:pt x="297" y="400"/>
                  </a:lnTo>
                  <a:lnTo>
                    <a:pt x="294" y="400"/>
                  </a:lnTo>
                  <a:lnTo>
                    <a:pt x="291" y="400"/>
                  </a:lnTo>
                  <a:lnTo>
                    <a:pt x="291" y="397"/>
                  </a:lnTo>
                  <a:lnTo>
                    <a:pt x="288" y="397"/>
                  </a:lnTo>
                  <a:lnTo>
                    <a:pt x="285" y="397"/>
                  </a:lnTo>
                  <a:lnTo>
                    <a:pt x="282" y="394"/>
                  </a:lnTo>
                  <a:lnTo>
                    <a:pt x="279" y="394"/>
                  </a:lnTo>
                  <a:lnTo>
                    <a:pt x="276" y="394"/>
                  </a:lnTo>
                  <a:lnTo>
                    <a:pt x="273" y="394"/>
                  </a:lnTo>
                  <a:lnTo>
                    <a:pt x="270" y="394"/>
                  </a:lnTo>
                  <a:lnTo>
                    <a:pt x="267" y="394"/>
                  </a:lnTo>
                  <a:lnTo>
                    <a:pt x="264" y="394"/>
                  </a:lnTo>
                  <a:lnTo>
                    <a:pt x="261" y="397"/>
                  </a:lnTo>
                  <a:lnTo>
                    <a:pt x="261" y="400"/>
                  </a:lnTo>
                  <a:lnTo>
                    <a:pt x="261" y="403"/>
                  </a:lnTo>
                  <a:lnTo>
                    <a:pt x="261" y="406"/>
                  </a:lnTo>
                  <a:lnTo>
                    <a:pt x="261" y="403"/>
                  </a:lnTo>
                  <a:lnTo>
                    <a:pt x="258" y="403"/>
                  </a:lnTo>
                  <a:lnTo>
                    <a:pt x="255" y="403"/>
                  </a:lnTo>
                  <a:lnTo>
                    <a:pt x="252" y="403"/>
                  </a:lnTo>
                  <a:lnTo>
                    <a:pt x="249" y="403"/>
                  </a:lnTo>
                  <a:lnTo>
                    <a:pt x="246" y="403"/>
                  </a:lnTo>
                  <a:lnTo>
                    <a:pt x="243" y="403"/>
                  </a:lnTo>
                  <a:lnTo>
                    <a:pt x="240" y="403"/>
                  </a:lnTo>
                  <a:lnTo>
                    <a:pt x="237" y="403"/>
                  </a:lnTo>
                  <a:lnTo>
                    <a:pt x="234" y="403"/>
                  </a:lnTo>
                  <a:lnTo>
                    <a:pt x="231" y="406"/>
                  </a:lnTo>
                  <a:lnTo>
                    <a:pt x="228" y="406"/>
                  </a:lnTo>
                  <a:lnTo>
                    <a:pt x="225" y="409"/>
                  </a:lnTo>
                  <a:lnTo>
                    <a:pt x="225" y="412"/>
                  </a:lnTo>
                  <a:lnTo>
                    <a:pt x="222" y="412"/>
                  </a:lnTo>
                  <a:lnTo>
                    <a:pt x="222" y="415"/>
                  </a:lnTo>
                  <a:lnTo>
                    <a:pt x="219" y="415"/>
                  </a:lnTo>
                  <a:lnTo>
                    <a:pt x="216" y="418"/>
                  </a:lnTo>
                  <a:lnTo>
                    <a:pt x="213" y="421"/>
                  </a:lnTo>
                  <a:lnTo>
                    <a:pt x="210" y="421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7"/>
                  </a:lnTo>
                  <a:lnTo>
                    <a:pt x="207" y="427"/>
                  </a:lnTo>
                  <a:lnTo>
                    <a:pt x="204" y="427"/>
                  </a:lnTo>
                  <a:lnTo>
                    <a:pt x="201" y="427"/>
                  </a:lnTo>
                  <a:lnTo>
                    <a:pt x="198" y="430"/>
                  </a:lnTo>
                  <a:lnTo>
                    <a:pt x="195" y="433"/>
                  </a:lnTo>
                  <a:lnTo>
                    <a:pt x="192" y="436"/>
                  </a:lnTo>
                  <a:lnTo>
                    <a:pt x="195" y="439"/>
                  </a:lnTo>
                  <a:lnTo>
                    <a:pt x="192" y="439"/>
                  </a:lnTo>
                  <a:lnTo>
                    <a:pt x="189" y="439"/>
                  </a:lnTo>
                  <a:lnTo>
                    <a:pt x="189" y="442"/>
                  </a:lnTo>
                  <a:lnTo>
                    <a:pt x="186" y="439"/>
                  </a:lnTo>
                  <a:lnTo>
                    <a:pt x="183" y="439"/>
                  </a:lnTo>
                  <a:lnTo>
                    <a:pt x="183" y="436"/>
                  </a:lnTo>
                  <a:lnTo>
                    <a:pt x="180" y="436"/>
                  </a:lnTo>
                  <a:lnTo>
                    <a:pt x="177" y="433"/>
                  </a:lnTo>
                  <a:lnTo>
                    <a:pt x="174" y="433"/>
                  </a:lnTo>
                  <a:lnTo>
                    <a:pt x="171" y="433"/>
                  </a:lnTo>
                  <a:lnTo>
                    <a:pt x="168" y="433"/>
                  </a:lnTo>
                  <a:lnTo>
                    <a:pt x="165" y="433"/>
                  </a:lnTo>
                  <a:lnTo>
                    <a:pt x="162" y="433"/>
                  </a:lnTo>
                  <a:lnTo>
                    <a:pt x="162" y="436"/>
                  </a:lnTo>
                  <a:lnTo>
                    <a:pt x="159" y="436"/>
                  </a:lnTo>
                  <a:lnTo>
                    <a:pt x="159" y="433"/>
                  </a:lnTo>
                  <a:lnTo>
                    <a:pt x="156" y="433"/>
                  </a:lnTo>
                  <a:lnTo>
                    <a:pt x="156" y="430"/>
                  </a:lnTo>
                  <a:lnTo>
                    <a:pt x="153" y="430"/>
                  </a:lnTo>
                  <a:lnTo>
                    <a:pt x="153" y="427"/>
                  </a:lnTo>
                  <a:lnTo>
                    <a:pt x="150" y="427"/>
                  </a:lnTo>
                  <a:lnTo>
                    <a:pt x="150" y="424"/>
                  </a:lnTo>
                  <a:lnTo>
                    <a:pt x="147" y="424"/>
                  </a:lnTo>
                  <a:lnTo>
                    <a:pt x="144" y="424"/>
                  </a:lnTo>
                  <a:lnTo>
                    <a:pt x="144" y="421"/>
                  </a:lnTo>
                  <a:lnTo>
                    <a:pt x="141" y="421"/>
                  </a:lnTo>
                  <a:lnTo>
                    <a:pt x="141" y="418"/>
                  </a:lnTo>
                  <a:lnTo>
                    <a:pt x="138" y="418"/>
                  </a:lnTo>
                  <a:lnTo>
                    <a:pt x="135" y="418"/>
                  </a:lnTo>
                  <a:lnTo>
                    <a:pt x="135" y="421"/>
                  </a:lnTo>
                  <a:lnTo>
                    <a:pt x="132" y="421"/>
                  </a:lnTo>
                  <a:lnTo>
                    <a:pt x="132" y="418"/>
                  </a:lnTo>
                  <a:lnTo>
                    <a:pt x="132" y="421"/>
                  </a:lnTo>
                  <a:lnTo>
                    <a:pt x="129" y="421"/>
                  </a:lnTo>
                  <a:lnTo>
                    <a:pt x="132" y="418"/>
                  </a:lnTo>
                  <a:lnTo>
                    <a:pt x="132" y="415"/>
                  </a:lnTo>
                  <a:lnTo>
                    <a:pt x="135" y="415"/>
                  </a:lnTo>
                  <a:lnTo>
                    <a:pt x="135" y="412"/>
                  </a:lnTo>
                  <a:lnTo>
                    <a:pt x="138" y="412"/>
                  </a:lnTo>
                  <a:lnTo>
                    <a:pt x="138" y="409"/>
                  </a:lnTo>
                  <a:lnTo>
                    <a:pt x="135" y="409"/>
                  </a:lnTo>
                  <a:lnTo>
                    <a:pt x="135" y="406"/>
                  </a:lnTo>
                  <a:lnTo>
                    <a:pt x="135" y="403"/>
                  </a:lnTo>
                  <a:lnTo>
                    <a:pt x="132" y="403"/>
                  </a:lnTo>
                  <a:lnTo>
                    <a:pt x="132" y="400"/>
                  </a:lnTo>
                  <a:lnTo>
                    <a:pt x="129" y="397"/>
                  </a:lnTo>
                  <a:lnTo>
                    <a:pt x="126" y="397"/>
                  </a:lnTo>
                  <a:lnTo>
                    <a:pt x="126" y="400"/>
                  </a:lnTo>
                  <a:lnTo>
                    <a:pt x="123" y="400"/>
                  </a:lnTo>
                  <a:lnTo>
                    <a:pt x="120" y="400"/>
                  </a:lnTo>
                  <a:lnTo>
                    <a:pt x="117" y="400"/>
                  </a:lnTo>
                  <a:lnTo>
                    <a:pt x="114" y="397"/>
                  </a:lnTo>
                  <a:lnTo>
                    <a:pt x="117" y="397"/>
                  </a:lnTo>
                  <a:lnTo>
                    <a:pt x="114" y="394"/>
                  </a:lnTo>
                  <a:lnTo>
                    <a:pt x="111" y="391"/>
                  </a:lnTo>
                  <a:lnTo>
                    <a:pt x="108" y="391"/>
                  </a:lnTo>
                  <a:lnTo>
                    <a:pt x="105" y="391"/>
                  </a:lnTo>
                  <a:lnTo>
                    <a:pt x="102" y="394"/>
                  </a:lnTo>
                  <a:lnTo>
                    <a:pt x="99" y="394"/>
                  </a:lnTo>
                  <a:lnTo>
                    <a:pt x="96" y="394"/>
                  </a:lnTo>
                  <a:lnTo>
                    <a:pt x="93" y="394"/>
                  </a:lnTo>
                  <a:lnTo>
                    <a:pt x="93" y="397"/>
                  </a:lnTo>
                  <a:lnTo>
                    <a:pt x="93" y="394"/>
                  </a:lnTo>
                  <a:lnTo>
                    <a:pt x="90" y="394"/>
                  </a:lnTo>
                  <a:lnTo>
                    <a:pt x="90" y="397"/>
                  </a:lnTo>
                  <a:lnTo>
                    <a:pt x="90" y="394"/>
                  </a:lnTo>
                  <a:lnTo>
                    <a:pt x="90" y="391"/>
                  </a:lnTo>
                  <a:lnTo>
                    <a:pt x="90" y="388"/>
                  </a:lnTo>
                  <a:lnTo>
                    <a:pt x="90" y="385"/>
                  </a:lnTo>
                  <a:lnTo>
                    <a:pt x="93" y="385"/>
                  </a:lnTo>
                  <a:lnTo>
                    <a:pt x="93" y="382"/>
                  </a:lnTo>
                  <a:lnTo>
                    <a:pt x="93" y="379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3" y="373"/>
                  </a:lnTo>
                  <a:lnTo>
                    <a:pt x="93" y="370"/>
                  </a:lnTo>
                  <a:lnTo>
                    <a:pt x="90" y="370"/>
                  </a:lnTo>
                  <a:lnTo>
                    <a:pt x="90" y="367"/>
                  </a:lnTo>
                  <a:lnTo>
                    <a:pt x="87" y="364"/>
                  </a:lnTo>
                  <a:lnTo>
                    <a:pt x="84" y="364"/>
                  </a:lnTo>
                  <a:lnTo>
                    <a:pt x="81" y="364"/>
                  </a:lnTo>
                  <a:lnTo>
                    <a:pt x="78" y="364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69" y="364"/>
                  </a:lnTo>
                  <a:lnTo>
                    <a:pt x="69" y="367"/>
                  </a:lnTo>
                  <a:lnTo>
                    <a:pt x="66" y="367"/>
                  </a:lnTo>
                  <a:lnTo>
                    <a:pt x="63" y="367"/>
                  </a:lnTo>
                  <a:lnTo>
                    <a:pt x="60" y="367"/>
                  </a:lnTo>
                  <a:lnTo>
                    <a:pt x="60" y="370"/>
                  </a:lnTo>
                  <a:lnTo>
                    <a:pt x="57" y="370"/>
                  </a:lnTo>
                  <a:lnTo>
                    <a:pt x="57" y="373"/>
                  </a:lnTo>
                  <a:lnTo>
                    <a:pt x="57" y="376"/>
                  </a:lnTo>
                  <a:lnTo>
                    <a:pt x="60" y="376"/>
                  </a:lnTo>
                  <a:lnTo>
                    <a:pt x="60" y="379"/>
                  </a:lnTo>
                  <a:lnTo>
                    <a:pt x="63" y="379"/>
                  </a:lnTo>
                  <a:lnTo>
                    <a:pt x="63" y="382"/>
                  </a:lnTo>
                  <a:lnTo>
                    <a:pt x="60" y="382"/>
                  </a:lnTo>
                  <a:lnTo>
                    <a:pt x="63" y="385"/>
                  </a:lnTo>
                  <a:lnTo>
                    <a:pt x="60" y="385"/>
                  </a:lnTo>
                  <a:lnTo>
                    <a:pt x="60" y="388"/>
                  </a:lnTo>
                  <a:lnTo>
                    <a:pt x="60" y="391"/>
                  </a:lnTo>
                  <a:lnTo>
                    <a:pt x="63" y="391"/>
                  </a:lnTo>
                  <a:lnTo>
                    <a:pt x="60" y="391"/>
                  </a:lnTo>
                  <a:lnTo>
                    <a:pt x="57" y="391"/>
                  </a:lnTo>
                  <a:lnTo>
                    <a:pt x="57" y="388"/>
                  </a:lnTo>
                  <a:lnTo>
                    <a:pt x="54" y="388"/>
                  </a:lnTo>
                  <a:lnTo>
                    <a:pt x="54" y="385"/>
                  </a:lnTo>
                  <a:lnTo>
                    <a:pt x="54" y="382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48" y="373"/>
                  </a:lnTo>
                  <a:lnTo>
                    <a:pt x="48" y="370"/>
                  </a:lnTo>
                  <a:lnTo>
                    <a:pt x="51" y="370"/>
                  </a:lnTo>
                  <a:lnTo>
                    <a:pt x="51" y="367"/>
                  </a:lnTo>
                  <a:lnTo>
                    <a:pt x="51" y="364"/>
                  </a:lnTo>
                  <a:lnTo>
                    <a:pt x="54" y="364"/>
                  </a:lnTo>
                  <a:lnTo>
                    <a:pt x="51" y="361"/>
                  </a:lnTo>
                  <a:lnTo>
                    <a:pt x="51" y="364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51" y="355"/>
                  </a:lnTo>
                  <a:lnTo>
                    <a:pt x="54" y="352"/>
                  </a:lnTo>
                  <a:lnTo>
                    <a:pt x="54" y="349"/>
                  </a:lnTo>
                  <a:lnTo>
                    <a:pt x="54" y="346"/>
                  </a:lnTo>
                  <a:lnTo>
                    <a:pt x="57" y="346"/>
                  </a:lnTo>
                  <a:lnTo>
                    <a:pt x="57" y="349"/>
                  </a:lnTo>
                  <a:lnTo>
                    <a:pt x="60" y="349"/>
                  </a:lnTo>
                  <a:lnTo>
                    <a:pt x="60" y="346"/>
                  </a:lnTo>
                  <a:lnTo>
                    <a:pt x="63" y="346"/>
                  </a:lnTo>
                  <a:lnTo>
                    <a:pt x="63" y="343"/>
                  </a:lnTo>
                  <a:lnTo>
                    <a:pt x="63" y="340"/>
                  </a:lnTo>
                  <a:lnTo>
                    <a:pt x="60" y="337"/>
                  </a:lnTo>
                  <a:lnTo>
                    <a:pt x="60" y="334"/>
                  </a:lnTo>
                  <a:lnTo>
                    <a:pt x="60" y="331"/>
                  </a:lnTo>
                  <a:lnTo>
                    <a:pt x="57" y="331"/>
                  </a:lnTo>
                  <a:lnTo>
                    <a:pt x="57" y="328"/>
                  </a:lnTo>
                  <a:lnTo>
                    <a:pt x="60" y="328"/>
                  </a:lnTo>
                  <a:lnTo>
                    <a:pt x="60" y="325"/>
                  </a:lnTo>
                  <a:lnTo>
                    <a:pt x="57" y="325"/>
                  </a:lnTo>
                  <a:lnTo>
                    <a:pt x="57" y="322"/>
                  </a:lnTo>
                  <a:lnTo>
                    <a:pt x="57" y="319"/>
                  </a:lnTo>
                  <a:lnTo>
                    <a:pt x="54" y="319"/>
                  </a:lnTo>
                  <a:lnTo>
                    <a:pt x="54" y="316"/>
                  </a:lnTo>
                  <a:lnTo>
                    <a:pt x="51" y="316"/>
                  </a:lnTo>
                  <a:lnTo>
                    <a:pt x="51" y="313"/>
                  </a:lnTo>
                  <a:lnTo>
                    <a:pt x="48" y="313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8" y="304"/>
                  </a:lnTo>
                  <a:lnTo>
                    <a:pt x="45" y="301"/>
                  </a:lnTo>
                  <a:lnTo>
                    <a:pt x="45" y="298"/>
                  </a:lnTo>
                  <a:lnTo>
                    <a:pt x="42" y="298"/>
                  </a:lnTo>
                  <a:lnTo>
                    <a:pt x="42" y="295"/>
                  </a:lnTo>
                  <a:lnTo>
                    <a:pt x="39" y="295"/>
                  </a:lnTo>
                  <a:lnTo>
                    <a:pt x="36" y="295"/>
                  </a:lnTo>
                  <a:lnTo>
                    <a:pt x="36" y="292"/>
                  </a:lnTo>
                  <a:lnTo>
                    <a:pt x="33" y="292"/>
                  </a:lnTo>
                  <a:lnTo>
                    <a:pt x="36" y="289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80"/>
                  </a:lnTo>
                  <a:lnTo>
                    <a:pt x="30" y="277"/>
                  </a:lnTo>
                  <a:lnTo>
                    <a:pt x="27" y="277"/>
                  </a:lnTo>
                  <a:lnTo>
                    <a:pt x="27" y="274"/>
                  </a:lnTo>
                  <a:lnTo>
                    <a:pt x="24" y="274"/>
                  </a:lnTo>
                  <a:lnTo>
                    <a:pt x="24" y="271"/>
                  </a:lnTo>
                  <a:lnTo>
                    <a:pt x="21" y="271"/>
                  </a:lnTo>
                  <a:lnTo>
                    <a:pt x="21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4" y="268"/>
                  </a:lnTo>
                  <a:lnTo>
                    <a:pt x="24" y="271"/>
                  </a:lnTo>
                  <a:lnTo>
                    <a:pt x="27" y="271"/>
                  </a:lnTo>
                  <a:lnTo>
                    <a:pt x="27" y="274"/>
                  </a:lnTo>
                  <a:lnTo>
                    <a:pt x="30" y="274"/>
                  </a:lnTo>
                  <a:lnTo>
                    <a:pt x="30" y="277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27" y="268"/>
                  </a:lnTo>
                  <a:lnTo>
                    <a:pt x="24" y="265"/>
                  </a:lnTo>
                  <a:lnTo>
                    <a:pt x="24" y="262"/>
                  </a:lnTo>
                  <a:lnTo>
                    <a:pt x="27" y="262"/>
                  </a:lnTo>
                  <a:lnTo>
                    <a:pt x="24" y="259"/>
                  </a:lnTo>
                  <a:lnTo>
                    <a:pt x="24" y="256"/>
                  </a:lnTo>
                  <a:lnTo>
                    <a:pt x="21" y="256"/>
                  </a:lnTo>
                  <a:lnTo>
                    <a:pt x="18" y="256"/>
                  </a:lnTo>
                  <a:lnTo>
                    <a:pt x="18" y="259"/>
                  </a:lnTo>
                  <a:lnTo>
                    <a:pt x="21" y="259"/>
                  </a:lnTo>
                  <a:lnTo>
                    <a:pt x="18" y="259"/>
                  </a:lnTo>
                  <a:lnTo>
                    <a:pt x="15" y="259"/>
                  </a:lnTo>
                  <a:lnTo>
                    <a:pt x="15" y="262"/>
                  </a:lnTo>
                  <a:lnTo>
                    <a:pt x="15" y="259"/>
                  </a:lnTo>
                  <a:lnTo>
                    <a:pt x="12" y="259"/>
                  </a:lnTo>
                  <a:lnTo>
                    <a:pt x="15" y="259"/>
                  </a:lnTo>
                  <a:lnTo>
                    <a:pt x="15" y="256"/>
                  </a:lnTo>
                  <a:lnTo>
                    <a:pt x="12" y="256"/>
                  </a:lnTo>
                  <a:lnTo>
                    <a:pt x="9" y="256"/>
                  </a:lnTo>
                  <a:lnTo>
                    <a:pt x="12" y="256"/>
                  </a:lnTo>
                  <a:lnTo>
                    <a:pt x="12" y="253"/>
                  </a:lnTo>
                  <a:lnTo>
                    <a:pt x="12" y="250"/>
                  </a:lnTo>
                  <a:lnTo>
                    <a:pt x="12" y="247"/>
                  </a:lnTo>
                  <a:lnTo>
                    <a:pt x="9" y="247"/>
                  </a:lnTo>
                  <a:lnTo>
                    <a:pt x="9" y="244"/>
                  </a:lnTo>
                  <a:lnTo>
                    <a:pt x="12" y="244"/>
                  </a:lnTo>
                  <a:lnTo>
                    <a:pt x="12" y="241"/>
                  </a:lnTo>
                  <a:lnTo>
                    <a:pt x="9" y="241"/>
                  </a:lnTo>
                  <a:lnTo>
                    <a:pt x="9" y="238"/>
                  </a:lnTo>
                  <a:lnTo>
                    <a:pt x="12" y="238"/>
                  </a:lnTo>
                  <a:lnTo>
                    <a:pt x="12" y="235"/>
                  </a:lnTo>
                  <a:lnTo>
                    <a:pt x="12" y="232"/>
                  </a:lnTo>
                  <a:lnTo>
                    <a:pt x="12" y="229"/>
                  </a:lnTo>
                  <a:lnTo>
                    <a:pt x="15" y="229"/>
                  </a:lnTo>
                  <a:lnTo>
                    <a:pt x="15" y="226"/>
                  </a:lnTo>
                  <a:lnTo>
                    <a:pt x="15" y="229"/>
                  </a:lnTo>
                  <a:lnTo>
                    <a:pt x="18" y="229"/>
                  </a:lnTo>
                  <a:lnTo>
                    <a:pt x="18" y="226"/>
                  </a:lnTo>
                  <a:lnTo>
                    <a:pt x="21" y="226"/>
                  </a:lnTo>
                  <a:lnTo>
                    <a:pt x="18" y="226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32"/>
                  </a:lnTo>
                  <a:lnTo>
                    <a:pt x="24" y="232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3" y="232"/>
                  </a:lnTo>
                  <a:lnTo>
                    <a:pt x="36" y="232"/>
                  </a:lnTo>
                  <a:lnTo>
                    <a:pt x="36" y="229"/>
                  </a:lnTo>
                  <a:lnTo>
                    <a:pt x="39" y="226"/>
                  </a:lnTo>
                  <a:lnTo>
                    <a:pt x="42" y="223"/>
                  </a:lnTo>
                  <a:lnTo>
                    <a:pt x="45" y="220"/>
                  </a:lnTo>
                  <a:lnTo>
                    <a:pt x="45" y="217"/>
                  </a:lnTo>
                  <a:lnTo>
                    <a:pt x="45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08"/>
                  </a:lnTo>
                  <a:lnTo>
                    <a:pt x="48" y="205"/>
                  </a:lnTo>
                  <a:lnTo>
                    <a:pt x="48" y="202"/>
                  </a:lnTo>
                  <a:lnTo>
                    <a:pt x="48" y="199"/>
                  </a:lnTo>
                  <a:lnTo>
                    <a:pt x="48" y="196"/>
                  </a:lnTo>
                  <a:lnTo>
                    <a:pt x="48" y="190"/>
                  </a:lnTo>
                  <a:lnTo>
                    <a:pt x="48" y="187"/>
                  </a:lnTo>
                  <a:lnTo>
                    <a:pt x="51" y="187"/>
                  </a:lnTo>
                  <a:lnTo>
                    <a:pt x="51" y="184"/>
                  </a:lnTo>
                  <a:lnTo>
                    <a:pt x="51" y="181"/>
                  </a:lnTo>
                  <a:lnTo>
                    <a:pt x="48" y="181"/>
                  </a:lnTo>
                  <a:lnTo>
                    <a:pt x="48" y="178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5" y="150"/>
                  </a:lnTo>
                  <a:lnTo>
                    <a:pt x="42" y="150"/>
                  </a:lnTo>
                  <a:lnTo>
                    <a:pt x="45" y="150"/>
                  </a:lnTo>
                  <a:lnTo>
                    <a:pt x="45" y="147"/>
                  </a:lnTo>
                  <a:lnTo>
                    <a:pt x="45" y="144"/>
                  </a:lnTo>
                  <a:lnTo>
                    <a:pt x="42" y="141"/>
                  </a:lnTo>
                  <a:lnTo>
                    <a:pt x="42" y="138"/>
                  </a:lnTo>
                  <a:lnTo>
                    <a:pt x="42" y="135"/>
                  </a:lnTo>
                  <a:lnTo>
                    <a:pt x="39" y="135"/>
                  </a:lnTo>
                  <a:lnTo>
                    <a:pt x="39" y="132"/>
                  </a:lnTo>
                  <a:lnTo>
                    <a:pt x="39" y="129"/>
                  </a:lnTo>
                  <a:lnTo>
                    <a:pt x="39" y="126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3"/>
                  </a:lnTo>
                  <a:lnTo>
                    <a:pt x="33" y="120"/>
                  </a:lnTo>
                  <a:lnTo>
                    <a:pt x="33" y="117"/>
                  </a:lnTo>
                  <a:lnTo>
                    <a:pt x="30" y="117"/>
                  </a:lnTo>
                  <a:lnTo>
                    <a:pt x="30" y="114"/>
                  </a:lnTo>
                  <a:lnTo>
                    <a:pt x="30" y="111"/>
                  </a:lnTo>
                  <a:lnTo>
                    <a:pt x="27" y="111"/>
                  </a:lnTo>
                  <a:lnTo>
                    <a:pt x="27" y="108"/>
                  </a:lnTo>
                  <a:lnTo>
                    <a:pt x="24" y="108"/>
                  </a:lnTo>
                  <a:lnTo>
                    <a:pt x="24" y="105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2" y="90"/>
                  </a:lnTo>
                  <a:lnTo>
                    <a:pt x="12" y="87"/>
                  </a:lnTo>
                  <a:lnTo>
                    <a:pt x="12" y="84"/>
                  </a:lnTo>
                  <a:lnTo>
                    <a:pt x="9" y="84"/>
                  </a:lnTo>
                  <a:lnTo>
                    <a:pt x="9" y="81"/>
                  </a:lnTo>
                  <a:lnTo>
                    <a:pt x="6" y="78"/>
                  </a:lnTo>
                  <a:lnTo>
                    <a:pt x="3" y="75"/>
                  </a:lnTo>
                  <a:lnTo>
                    <a:pt x="0" y="72"/>
                  </a:lnTo>
                  <a:lnTo>
                    <a:pt x="6" y="75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31" name="Text Box 43">
              <a:extLst>
                <a:ext uri="{FF2B5EF4-FFF2-40B4-BE49-F238E27FC236}">
                  <a16:creationId xmlns:a16="http://schemas.microsoft.com/office/drawing/2014/main" id="{1AE9609F-8033-49B7-BDE5-3FB9FC42D0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09715" y="3979863"/>
              <a:ext cx="901700" cy="2301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EC</a:t>
              </a:r>
            </a:p>
            <a:p>
              <a:pPr algn="ctr" eaLnBrk="1" hangingPunct="1"/>
              <a:r>
                <a:rPr lang="en-US" altLang="en-US" sz="1000" b="1" dirty="0"/>
                <a:t>0.6</a:t>
              </a:r>
            </a:p>
          </p:txBody>
        </p:sp>
        <p:sp>
          <p:nvSpPr>
            <p:cNvPr id="132" name="Text Box 44">
              <a:extLst>
                <a:ext uri="{FF2B5EF4-FFF2-40B4-BE49-F238E27FC236}">
                  <a16:creationId xmlns:a16="http://schemas.microsoft.com/office/drawing/2014/main" id="{671710A5-3B6B-4EF5-B6FA-CEC8F8F737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1513" y="3502025"/>
              <a:ext cx="931862" cy="27305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C</a:t>
              </a:r>
            </a:p>
            <a:p>
              <a:pPr algn="ctr" eaLnBrk="1" hangingPunct="1"/>
              <a:r>
                <a:rPr lang="en-US" altLang="en-US" sz="1000" b="1" dirty="0"/>
                <a:t>29.6</a:t>
              </a:r>
            </a:p>
          </p:txBody>
        </p:sp>
        <p:sp>
          <p:nvSpPr>
            <p:cNvPr id="133" name="Text Box 45">
              <a:extLst>
                <a:ext uri="{FF2B5EF4-FFF2-40B4-BE49-F238E27FC236}">
                  <a16:creationId xmlns:a16="http://schemas.microsoft.com/office/drawing/2014/main" id="{D5B3C86C-53DB-410D-84D1-983844AD53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11416" y="2902745"/>
              <a:ext cx="776287" cy="2778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W</a:t>
              </a:r>
            </a:p>
            <a:p>
              <a:pPr algn="ctr" eaLnBrk="1" hangingPunct="1"/>
              <a:r>
                <a:rPr lang="en-US" altLang="en-US" sz="1000" b="1" dirty="0"/>
                <a:t>6.6</a:t>
              </a:r>
            </a:p>
          </p:txBody>
        </p:sp>
        <p:sp>
          <p:nvSpPr>
            <p:cNvPr id="134" name="Text Box 46">
              <a:extLst>
                <a:ext uri="{FF2B5EF4-FFF2-40B4-BE49-F238E27FC236}">
                  <a16:creationId xmlns:a16="http://schemas.microsoft.com/office/drawing/2014/main" id="{89FB74E1-A938-4360-A476-ED1C04068A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8542" y="3263900"/>
              <a:ext cx="543689" cy="328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FS</a:t>
              </a:r>
            </a:p>
            <a:p>
              <a:pPr algn="ctr" eaLnBrk="1" hangingPunct="1"/>
              <a:r>
                <a:rPr lang="en-US" altLang="en-US" sz="1000" b="1" dirty="0"/>
                <a:t>14.4</a:t>
              </a:r>
            </a:p>
          </p:txBody>
        </p:sp>
        <p:sp>
          <p:nvSpPr>
            <p:cNvPr id="135" name="Text Box 47">
              <a:extLst>
                <a:ext uri="{FF2B5EF4-FFF2-40B4-BE49-F238E27FC236}">
                  <a16:creationId xmlns:a16="http://schemas.microsoft.com/office/drawing/2014/main" id="{95EA96C9-4B36-4490-92BF-DFFDE62315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46700" y="2619375"/>
              <a:ext cx="288925" cy="284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MP</a:t>
              </a:r>
            </a:p>
            <a:p>
              <a:pPr algn="ctr" eaLnBrk="1" hangingPunct="1"/>
              <a:r>
                <a:rPr lang="en-US" altLang="en-US" sz="1000" b="1" dirty="0"/>
                <a:t>2.9</a:t>
              </a:r>
            </a:p>
          </p:txBody>
        </p:sp>
        <p:sp>
          <p:nvSpPr>
            <p:cNvPr id="136" name="Text Box 48">
              <a:extLst>
                <a:ext uri="{FF2B5EF4-FFF2-40B4-BE49-F238E27FC236}">
                  <a16:creationId xmlns:a16="http://schemas.microsoft.com/office/drawing/2014/main" id="{FAE7638A-7A99-48F1-A171-2EAB0F6BAB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02074" y="2356345"/>
              <a:ext cx="765175" cy="414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LP</a:t>
              </a:r>
            </a:p>
            <a:p>
              <a:pPr algn="ctr" eaLnBrk="1" hangingPunct="1"/>
              <a:r>
                <a:rPr lang="en-US" altLang="en-US" sz="1000" b="1" dirty="0"/>
                <a:t>0.6</a:t>
              </a:r>
            </a:p>
          </p:txBody>
        </p:sp>
        <p:sp>
          <p:nvSpPr>
            <p:cNvPr id="137" name="Text Box 49">
              <a:extLst>
                <a:ext uri="{FF2B5EF4-FFF2-40B4-BE49-F238E27FC236}">
                  <a16:creationId xmlns:a16="http://schemas.microsoft.com/office/drawing/2014/main" id="{87B6E5D5-7B2C-4F5A-8583-628B30773D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3000" y="2403475"/>
              <a:ext cx="703263" cy="250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GP</a:t>
              </a:r>
            </a:p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6.2</a:t>
              </a:r>
              <a:endParaRPr lang="en-US" altLang="en-US" sz="1000" b="1" dirty="0"/>
            </a:p>
          </p:txBody>
        </p:sp>
        <p:sp>
          <p:nvSpPr>
            <p:cNvPr id="138" name="Text Box 50">
              <a:extLst>
                <a:ext uri="{FF2B5EF4-FFF2-40B4-BE49-F238E27FC236}">
                  <a16:creationId xmlns:a16="http://schemas.microsoft.com/office/drawing/2014/main" id="{9160DBF9-7732-4215-A955-288CFA6B43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96185" y="3186112"/>
              <a:ext cx="687387" cy="4333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KZN</a:t>
              </a:r>
            </a:p>
            <a:p>
              <a:pPr algn="ctr" eaLnBrk="1" hangingPunct="1"/>
              <a:r>
                <a:rPr lang="en-US" altLang="en-US" sz="1000" b="1" dirty="0"/>
                <a:t>0.9</a:t>
              </a:r>
            </a:p>
          </p:txBody>
        </p:sp>
        <p:sp>
          <p:nvSpPr>
            <p:cNvPr id="139" name="Line 51">
              <a:extLst>
                <a:ext uri="{FF2B5EF4-FFF2-40B4-BE49-F238E27FC236}">
                  <a16:creationId xmlns:a16="http://schemas.microsoft.com/office/drawing/2014/main" id="{22701F4A-1D64-4D4D-BA83-365673445E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8938" y="2568575"/>
              <a:ext cx="495300" cy="3857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40" name="Line 52">
              <a:extLst>
                <a:ext uri="{FF2B5EF4-FFF2-40B4-BE49-F238E27FC236}">
                  <a16:creationId xmlns:a16="http://schemas.microsoft.com/office/drawing/2014/main" id="{E5541DC2-AF7E-4A0B-98CC-EFC0882F15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80000" y="2733675"/>
              <a:ext cx="331788" cy="555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41" name="Text Box 44">
              <a:extLst>
                <a:ext uri="{FF2B5EF4-FFF2-40B4-BE49-F238E27FC236}">
                  <a16:creationId xmlns:a16="http://schemas.microsoft.com/office/drawing/2014/main" id="{76827FA3-9FDC-4C5F-8E72-18498C645E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4595" y="4255239"/>
              <a:ext cx="931862" cy="196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WC</a:t>
              </a:r>
            </a:p>
            <a:p>
              <a:pPr algn="ctr" eaLnBrk="1" hangingPunct="1"/>
              <a:r>
                <a:rPr lang="en-US" altLang="en-US" sz="1000" b="1" dirty="0"/>
                <a:t>3.3</a:t>
              </a:r>
            </a:p>
          </p:txBody>
        </p:sp>
      </p:grpSp>
      <p:grpSp>
        <p:nvGrpSpPr>
          <p:cNvPr id="142" name="Group 5">
            <a:extLst>
              <a:ext uri="{FF2B5EF4-FFF2-40B4-BE49-F238E27FC236}">
                <a16:creationId xmlns:a16="http://schemas.microsoft.com/office/drawing/2014/main" id="{B95CF8BC-1CA6-43FC-9961-6151196EAF06}"/>
              </a:ext>
            </a:extLst>
          </p:cNvPr>
          <p:cNvGrpSpPr>
            <a:grpSpLocks/>
          </p:cNvGrpSpPr>
          <p:nvPr/>
        </p:nvGrpSpPr>
        <p:grpSpPr bwMode="auto">
          <a:xfrm>
            <a:off x="8810753" y="1971835"/>
            <a:ext cx="3382772" cy="2673460"/>
            <a:chOff x="2747963" y="2200275"/>
            <a:chExt cx="2897112" cy="2397125"/>
          </a:xfrm>
        </p:grpSpPr>
        <p:sp>
          <p:nvSpPr>
            <p:cNvPr id="143" name="Freeform 28">
              <a:extLst>
                <a:ext uri="{FF2B5EF4-FFF2-40B4-BE49-F238E27FC236}">
                  <a16:creationId xmlns:a16="http://schemas.microsoft.com/office/drawing/2014/main" id="{AAB06121-91A4-4B01-8F22-7D16E66803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89438" y="2200275"/>
              <a:ext cx="903287" cy="577850"/>
            </a:xfrm>
            <a:custGeom>
              <a:avLst/>
              <a:gdLst>
                <a:gd name="T0" fmla="*/ 194827 w 459"/>
                <a:gd name="T1" fmla="*/ 206375 h 294"/>
                <a:gd name="T2" fmla="*/ 224346 w 459"/>
                <a:gd name="T3" fmla="*/ 188686 h 294"/>
                <a:gd name="T4" fmla="*/ 253865 w 459"/>
                <a:gd name="T5" fmla="*/ 165100 h 294"/>
                <a:gd name="T6" fmla="*/ 277480 w 459"/>
                <a:gd name="T7" fmla="*/ 123825 h 294"/>
                <a:gd name="T8" fmla="*/ 312903 w 459"/>
                <a:gd name="T9" fmla="*/ 88446 h 294"/>
                <a:gd name="T10" fmla="*/ 377846 w 459"/>
                <a:gd name="T11" fmla="*/ 76654 h 294"/>
                <a:gd name="T12" fmla="*/ 419172 w 459"/>
                <a:gd name="T13" fmla="*/ 47171 h 294"/>
                <a:gd name="T14" fmla="*/ 448692 w 459"/>
                <a:gd name="T15" fmla="*/ 17689 h 294"/>
                <a:gd name="T16" fmla="*/ 501826 w 459"/>
                <a:gd name="T17" fmla="*/ 11793 h 294"/>
                <a:gd name="T18" fmla="*/ 554961 w 459"/>
                <a:gd name="T19" fmla="*/ 5896 h 294"/>
                <a:gd name="T20" fmla="*/ 608095 w 459"/>
                <a:gd name="T21" fmla="*/ 29482 h 294"/>
                <a:gd name="T22" fmla="*/ 661230 w 459"/>
                <a:gd name="T23" fmla="*/ 41275 h 294"/>
                <a:gd name="T24" fmla="*/ 702557 w 459"/>
                <a:gd name="T25" fmla="*/ 35379 h 294"/>
                <a:gd name="T26" fmla="*/ 755691 w 459"/>
                <a:gd name="T27" fmla="*/ 35379 h 294"/>
                <a:gd name="T28" fmla="*/ 797018 w 459"/>
                <a:gd name="T29" fmla="*/ 47171 h 294"/>
                <a:gd name="T30" fmla="*/ 832441 w 459"/>
                <a:gd name="T31" fmla="*/ 129721 h 294"/>
                <a:gd name="T32" fmla="*/ 861960 w 459"/>
                <a:gd name="T33" fmla="*/ 259443 h 294"/>
                <a:gd name="T34" fmla="*/ 903287 w 459"/>
                <a:gd name="T35" fmla="*/ 336096 h 294"/>
                <a:gd name="T36" fmla="*/ 856056 w 459"/>
                <a:gd name="T37" fmla="*/ 341993 h 294"/>
                <a:gd name="T38" fmla="*/ 808826 w 459"/>
                <a:gd name="T39" fmla="*/ 353786 h 294"/>
                <a:gd name="T40" fmla="*/ 820633 w 459"/>
                <a:gd name="T41" fmla="*/ 406854 h 294"/>
                <a:gd name="T42" fmla="*/ 856056 w 459"/>
                <a:gd name="T43" fmla="*/ 454025 h 294"/>
                <a:gd name="T44" fmla="*/ 814729 w 459"/>
                <a:gd name="T45" fmla="*/ 489404 h 294"/>
                <a:gd name="T46" fmla="*/ 814729 w 459"/>
                <a:gd name="T47" fmla="*/ 512989 h 294"/>
                <a:gd name="T48" fmla="*/ 797018 w 459"/>
                <a:gd name="T49" fmla="*/ 518886 h 294"/>
                <a:gd name="T50" fmla="*/ 797018 w 459"/>
                <a:gd name="T51" fmla="*/ 501196 h 294"/>
                <a:gd name="T52" fmla="*/ 767499 w 459"/>
                <a:gd name="T53" fmla="*/ 471714 h 294"/>
                <a:gd name="T54" fmla="*/ 761595 w 459"/>
                <a:gd name="T55" fmla="*/ 442232 h 294"/>
                <a:gd name="T56" fmla="*/ 714364 w 459"/>
                <a:gd name="T57" fmla="*/ 436336 h 294"/>
                <a:gd name="T58" fmla="*/ 655326 w 459"/>
                <a:gd name="T59" fmla="*/ 442232 h 294"/>
                <a:gd name="T60" fmla="*/ 625807 w 459"/>
                <a:gd name="T61" fmla="*/ 465818 h 294"/>
                <a:gd name="T62" fmla="*/ 596287 w 459"/>
                <a:gd name="T63" fmla="*/ 501196 h 294"/>
                <a:gd name="T64" fmla="*/ 554961 w 459"/>
                <a:gd name="T65" fmla="*/ 524782 h 294"/>
                <a:gd name="T66" fmla="*/ 507730 w 459"/>
                <a:gd name="T67" fmla="*/ 542471 h 294"/>
                <a:gd name="T68" fmla="*/ 495922 w 459"/>
                <a:gd name="T69" fmla="*/ 507093 h 294"/>
                <a:gd name="T70" fmla="*/ 501826 w 459"/>
                <a:gd name="T71" fmla="*/ 471714 h 294"/>
                <a:gd name="T72" fmla="*/ 460499 w 459"/>
                <a:gd name="T73" fmla="*/ 501196 h 294"/>
                <a:gd name="T74" fmla="*/ 401461 w 459"/>
                <a:gd name="T75" fmla="*/ 507093 h 294"/>
                <a:gd name="T76" fmla="*/ 354230 w 459"/>
                <a:gd name="T77" fmla="*/ 530679 h 294"/>
                <a:gd name="T78" fmla="*/ 348326 w 459"/>
                <a:gd name="T79" fmla="*/ 554264 h 294"/>
                <a:gd name="T80" fmla="*/ 377846 w 459"/>
                <a:gd name="T81" fmla="*/ 560161 h 294"/>
                <a:gd name="T82" fmla="*/ 336519 w 459"/>
                <a:gd name="T83" fmla="*/ 577850 h 294"/>
                <a:gd name="T84" fmla="*/ 289288 w 459"/>
                <a:gd name="T85" fmla="*/ 554264 h 294"/>
                <a:gd name="T86" fmla="*/ 301096 w 459"/>
                <a:gd name="T87" fmla="*/ 536575 h 294"/>
                <a:gd name="T88" fmla="*/ 259769 w 459"/>
                <a:gd name="T89" fmla="*/ 512989 h 294"/>
                <a:gd name="T90" fmla="*/ 194827 w 459"/>
                <a:gd name="T91" fmla="*/ 512989 h 294"/>
                <a:gd name="T92" fmla="*/ 153500 w 459"/>
                <a:gd name="T93" fmla="*/ 536575 h 294"/>
                <a:gd name="T94" fmla="*/ 123981 w 459"/>
                <a:gd name="T95" fmla="*/ 507093 h 294"/>
                <a:gd name="T96" fmla="*/ 53135 w 459"/>
                <a:gd name="T97" fmla="*/ 495300 h 294"/>
                <a:gd name="T98" fmla="*/ 5904 w 459"/>
                <a:gd name="T99" fmla="*/ 477611 h 294"/>
                <a:gd name="T100" fmla="*/ 0 w 459"/>
                <a:gd name="T101" fmla="*/ 454025 h 294"/>
                <a:gd name="T102" fmla="*/ 29519 w 459"/>
                <a:gd name="T103" fmla="*/ 412750 h 294"/>
                <a:gd name="T104" fmla="*/ 64942 w 459"/>
                <a:gd name="T105" fmla="*/ 389164 h 294"/>
                <a:gd name="T106" fmla="*/ 82654 w 459"/>
                <a:gd name="T107" fmla="*/ 341993 h 294"/>
                <a:gd name="T108" fmla="*/ 94461 w 459"/>
                <a:gd name="T109" fmla="*/ 294821 h 294"/>
                <a:gd name="T110" fmla="*/ 106269 w 459"/>
                <a:gd name="T111" fmla="*/ 265339 h 294"/>
                <a:gd name="T112" fmla="*/ 129884 w 459"/>
                <a:gd name="T113" fmla="*/ 247650 h 294"/>
                <a:gd name="T114" fmla="*/ 153500 w 459"/>
                <a:gd name="T115" fmla="*/ 229961 h 2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459" h="294">
                  <a:moveTo>
                    <a:pt x="84" y="120"/>
                  </a:moveTo>
                  <a:lnTo>
                    <a:pt x="87" y="120"/>
                  </a:lnTo>
                  <a:lnTo>
                    <a:pt x="87" y="117"/>
                  </a:lnTo>
                  <a:lnTo>
                    <a:pt x="87" y="114"/>
                  </a:lnTo>
                  <a:lnTo>
                    <a:pt x="90" y="114"/>
                  </a:lnTo>
                  <a:lnTo>
                    <a:pt x="93" y="114"/>
                  </a:lnTo>
                  <a:lnTo>
                    <a:pt x="96" y="114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9" y="108"/>
                  </a:lnTo>
                  <a:lnTo>
                    <a:pt x="99" y="105"/>
                  </a:lnTo>
                  <a:lnTo>
                    <a:pt x="99" y="102"/>
                  </a:lnTo>
                  <a:lnTo>
                    <a:pt x="99" y="99"/>
                  </a:lnTo>
                  <a:lnTo>
                    <a:pt x="102" y="99"/>
                  </a:lnTo>
                  <a:lnTo>
                    <a:pt x="105" y="99"/>
                  </a:lnTo>
                  <a:lnTo>
                    <a:pt x="105" y="102"/>
                  </a:lnTo>
                  <a:lnTo>
                    <a:pt x="105" y="99"/>
                  </a:lnTo>
                  <a:lnTo>
                    <a:pt x="108" y="99"/>
                  </a:lnTo>
                  <a:lnTo>
                    <a:pt x="111" y="102"/>
                  </a:lnTo>
                  <a:lnTo>
                    <a:pt x="111" y="99"/>
                  </a:lnTo>
                  <a:lnTo>
                    <a:pt x="114" y="99"/>
                  </a:lnTo>
                  <a:lnTo>
                    <a:pt x="114" y="96"/>
                  </a:lnTo>
                  <a:lnTo>
                    <a:pt x="117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7" y="93"/>
                  </a:lnTo>
                  <a:lnTo>
                    <a:pt x="117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87"/>
                  </a:lnTo>
                  <a:lnTo>
                    <a:pt x="126" y="87"/>
                  </a:lnTo>
                  <a:lnTo>
                    <a:pt x="126" y="84"/>
                  </a:lnTo>
                  <a:lnTo>
                    <a:pt x="129" y="84"/>
                  </a:lnTo>
                  <a:lnTo>
                    <a:pt x="129" y="81"/>
                  </a:lnTo>
                  <a:lnTo>
                    <a:pt x="129" y="78"/>
                  </a:lnTo>
                  <a:lnTo>
                    <a:pt x="129" y="75"/>
                  </a:lnTo>
                  <a:lnTo>
                    <a:pt x="132" y="75"/>
                  </a:lnTo>
                  <a:lnTo>
                    <a:pt x="135" y="75"/>
                  </a:lnTo>
                  <a:lnTo>
                    <a:pt x="135" y="72"/>
                  </a:lnTo>
                  <a:lnTo>
                    <a:pt x="138" y="72"/>
                  </a:lnTo>
                  <a:lnTo>
                    <a:pt x="138" y="69"/>
                  </a:lnTo>
                  <a:lnTo>
                    <a:pt x="138" y="66"/>
                  </a:lnTo>
                  <a:lnTo>
                    <a:pt x="138" y="63"/>
                  </a:lnTo>
                  <a:lnTo>
                    <a:pt x="141" y="63"/>
                  </a:lnTo>
                  <a:lnTo>
                    <a:pt x="144" y="60"/>
                  </a:lnTo>
                  <a:lnTo>
                    <a:pt x="147" y="60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50" y="51"/>
                  </a:lnTo>
                  <a:lnTo>
                    <a:pt x="153" y="51"/>
                  </a:lnTo>
                  <a:lnTo>
                    <a:pt x="153" y="48"/>
                  </a:lnTo>
                  <a:lnTo>
                    <a:pt x="156" y="48"/>
                  </a:lnTo>
                  <a:lnTo>
                    <a:pt x="156" y="45"/>
                  </a:lnTo>
                  <a:lnTo>
                    <a:pt x="159" y="45"/>
                  </a:lnTo>
                  <a:lnTo>
                    <a:pt x="162" y="42"/>
                  </a:lnTo>
                  <a:lnTo>
                    <a:pt x="165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4" y="42"/>
                  </a:lnTo>
                  <a:lnTo>
                    <a:pt x="177" y="42"/>
                  </a:lnTo>
                  <a:lnTo>
                    <a:pt x="180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92" y="39"/>
                  </a:lnTo>
                  <a:lnTo>
                    <a:pt x="192" y="36"/>
                  </a:lnTo>
                  <a:lnTo>
                    <a:pt x="195" y="36"/>
                  </a:lnTo>
                  <a:lnTo>
                    <a:pt x="198" y="36"/>
                  </a:lnTo>
                  <a:lnTo>
                    <a:pt x="201" y="33"/>
                  </a:lnTo>
                  <a:lnTo>
                    <a:pt x="204" y="33"/>
                  </a:lnTo>
                  <a:lnTo>
                    <a:pt x="204" y="30"/>
                  </a:lnTo>
                  <a:lnTo>
                    <a:pt x="207" y="30"/>
                  </a:lnTo>
                  <a:lnTo>
                    <a:pt x="210" y="30"/>
                  </a:lnTo>
                  <a:lnTo>
                    <a:pt x="213" y="30"/>
                  </a:lnTo>
                  <a:lnTo>
                    <a:pt x="213" y="27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3" y="21"/>
                  </a:lnTo>
                  <a:lnTo>
                    <a:pt x="213" y="18"/>
                  </a:lnTo>
                  <a:lnTo>
                    <a:pt x="216" y="18"/>
                  </a:lnTo>
                  <a:lnTo>
                    <a:pt x="216" y="15"/>
                  </a:lnTo>
                  <a:lnTo>
                    <a:pt x="219" y="15"/>
                  </a:lnTo>
                  <a:lnTo>
                    <a:pt x="219" y="12"/>
                  </a:lnTo>
                  <a:lnTo>
                    <a:pt x="219" y="9"/>
                  </a:lnTo>
                  <a:lnTo>
                    <a:pt x="222" y="9"/>
                  </a:lnTo>
                  <a:lnTo>
                    <a:pt x="225" y="9"/>
                  </a:lnTo>
                  <a:lnTo>
                    <a:pt x="228" y="9"/>
                  </a:lnTo>
                  <a:lnTo>
                    <a:pt x="231" y="9"/>
                  </a:lnTo>
                  <a:lnTo>
                    <a:pt x="234" y="6"/>
                  </a:lnTo>
                  <a:lnTo>
                    <a:pt x="237" y="6"/>
                  </a:lnTo>
                  <a:lnTo>
                    <a:pt x="240" y="6"/>
                  </a:lnTo>
                  <a:lnTo>
                    <a:pt x="243" y="6"/>
                  </a:lnTo>
                  <a:lnTo>
                    <a:pt x="246" y="9"/>
                  </a:lnTo>
                  <a:lnTo>
                    <a:pt x="246" y="6"/>
                  </a:lnTo>
                  <a:lnTo>
                    <a:pt x="246" y="9"/>
                  </a:lnTo>
                  <a:lnTo>
                    <a:pt x="249" y="6"/>
                  </a:lnTo>
                  <a:lnTo>
                    <a:pt x="252" y="6"/>
                  </a:lnTo>
                  <a:lnTo>
                    <a:pt x="255" y="6"/>
                  </a:lnTo>
                  <a:lnTo>
                    <a:pt x="258" y="6"/>
                  </a:lnTo>
                  <a:lnTo>
                    <a:pt x="261" y="6"/>
                  </a:lnTo>
                  <a:lnTo>
                    <a:pt x="261" y="3"/>
                  </a:lnTo>
                  <a:lnTo>
                    <a:pt x="264" y="3"/>
                  </a:lnTo>
                  <a:lnTo>
                    <a:pt x="267" y="3"/>
                  </a:lnTo>
                  <a:lnTo>
                    <a:pt x="270" y="3"/>
                  </a:lnTo>
                  <a:lnTo>
                    <a:pt x="273" y="0"/>
                  </a:lnTo>
                  <a:lnTo>
                    <a:pt x="273" y="3"/>
                  </a:lnTo>
                  <a:lnTo>
                    <a:pt x="276" y="3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9"/>
                  </a:lnTo>
                  <a:lnTo>
                    <a:pt x="300" y="9"/>
                  </a:lnTo>
                  <a:lnTo>
                    <a:pt x="303" y="9"/>
                  </a:lnTo>
                  <a:lnTo>
                    <a:pt x="303" y="12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12" y="18"/>
                  </a:lnTo>
                  <a:lnTo>
                    <a:pt x="315" y="18"/>
                  </a:lnTo>
                  <a:lnTo>
                    <a:pt x="318" y="18"/>
                  </a:lnTo>
                  <a:lnTo>
                    <a:pt x="321" y="15"/>
                  </a:lnTo>
                  <a:lnTo>
                    <a:pt x="321" y="18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1"/>
                  </a:lnTo>
                  <a:lnTo>
                    <a:pt x="336" y="21"/>
                  </a:lnTo>
                  <a:lnTo>
                    <a:pt x="339" y="21"/>
                  </a:lnTo>
                  <a:lnTo>
                    <a:pt x="339" y="18"/>
                  </a:lnTo>
                  <a:lnTo>
                    <a:pt x="342" y="18"/>
                  </a:lnTo>
                  <a:lnTo>
                    <a:pt x="345" y="18"/>
                  </a:lnTo>
                  <a:lnTo>
                    <a:pt x="348" y="18"/>
                  </a:lnTo>
                  <a:lnTo>
                    <a:pt x="348" y="21"/>
                  </a:lnTo>
                  <a:lnTo>
                    <a:pt x="348" y="18"/>
                  </a:lnTo>
                  <a:lnTo>
                    <a:pt x="351" y="18"/>
                  </a:lnTo>
                  <a:lnTo>
                    <a:pt x="354" y="21"/>
                  </a:lnTo>
                  <a:lnTo>
                    <a:pt x="354" y="18"/>
                  </a:lnTo>
                  <a:lnTo>
                    <a:pt x="357" y="18"/>
                  </a:lnTo>
                  <a:lnTo>
                    <a:pt x="360" y="18"/>
                  </a:lnTo>
                  <a:lnTo>
                    <a:pt x="363" y="18"/>
                  </a:lnTo>
                  <a:lnTo>
                    <a:pt x="366" y="18"/>
                  </a:lnTo>
                  <a:lnTo>
                    <a:pt x="369" y="18"/>
                  </a:lnTo>
                  <a:lnTo>
                    <a:pt x="369" y="15"/>
                  </a:lnTo>
                  <a:lnTo>
                    <a:pt x="372" y="15"/>
                  </a:lnTo>
                  <a:lnTo>
                    <a:pt x="375" y="18"/>
                  </a:lnTo>
                  <a:lnTo>
                    <a:pt x="378" y="15"/>
                  </a:lnTo>
                  <a:lnTo>
                    <a:pt x="378" y="18"/>
                  </a:lnTo>
                  <a:lnTo>
                    <a:pt x="381" y="18"/>
                  </a:lnTo>
                  <a:lnTo>
                    <a:pt x="384" y="18"/>
                  </a:lnTo>
                  <a:lnTo>
                    <a:pt x="387" y="18"/>
                  </a:lnTo>
                  <a:lnTo>
                    <a:pt x="387" y="21"/>
                  </a:lnTo>
                  <a:lnTo>
                    <a:pt x="390" y="21"/>
                  </a:lnTo>
                  <a:lnTo>
                    <a:pt x="393" y="21"/>
                  </a:lnTo>
                  <a:lnTo>
                    <a:pt x="396" y="21"/>
                  </a:lnTo>
                  <a:lnTo>
                    <a:pt x="396" y="18"/>
                  </a:lnTo>
                  <a:lnTo>
                    <a:pt x="399" y="18"/>
                  </a:lnTo>
                  <a:lnTo>
                    <a:pt x="399" y="21"/>
                  </a:lnTo>
                  <a:lnTo>
                    <a:pt x="402" y="21"/>
                  </a:lnTo>
                  <a:lnTo>
                    <a:pt x="402" y="24"/>
                  </a:lnTo>
                  <a:lnTo>
                    <a:pt x="405" y="24"/>
                  </a:lnTo>
                  <a:lnTo>
                    <a:pt x="405" y="21"/>
                  </a:lnTo>
                  <a:lnTo>
                    <a:pt x="408" y="24"/>
                  </a:lnTo>
                  <a:lnTo>
                    <a:pt x="408" y="27"/>
                  </a:lnTo>
                  <a:lnTo>
                    <a:pt x="411" y="27"/>
                  </a:lnTo>
                  <a:lnTo>
                    <a:pt x="411" y="30"/>
                  </a:lnTo>
                  <a:lnTo>
                    <a:pt x="411" y="33"/>
                  </a:lnTo>
                  <a:lnTo>
                    <a:pt x="414" y="36"/>
                  </a:lnTo>
                  <a:lnTo>
                    <a:pt x="414" y="39"/>
                  </a:lnTo>
                  <a:lnTo>
                    <a:pt x="414" y="42"/>
                  </a:lnTo>
                  <a:lnTo>
                    <a:pt x="417" y="54"/>
                  </a:lnTo>
                  <a:lnTo>
                    <a:pt x="423" y="66"/>
                  </a:lnTo>
                  <a:lnTo>
                    <a:pt x="426" y="81"/>
                  </a:lnTo>
                  <a:lnTo>
                    <a:pt x="429" y="84"/>
                  </a:lnTo>
                  <a:lnTo>
                    <a:pt x="429" y="87"/>
                  </a:lnTo>
                  <a:lnTo>
                    <a:pt x="429" y="90"/>
                  </a:lnTo>
                  <a:lnTo>
                    <a:pt x="432" y="93"/>
                  </a:lnTo>
                  <a:lnTo>
                    <a:pt x="432" y="99"/>
                  </a:lnTo>
                  <a:lnTo>
                    <a:pt x="432" y="111"/>
                  </a:lnTo>
                  <a:lnTo>
                    <a:pt x="432" y="120"/>
                  </a:lnTo>
                  <a:lnTo>
                    <a:pt x="432" y="123"/>
                  </a:lnTo>
                  <a:lnTo>
                    <a:pt x="435" y="129"/>
                  </a:lnTo>
                  <a:lnTo>
                    <a:pt x="438" y="132"/>
                  </a:lnTo>
                  <a:lnTo>
                    <a:pt x="441" y="135"/>
                  </a:lnTo>
                  <a:lnTo>
                    <a:pt x="444" y="138"/>
                  </a:lnTo>
                  <a:lnTo>
                    <a:pt x="444" y="141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3"/>
                  </a:lnTo>
                  <a:lnTo>
                    <a:pt x="447" y="156"/>
                  </a:lnTo>
                  <a:lnTo>
                    <a:pt x="450" y="162"/>
                  </a:lnTo>
                  <a:lnTo>
                    <a:pt x="453" y="165"/>
                  </a:lnTo>
                  <a:lnTo>
                    <a:pt x="459" y="168"/>
                  </a:lnTo>
                  <a:lnTo>
                    <a:pt x="459" y="171"/>
                  </a:lnTo>
                  <a:lnTo>
                    <a:pt x="456" y="171"/>
                  </a:lnTo>
                  <a:lnTo>
                    <a:pt x="453" y="171"/>
                  </a:lnTo>
                  <a:lnTo>
                    <a:pt x="450" y="171"/>
                  </a:lnTo>
                  <a:lnTo>
                    <a:pt x="447" y="171"/>
                  </a:lnTo>
                  <a:lnTo>
                    <a:pt x="447" y="174"/>
                  </a:lnTo>
                  <a:lnTo>
                    <a:pt x="447" y="177"/>
                  </a:lnTo>
                  <a:lnTo>
                    <a:pt x="444" y="177"/>
                  </a:lnTo>
                  <a:lnTo>
                    <a:pt x="441" y="177"/>
                  </a:lnTo>
                  <a:lnTo>
                    <a:pt x="441" y="174"/>
                  </a:lnTo>
                  <a:lnTo>
                    <a:pt x="438" y="174"/>
                  </a:lnTo>
                  <a:lnTo>
                    <a:pt x="435" y="174"/>
                  </a:lnTo>
                  <a:lnTo>
                    <a:pt x="435" y="177"/>
                  </a:lnTo>
                  <a:lnTo>
                    <a:pt x="432" y="174"/>
                  </a:lnTo>
                  <a:lnTo>
                    <a:pt x="432" y="177"/>
                  </a:lnTo>
                  <a:lnTo>
                    <a:pt x="429" y="177"/>
                  </a:lnTo>
                  <a:lnTo>
                    <a:pt x="426" y="174"/>
                  </a:lnTo>
                  <a:lnTo>
                    <a:pt x="423" y="174"/>
                  </a:lnTo>
                  <a:lnTo>
                    <a:pt x="423" y="177"/>
                  </a:lnTo>
                  <a:lnTo>
                    <a:pt x="420" y="177"/>
                  </a:lnTo>
                  <a:lnTo>
                    <a:pt x="417" y="177"/>
                  </a:lnTo>
                  <a:lnTo>
                    <a:pt x="414" y="180"/>
                  </a:lnTo>
                  <a:lnTo>
                    <a:pt x="411" y="180"/>
                  </a:lnTo>
                  <a:lnTo>
                    <a:pt x="408" y="180"/>
                  </a:lnTo>
                  <a:lnTo>
                    <a:pt x="411" y="183"/>
                  </a:lnTo>
                  <a:lnTo>
                    <a:pt x="417" y="183"/>
                  </a:lnTo>
                  <a:lnTo>
                    <a:pt x="426" y="180"/>
                  </a:lnTo>
                  <a:lnTo>
                    <a:pt x="426" y="186"/>
                  </a:lnTo>
                  <a:lnTo>
                    <a:pt x="423" y="189"/>
                  </a:lnTo>
                  <a:lnTo>
                    <a:pt x="420" y="189"/>
                  </a:lnTo>
                  <a:lnTo>
                    <a:pt x="423" y="195"/>
                  </a:lnTo>
                  <a:lnTo>
                    <a:pt x="423" y="201"/>
                  </a:lnTo>
                  <a:lnTo>
                    <a:pt x="417" y="204"/>
                  </a:lnTo>
                  <a:lnTo>
                    <a:pt x="417" y="207"/>
                  </a:lnTo>
                  <a:lnTo>
                    <a:pt x="414" y="210"/>
                  </a:lnTo>
                  <a:lnTo>
                    <a:pt x="420" y="213"/>
                  </a:lnTo>
                  <a:lnTo>
                    <a:pt x="417" y="216"/>
                  </a:lnTo>
                  <a:lnTo>
                    <a:pt x="426" y="216"/>
                  </a:lnTo>
                  <a:lnTo>
                    <a:pt x="423" y="219"/>
                  </a:lnTo>
                  <a:lnTo>
                    <a:pt x="420" y="219"/>
                  </a:lnTo>
                  <a:lnTo>
                    <a:pt x="423" y="222"/>
                  </a:lnTo>
                  <a:lnTo>
                    <a:pt x="426" y="225"/>
                  </a:lnTo>
                  <a:lnTo>
                    <a:pt x="429" y="228"/>
                  </a:lnTo>
                  <a:lnTo>
                    <a:pt x="435" y="228"/>
                  </a:lnTo>
                  <a:lnTo>
                    <a:pt x="435" y="231"/>
                  </a:lnTo>
                  <a:lnTo>
                    <a:pt x="435" y="234"/>
                  </a:lnTo>
                  <a:lnTo>
                    <a:pt x="432" y="234"/>
                  </a:lnTo>
                  <a:lnTo>
                    <a:pt x="429" y="234"/>
                  </a:lnTo>
                  <a:lnTo>
                    <a:pt x="429" y="237"/>
                  </a:lnTo>
                  <a:lnTo>
                    <a:pt x="426" y="237"/>
                  </a:lnTo>
                  <a:lnTo>
                    <a:pt x="423" y="240"/>
                  </a:lnTo>
                  <a:lnTo>
                    <a:pt x="417" y="240"/>
                  </a:lnTo>
                  <a:lnTo>
                    <a:pt x="414" y="240"/>
                  </a:lnTo>
                  <a:lnTo>
                    <a:pt x="414" y="243"/>
                  </a:lnTo>
                  <a:lnTo>
                    <a:pt x="414" y="246"/>
                  </a:lnTo>
                  <a:lnTo>
                    <a:pt x="414" y="249"/>
                  </a:lnTo>
                  <a:lnTo>
                    <a:pt x="417" y="249"/>
                  </a:lnTo>
                  <a:lnTo>
                    <a:pt x="417" y="252"/>
                  </a:lnTo>
                  <a:lnTo>
                    <a:pt x="420" y="252"/>
                  </a:lnTo>
                  <a:lnTo>
                    <a:pt x="423" y="252"/>
                  </a:lnTo>
                  <a:lnTo>
                    <a:pt x="423" y="255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3" y="261"/>
                  </a:lnTo>
                  <a:lnTo>
                    <a:pt x="420" y="261"/>
                  </a:lnTo>
                  <a:lnTo>
                    <a:pt x="417" y="261"/>
                  </a:lnTo>
                  <a:lnTo>
                    <a:pt x="414" y="261"/>
                  </a:lnTo>
                  <a:lnTo>
                    <a:pt x="411" y="261"/>
                  </a:lnTo>
                  <a:lnTo>
                    <a:pt x="411" y="264"/>
                  </a:lnTo>
                  <a:lnTo>
                    <a:pt x="408" y="264"/>
                  </a:lnTo>
                  <a:lnTo>
                    <a:pt x="408" y="261"/>
                  </a:lnTo>
                  <a:lnTo>
                    <a:pt x="405" y="261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8" y="264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5" y="264"/>
                  </a:lnTo>
                  <a:lnTo>
                    <a:pt x="405" y="267"/>
                  </a:lnTo>
                  <a:lnTo>
                    <a:pt x="402" y="267"/>
                  </a:lnTo>
                  <a:lnTo>
                    <a:pt x="399" y="267"/>
                  </a:lnTo>
                  <a:lnTo>
                    <a:pt x="399" y="264"/>
                  </a:lnTo>
                  <a:lnTo>
                    <a:pt x="396" y="264"/>
                  </a:lnTo>
                  <a:lnTo>
                    <a:pt x="396" y="261"/>
                  </a:lnTo>
                  <a:lnTo>
                    <a:pt x="402" y="261"/>
                  </a:lnTo>
                  <a:lnTo>
                    <a:pt x="405" y="261"/>
                  </a:lnTo>
                  <a:lnTo>
                    <a:pt x="408" y="261"/>
                  </a:lnTo>
                  <a:lnTo>
                    <a:pt x="408" y="255"/>
                  </a:lnTo>
                  <a:lnTo>
                    <a:pt x="405" y="255"/>
                  </a:lnTo>
                  <a:lnTo>
                    <a:pt x="402" y="255"/>
                  </a:lnTo>
                  <a:lnTo>
                    <a:pt x="402" y="252"/>
                  </a:lnTo>
                  <a:lnTo>
                    <a:pt x="402" y="249"/>
                  </a:lnTo>
                  <a:lnTo>
                    <a:pt x="396" y="249"/>
                  </a:lnTo>
                  <a:lnTo>
                    <a:pt x="393" y="249"/>
                  </a:lnTo>
                  <a:lnTo>
                    <a:pt x="396" y="246"/>
                  </a:lnTo>
                  <a:lnTo>
                    <a:pt x="393" y="246"/>
                  </a:lnTo>
                  <a:lnTo>
                    <a:pt x="393" y="243"/>
                  </a:lnTo>
                  <a:lnTo>
                    <a:pt x="396" y="243"/>
                  </a:lnTo>
                  <a:lnTo>
                    <a:pt x="390" y="243"/>
                  </a:lnTo>
                  <a:lnTo>
                    <a:pt x="390" y="240"/>
                  </a:lnTo>
                  <a:lnTo>
                    <a:pt x="390" y="237"/>
                  </a:lnTo>
                  <a:lnTo>
                    <a:pt x="396" y="237"/>
                  </a:lnTo>
                  <a:lnTo>
                    <a:pt x="399" y="237"/>
                  </a:lnTo>
                  <a:lnTo>
                    <a:pt x="399" y="234"/>
                  </a:lnTo>
                  <a:lnTo>
                    <a:pt x="399" y="231"/>
                  </a:lnTo>
                  <a:lnTo>
                    <a:pt x="399" y="228"/>
                  </a:lnTo>
                  <a:lnTo>
                    <a:pt x="396" y="228"/>
                  </a:lnTo>
                  <a:lnTo>
                    <a:pt x="393" y="228"/>
                  </a:lnTo>
                  <a:lnTo>
                    <a:pt x="390" y="228"/>
                  </a:lnTo>
                  <a:lnTo>
                    <a:pt x="390" y="225"/>
                  </a:lnTo>
                  <a:lnTo>
                    <a:pt x="387" y="225"/>
                  </a:lnTo>
                  <a:lnTo>
                    <a:pt x="384" y="225"/>
                  </a:lnTo>
                  <a:lnTo>
                    <a:pt x="381" y="225"/>
                  </a:lnTo>
                  <a:lnTo>
                    <a:pt x="381" y="219"/>
                  </a:lnTo>
                  <a:lnTo>
                    <a:pt x="378" y="219"/>
                  </a:lnTo>
                  <a:lnTo>
                    <a:pt x="375" y="222"/>
                  </a:lnTo>
                  <a:lnTo>
                    <a:pt x="369" y="219"/>
                  </a:lnTo>
                  <a:lnTo>
                    <a:pt x="366" y="216"/>
                  </a:lnTo>
                  <a:lnTo>
                    <a:pt x="366" y="213"/>
                  </a:lnTo>
                  <a:lnTo>
                    <a:pt x="363" y="216"/>
                  </a:lnTo>
                  <a:lnTo>
                    <a:pt x="363" y="219"/>
                  </a:lnTo>
                  <a:lnTo>
                    <a:pt x="363" y="222"/>
                  </a:lnTo>
                  <a:lnTo>
                    <a:pt x="363" y="219"/>
                  </a:lnTo>
                  <a:lnTo>
                    <a:pt x="360" y="219"/>
                  </a:lnTo>
                  <a:lnTo>
                    <a:pt x="360" y="222"/>
                  </a:lnTo>
                  <a:lnTo>
                    <a:pt x="357" y="222"/>
                  </a:lnTo>
                  <a:lnTo>
                    <a:pt x="354" y="222"/>
                  </a:lnTo>
                  <a:lnTo>
                    <a:pt x="351" y="222"/>
                  </a:lnTo>
                  <a:lnTo>
                    <a:pt x="351" y="228"/>
                  </a:lnTo>
                  <a:lnTo>
                    <a:pt x="348" y="234"/>
                  </a:lnTo>
                  <a:lnTo>
                    <a:pt x="342" y="228"/>
                  </a:lnTo>
                  <a:lnTo>
                    <a:pt x="336" y="228"/>
                  </a:lnTo>
                  <a:lnTo>
                    <a:pt x="333" y="225"/>
                  </a:lnTo>
                  <a:lnTo>
                    <a:pt x="330" y="225"/>
                  </a:lnTo>
                  <a:lnTo>
                    <a:pt x="330" y="228"/>
                  </a:lnTo>
                  <a:lnTo>
                    <a:pt x="327" y="228"/>
                  </a:lnTo>
                  <a:lnTo>
                    <a:pt x="327" y="231"/>
                  </a:lnTo>
                  <a:lnTo>
                    <a:pt x="327" y="234"/>
                  </a:lnTo>
                  <a:lnTo>
                    <a:pt x="324" y="234"/>
                  </a:lnTo>
                  <a:lnTo>
                    <a:pt x="324" y="237"/>
                  </a:lnTo>
                  <a:lnTo>
                    <a:pt x="324" y="234"/>
                  </a:lnTo>
                  <a:lnTo>
                    <a:pt x="321" y="234"/>
                  </a:lnTo>
                  <a:lnTo>
                    <a:pt x="321" y="237"/>
                  </a:lnTo>
                  <a:lnTo>
                    <a:pt x="318" y="237"/>
                  </a:lnTo>
                  <a:lnTo>
                    <a:pt x="318" y="240"/>
                  </a:lnTo>
                  <a:lnTo>
                    <a:pt x="315" y="240"/>
                  </a:lnTo>
                  <a:lnTo>
                    <a:pt x="315" y="243"/>
                  </a:lnTo>
                  <a:lnTo>
                    <a:pt x="312" y="243"/>
                  </a:lnTo>
                  <a:lnTo>
                    <a:pt x="312" y="246"/>
                  </a:lnTo>
                  <a:lnTo>
                    <a:pt x="309" y="246"/>
                  </a:lnTo>
                  <a:lnTo>
                    <a:pt x="309" y="249"/>
                  </a:lnTo>
                  <a:lnTo>
                    <a:pt x="306" y="249"/>
                  </a:lnTo>
                  <a:lnTo>
                    <a:pt x="306" y="252"/>
                  </a:lnTo>
                  <a:lnTo>
                    <a:pt x="303" y="252"/>
                  </a:lnTo>
                  <a:lnTo>
                    <a:pt x="303" y="255"/>
                  </a:lnTo>
                  <a:lnTo>
                    <a:pt x="300" y="255"/>
                  </a:lnTo>
                  <a:lnTo>
                    <a:pt x="300" y="258"/>
                  </a:lnTo>
                  <a:lnTo>
                    <a:pt x="297" y="258"/>
                  </a:lnTo>
                  <a:lnTo>
                    <a:pt x="294" y="255"/>
                  </a:lnTo>
                  <a:lnTo>
                    <a:pt x="294" y="258"/>
                  </a:lnTo>
                  <a:lnTo>
                    <a:pt x="291" y="261"/>
                  </a:lnTo>
                  <a:lnTo>
                    <a:pt x="291" y="264"/>
                  </a:lnTo>
                  <a:lnTo>
                    <a:pt x="288" y="267"/>
                  </a:lnTo>
                  <a:lnTo>
                    <a:pt x="285" y="267"/>
                  </a:lnTo>
                  <a:lnTo>
                    <a:pt x="285" y="270"/>
                  </a:lnTo>
                  <a:lnTo>
                    <a:pt x="282" y="267"/>
                  </a:lnTo>
                  <a:lnTo>
                    <a:pt x="282" y="270"/>
                  </a:lnTo>
                  <a:lnTo>
                    <a:pt x="282" y="273"/>
                  </a:lnTo>
                  <a:lnTo>
                    <a:pt x="279" y="273"/>
                  </a:lnTo>
                  <a:lnTo>
                    <a:pt x="276" y="273"/>
                  </a:lnTo>
                  <a:lnTo>
                    <a:pt x="273" y="273"/>
                  </a:lnTo>
                  <a:lnTo>
                    <a:pt x="270" y="270"/>
                  </a:lnTo>
                  <a:lnTo>
                    <a:pt x="270" y="273"/>
                  </a:lnTo>
                  <a:lnTo>
                    <a:pt x="267" y="273"/>
                  </a:lnTo>
                  <a:lnTo>
                    <a:pt x="264" y="273"/>
                  </a:lnTo>
                  <a:lnTo>
                    <a:pt x="264" y="276"/>
                  </a:lnTo>
                  <a:lnTo>
                    <a:pt x="258" y="276"/>
                  </a:lnTo>
                  <a:lnTo>
                    <a:pt x="258" y="273"/>
                  </a:lnTo>
                  <a:lnTo>
                    <a:pt x="255" y="273"/>
                  </a:lnTo>
                  <a:lnTo>
                    <a:pt x="255" y="270"/>
                  </a:lnTo>
                  <a:lnTo>
                    <a:pt x="258" y="270"/>
                  </a:lnTo>
                  <a:lnTo>
                    <a:pt x="255" y="267"/>
                  </a:lnTo>
                  <a:lnTo>
                    <a:pt x="255" y="264"/>
                  </a:lnTo>
                  <a:lnTo>
                    <a:pt x="252" y="264"/>
                  </a:lnTo>
                  <a:lnTo>
                    <a:pt x="249" y="264"/>
                  </a:lnTo>
                  <a:lnTo>
                    <a:pt x="249" y="261"/>
                  </a:lnTo>
                  <a:lnTo>
                    <a:pt x="252" y="261"/>
                  </a:lnTo>
                  <a:lnTo>
                    <a:pt x="252" y="258"/>
                  </a:lnTo>
                  <a:lnTo>
                    <a:pt x="249" y="258"/>
                  </a:lnTo>
                  <a:lnTo>
                    <a:pt x="252" y="255"/>
                  </a:lnTo>
                  <a:lnTo>
                    <a:pt x="249" y="249"/>
                  </a:lnTo>
                  <a:lnTo>
                    <a:pt x="252" y="252"/>
                  </a:lnTo>
                  <a:lnTo>
                    <a:pt x="252" y="249"/>
                  </a:lnTo>
                  <a:lnTo>
                    <a:pt x="255" y="249"/>
                  </a:lnTo>
                  <a:lnTo>
                    <a:pt x="255" y="246"/>
                  </a:lnTo>
                  <a:lnTo>
                    <a:pt x="255" y="243"/>
                  </a:lnTo>
                  <a:lnTo>
                    <a:pt x="252" y="243"/>
                  </a:lnTo>
                  <a:lnTo>
                    <a:pt x="252" y="240"/>
                  </a:lnTo>
                  <a:lnTo>
                    <a:pt x="255" y="240"/>
                  </a:lnTo>
                  <a:lnTo>
                    <a:pt x="252" y="240"/>
                  </a:lnTo>
                  <a:lnTo>
                    <a:pt x="249" y="243"/>
                  </a:lnTo>
                  <a:lnTo>
                    <a:pt x="246" y="246"/>
                  </a:lnTo>
                  <a:lnTo>
                    <a:pt x="246" y="243"/>
                  </a:lnTo>
                  <a:lnTo>
                    <a:pt x="243" y="246"/>
                  </a:lnTo>
                  <a:lnTo>
                    <a:pt x="240" y="246"/>
                  </a:lnTo>
                  <a:lnTo>
                    <a:pt x="237" y="246"/>
                  </a:lnTo>
                  <a:lnTo>
                    <a:pt x="237" y="249"/>
                  </a:lnTo>
                  <a:lnTo>
                    <a:pt x="234" y="255"/>
                  </a:lnTo>
                  <a:lnTo>
                    <a:pt x="231" y="255"/>
                  </a:lnTo>
                  <a:lnTo>
                    <a:pt x="234" y="255"/>
                  </a:lnTo>
                  <a:lnTo>
                    <a:pt x="234" y="258"/>
                  </a:lnTo>
                  <a:lnTo>
                    <a:pt x="231" y="258"/>
                  </a:lnTo>
                  <a:lnTo>
                    <a:pt x="225" y="261"/>
                  </a:lnTo>
                  <a:lnTo>
                    <a:pt x="225" y="258"/>
                  </a:lnTo>
                  <a:lnTo>
                    <a:pt x="222" y="258"/>
                  </a:lnTo>
                  <a:lnTo>
                    <a:pt x="222" y="255"/>
                  </a:lnTo>
                  <a:lnTo>
                    <a:pt x="216" y="255"/>
                  </a:lnTo>
                  <a:lnTo>
                    <a:pt x="213" y="255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4" y="258"/>
                  </a:lnTo>
                  <a:lnTo>
                    <a:pt x="204" y="255"/>
                  </a:lnTo>
                  <a:lnTo>
                    <a:pt x="201" y="255"/>
                  </a:lnTo>
                  <a:lnTo>
                    <a:pt x="198" y="255"/>
                  </a:lnTo>
                  <a:lnTo>
                    <a:pt x="195" y="261"/>
                  </a:lnTo>
                  <a:lnTo>
                    <a:pt x="192" y="261"/>
                  </a:lnTo>
                  <a:lnTo>
                    <a:pt x="189" y="261"/>
                  </a:lnTo>
                  <a:lnTo>
                    <a:pt x="186" y="261"/>
                  </a:lnTo>
                  <a:lnTo>
                    <a:pt x="186" y="264"/>
                  </a:lnTo>
                  <a:lnTo>
                    <a:pt x="183" y="264"/>
                  </a:lnTo>
                  <a:lnTo>
                    <a:pt x="186" y="270"/>
                  </a:lnTo>
                  <a:lnTo>
                    <a:pt x="180" y="270"/>
                  </a:lnTo>
                  <a:lnTo>
                    <a:pt x="177" y="273"/>
                  </a:lnTo>
                  <a:lnTo>
                    <a:pt x="174" y="273"/>
                  </a:lnTo>
                  <a:lnTo>
                    <a:pt x="174" y="276"/>
                  </a:lnTo>
                  <a:lnTo>
                    <a:pt x="171" y="276"/>
                  </a:lnTo>
                  <a:lnTo>
                    <a:pt x="168" y="276"/>
                  </a:lnTo>
                  <a:lnTo>
                    <a:pt x="165" y="279"/>
                  </a:lnTo>
                  <a:lnTo>
                    <a:pt x="168" y="282"/>
                  </a:lnTo>
                  <a:lnTo>
                    <a:pt x="165" y="285"/>
                  </a:lnTo>
                  <a:lnTo>
                    <a:pt x="171" y="282"/>
                  </a:lnTo>
                  <a:lnTo>
                    <a:pt x="174" y="282"/>
                  </a:lnTo>
                  <a:lnTo>
                    <a:pt x="177" y="282"/>
                  </a:lnTo>
                  <a:lnTo>
                    <a:pt x="177" y="279"/>
                  </a:lnTo>
                  <a:lnTo>
                    <a:pt x="180" y="279"/>
                  </a:lnTo>
                  <a:lnTo>
                    <a:pt x="183" y="276"/>
                  </a:lnTo>
                  <a:lnTo>
                    <a:pt x="189" y="276"/>
                  </a:lnTo>
                  <a:lnTo>
                    <a:pt x="186" y="279"/>
                  </a:lnTo>
                  <a:lnTo>
                    <a:pt x="186" y="282"/>
                  </a:lnTo>
                  <a:lnTo>
                    <a:pt x="189" y="285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92" y="285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9" y="285"/>
                  </a:lnTo>
                  <a:lnTo>
                    <a:pt x="189" y="288"/>
                  </a:lnTo>
                  <a:lnTo>
                    <a:pt x="186" y="291"/>
                  </a:lnTo>
                  <a:lnTo>
                    <a:pt x="183" y="288"/>
                  </a:lnTo>
                  <a:lnTo>
                    <a:pt x="180" y="288"/>
                  </a:lnTo>
                  <a:lnTo>
                    <a:pt x="177" y="288"/>
                  </a:lnTo>
                  <a:lnTo>
                    <a:pt x="177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65" y="294"/>
                  </a:lnTo>
                  <a:lnTo>
                    <a:pt x="165" y="291"/>
                  </a:lnTo>
                  <a:lnTo>
                    <a:pt x="162" y="291"/>
                  </a:lnTo>
                  <a:lnTo>
                    <a:pt x="159" y="291"/>
                  </a:lnTo>
                  <a:lnTo>
                    <a:pt x="159" y="294"/>
                  </a:lnTo>
                  <a:lnTo>
                    <a:pt x="159" y="291"/>
                  </a:lnTo>
                  <a:lnTo>
                    <a:pt x="156" y="288"/>
                  </a:lnTo>
                  <a:lnTo>
                    <a:pt x="156" y="285"/>
                  </a:lnTo>
                  <a:lnTo>
                    <a:pt x="153" y="285"/>
                  </a:lnTo>
                  <a:lnTo>
                    <a:pt x="150" y="282"/>
                  </a:lnTo>
                  <a:lnTo>
                    <a:pt x="147" y="282"/>
                  </a:lnTo>
                  <a:lnTo>
                    <a:pt x="144" y="282"/>
                  </a:lnTo>
                  <a:lnTo>
                    <a:pt x="144" y="279"/>
                  </a:lnTo>
                  <a:lnTo>
                    <a:pt x="144" y="276"/>
                  </a:lnTo>
                  <a:lnTo>
                    <a:pt x="141" y="279"/>
                  </a:lnTo>
                  <a:lnTo>
                    <a:pt x="141" y="273"/>
                  </a:lnTo>
                  <a:lnTo>
                    <a:pt x="144" y="273"/>
                  </a:lnTo>
                  <a:lnTo>
                    <a:pt x="147" y="273"/>
                  </a:lnTo>
                  <a:lnTo>
                    <a:pt x="147" y="276"/>
                  </a:lnTo>
                  <a:lnTo>
                    <a:pt x="150" y="276"/>
                  </a:lnTo>
                  <a:lnTo>
                    <a:pt x="153" y="276"/>
                  </a:lnTo>
                  <a:lnTo>
                    <a:pt x="153" y="273"/>
                  </a:lnTo>
                  <a:lnTo>
                    <a:pt x="153" y="270"/>
                  </a:lnTo>
                  <a:lnTo>
                    <a:pt x="156" y="270"/>
                  </a:lnTo>
                  <a:lnTo>
                    <a:pt x="156" y="267"/>
                  </a:lnTo>
                  <a:lnTo>
                    <a:pt x="147" y="267"/>
                  </a:lnTo>
                  <a:lnTo>
                    <a:pt x="144" y="264"/>
                  </a:lnTo>
                  <a:lnTo>
                    <a:pt x="141" y="264"/>
                  </a:lnTo>
                  <a:lnTo>
                    <a:pt x="138" y="264"/>
                  </a:lnTo>
                  <a:lnTo>
                    <a:pt x="135" y="264"/>
                  </a:lnTo>
                  <a:lnTo>
                    <a:pt x="132" y="264"/>
                  </a:lnTo>
                  <a:lnTo>
                    <a:pt x="135" y="261"/>
                  </a:lnTo>
                  <a:lnTo>
                    <a:pt x="132" y="261"/>
                  </a:lnTo>
                  <a:lnTo>
                    <a:pt x="129" y="261"/>
                  </a:lnTo>
                  <a:lnTo>
                    <a:pt x="129" y="264"/>
                  </a:lnTo>
                  <a:lnTo>
                    <a:pt x="126" y="264"/>
                  </a:lnTo>
                  <a:lnTo>
                    <a:pt x="123" y="264"/>
                  </a:lnTo>
                  <a:lnTo>
                    <a:pt x="120" y="261"/>
                  </a:lnTo>
                  <a:lnTo>
                    <a:pt x="117" y="261"/>
                  </a:lnTo>
                  <a:lnTo>
                    <a:pt x="114" y="261"/>
                  </a:lnTo>
                  <a:lnTo>
                    <a:pt x="111" y="261"/>
                  </a:lnTo>
                  <a:lnTo>
                    <a:pt x="108" y="264"/>
                  </a:lnTo>
                  <a:lnTo>
                    <a:pt x="102" y="261"/>
                  </a:lnTo>
                  <a:lnTo>
                    <a:pt x="99" y="261"/>
                  </a:lnTo>
                  <a:lnTo>
                    <a:pt x="99" y="264"/>
                  </a:lnTo>
                  <a:lnTo>
                    <a:pt x="99" y="267"/>
                  </a:lnTo>
                  <a:lnTo>
                    <a:pt x="99" y="270"/>
                  </a:lnTo>
                  <a:lnTo>
                    <a:pt x="96" y="270"/>
                  </a:lnTo>
                  <a:lnTo>
                    <a:pt x="96" y="273"/>
                  </a:lnTo>
                  <a:lnTo>
                    <a:pt x="93" y="270"/>
                  </a:lnTo>
                  <a:lnTo>
                    <a:pt x="90" y="270"/>
                  </a:lnTo>
                  <a:lnTo>
                    <a:pt x="87" y="270"/>
                  </a:lnTo>
                  <a:lnTo>
                    <a:pt x="84" y="270"/>
                  </a:lnTo>
                  <a:lnTo>
                    <a:pt x="81" y="270"/>
                  </a:lnTo>
                  <a:lnTo>
                    <a:pt x="78" y="273"/>
                  </a:lnTo>
                  <a:lnTo>
                    <a:pt x="75" y="267"/>
                  </a:lnTo>
                  <a:lnTo>
                    <a:pt x="72" y="267"/>
                  </a:lnTo>
                  <a:lnTo>
                    <a:pt x="69" y="270"/>
                  </a:lnTo>
                  <a:lnTo>
                    <a:pt x="69" y="267"/>
                  </a:lnTo>
                  <a:lnTo>
                    <a:pt x="66" y="267"/>
                  </a:lnTo>
                  <a:lnTo>
                    <a:pt x="66" y="264"/>
                  </a:lnTo>
                  <a:lnTo>
                    <a:pt x="69" y="264"/>
                  </a:lnTo>
                  <a:lnTo>
                    <a:pt x="69" y="261"/>
                  </a:lnTo>
                  <a:lnTo>
                    <a:pt x="66" y="258"/>
                  </a:lnTo>
                  <a:lnTo>
                    <a:pt x="63" y="261"/>
                  </a:lnTo>
                  <a:lnTo>
                    <a:pt x="63" y="258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1" y="237"/>
                  </a:lnTo>
                  <a:lnTo>
                    <a:pt x="48" y="237"/>
                  </a:lnTo>
                  <a:lnTo>
                    <a:pt x="48" y="243"/>
                  </a:lnTo>
                  <a:lnTo>
                    <a:pt x="45" y="243"/>
                  </a:lnTo>
                  <a:lnTo>
                    <a:pt x="42" y="246"/>
                  </a:lnTo>
                  <a:lnTo>
                    <a:pt x="30" y="249"/>
                  </a:lnTo>
                  <a:lnTo>
                    <a:pt x="30" y="252"/>
                  </a:lnTo>
                  <a:lnTo>
                    <a:pt x="27" y="252"/>
                  </a:lnTo>
                  <a:lnTo>
                    <a:pt x="24" y="252"/>
                  </a:lnTo>
                  <a:lnTo>
                    <a:pt x="18" y="246"/>
                  </a:lnTo>
                  <a:lnTo>
                    <a:pt x="18" y="252"/>
                  </a:lnTo>
                  <a:lnTo>
                    <a:pt x="15" y="249"/>
                  </a:lnTo>
                  <a:lnTo>
                    <a:pt x="12" y="249"/>
                  </a:lnTo>
                  <a:lnTo>
                    <a:pt x="12" y="246"/>
                  </a:lnTo>
                  <a:lnTo>
                    <a:pt x="9" y="246"/>
                  </a:lnTo>
                  <a:lnTo>
                    <a:pt x="3" y="246"/>
                  </a:lnTo>
                  <a:lnTo>
                    <a:pt x="6" y="246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6"/>
                  </a:lnTo>
                  <a:lnTo>
                    <a:pt x="3" y="243"/>
                  </a:lnTo>
                  <a:lnTo>
                    <a:pt x="3" y="240"/>
                  </a:lnTo>
                  <a:lnTo>
                    <a:pt x="0" y="240"/>
                  </a:lnTo>
                  <a:lnTo>
                    <a:pt x="0" y="237"/>
                  </a:lnTo>
                  <a:lnTo>
                    <a:pt x="3" y="237"/>
                  </a:lnTo>
                  <a:lnTo>
                    <a:pt x="3" y="234"/>
                  </a:lnTo>
                  <a:lnTo>
                    <a:pt x="0" y="234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0" y="231"/>
                  </a:lnTo>
                  <a:lnTo>
                    <a:pt x="3" y="231"/>
                  </a:lnTo>
                  <a:lnTo>
                    <a:pt x="3" y="228"/>
                  </a:lnTo>
                  <a:lnTo>
                    <a:pt x="6" y="228"/>
                  </a:lnTo>
                  <a:lnTo>
                    <a:pt x="6" y="225"/>
                  </a:lnTo>
                  <a:lnTo>
                    <a:pt x="6" y="222"/>
                  </a:lnTo>
                  <a:lnTo>
                    <a:pt x="9" y="219"/>
                  </a:lnTo>
                  <a:lnTo>
                    <a:pt x="9" y="216"/>
                  </a:lnTo>
                  <a:lnTo>
                    <a:pt x="12" y="216"/>
                  </a:lnTo>
                  <a:lnTo>
                    <a:pt x="12" y="213"/>
                  </a:lnTo>
                  <a:lnTo>
                    <a:pt x="15" y="213"/>
                  </a:lnTo>
                  <a:lnTo>
                    <a:pt x="15" y="210"/>
                  </a:lnTo>
                  <a:lnTo>
                    <a:pt x="18" y="210"/>
                  </a:lnTo>
                  <a:lnTo>
                    <a:pt x="18" y="207"/>
                  </a:lnTo>
                  <a:lnTo>
                    <a:pt x="21" y="207"/>
                  </a:lnTo>
                  <a:lnTo>
                    <a:pt x="21" y="204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7" y="201"/>
                  </a:lnTo>
                  <a:lnTo>
                    <a:pt x="30" y="201"/>
                  </a:lnTo>
                  <a:lnTo>
                    <a:pt x="30" y="198"/>
                  </a:lnTo>
                  <a:lnTo>
                    <a:pt x="33" y="201"/>
                  </a:lnTo>
                  <a:lnTo>
                    <a:pt x="33" y="198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9" y="195"/>
                  </a:lnTo>
                  <a:lnTo>
                    <a:pt x="39" y="192"/>
                  </a:lnTo>
                  <a:lnTo>
                    <a:pt x="39" y="189"/>
                  </a:lnTo>
                  <a:lnTo>
                    <a:pt x="39" y="186"/>
                  </a:lnTo>
                  <a:lnTo>
                    <a:pt x="39" y="183"/>
                  </a:lnTo>
                  <a:lnTo>
                    <a:pt x="39" y="180"/>
                  </a:lnTo>
                  <a:lnTo>
                    <a:pt x="39" y="177"/>
                  </a:lnTo>
                  <a:lnTo>
                    <a:pt x="42" y="177"/>
                  </a:lnTo>
                  <a:lnTo>
                    <a:pt x="42" y="174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2" y="171"/>
                  </a:lnTo>
                  <a:lnTo>
                    <a:pt x="42" y="168"/>
                  </a:lnTo>
                  <a:lnTo>
                    <a:pt x="45" y="168"/>
                  </a:lnTo>
                  <a:lnTo>
                    <a:pt x="45" y="165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1" y="141"/>
                  </a:lnTo>
                  <a:lnTo>
                    <a:pt x="51" y="138"/>
                  </a:lnTo>
                  <a:lnTo>
                    <a:pt x="51" y="141"/>
                  </a:lnTo>
                  <a:lnTo>
                    <a:pt x="54" y="141"/>
                  </a:lnTo>
                  <a:lnTo>
                    <a:pt x="57" y="141"/>
                  </a:lnTo>
                  <a:lnTo>
                    <a:pt x="57" y="138"/>
                  </a:lnTo>
                  <a:lnTo>
                    <a:pt x="54" y="138"/>
                  </a:lnTo>
                  <a:lnTo>
                    <a:pt x="54" y="135"/>
                  </a:lnTo>
                  <a:lnTo>
                    <a:pt x="57" y="135"/>
                  </a:lnTo>
                  <a:lnTo>
                    <a:pt x="60" y="135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0" y="129"/>
                  </a:lnTo>
                  <a:lnTo>
                    <a:pt x="63" y="129"/>
                  </a:lnTo>
                  <a:lnTo>
                    <a:pt x="66" y="129"/>
                  </a:lnTo>
                  <a:lnTo>
                    <a:pt x="66" y="126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69" y="126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8" y="120"/>
                  </a:lnTo>
                  <a:lnTo>
                    <a:pt x="78" y="117"/>
                  </a:lnTo>
                  <a:lnTo>
                    <a:pt x="81" y="117"/>
                  </a:lnTo>
                  <a:lnTo>
                    <a:pt x="78" y="117"/>
                  </a:lnTo>
                  <a:lnTo>
                    <a:pt x="78" y="120"/>
                  </a:lnTo>
                  <a:lnTo>
                    <a:pt x="81" y="120"/>
                  </a:lnTo>
                  <a:lnTo>
                    <a:pt x="81" y="117"/>
                  </a:lnTo>
                  <a:lnTo>
                    <a:pt x="84" y="117"/>
                  </a:lnTo>
                  <a:lnTo>
                    <a:pt x="84" y="12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4" name="Freeform 29">
              <a:extLst>
                <a:ext uri="{FF2B5EF4-FFF2-40B4-BE49-F238E27FC236}">
                  <a16:creationId xmlns:a16="http://schemas.microsoft.com/office/drawing/2014/main" id="{3BAFBEF3-160B-4E47-955C-E559437CED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91063" y="2530475"/>
              <a:ext cx="625475" cy="647700"/>
            </a:xfrm>
            <a:custGeom>
              <a:avLst/>
              <a:gdLst>
                <a:gd name="T0" fmla="*/ 536964 w 318"/>
                <a:gd name="T1" fmla="*/ 23553 h 330"/>
                <a:gd name="T2" fmla="*/ 542865 w 318"/>
                <a:gd name="T3" fmla="*/ 17665 h 330"/>
                <a:gd name="T4" fmla="*/ 578269 w 318"/>
                <a:gd name="T5" fmla="*/ 5888 h 330"/>
                <a:gd name="T6" fmla="*/ 607773 w 318"/>
                <a:gd name="T7" fmla="*/ 35329 h 330"/>
                <a:gd name="T8" fmla="*/ 619574 w 318"/>
                <a:gd name="T9" fmla="*/ 105987 h 330"/>
                <a:gd name="T10" fmla="*/ 625475 w 318"/>
                <a:gd name="T11" fmla="*/ 194310 h 330"/>
                <a:gd name="T12" fmla="*/ 619574 w 318"/>
                <a:gd name="T13" fmla="*/ 264968 h 330"/>
                <a:gd name="T14" fmla="*/ 613674 w 318"/>
                <a:gd name="T15" fmla="*/ 329738 h 330"/>
                <a:gd name="T16" fmla="*/ 578269 w 318"/>
                <a:gd name="T17" fmla="*/ 359179 h 330"/>
                <a:gd name="T18" fmla="*/ 477957 w 318"/>
                <a:gd name="T19" fmla="*/ 365067 h 330"/>
                <a:gd name="T20" fmla="*/ 454354 w 318"/>
                <a:gd name="T21" fmla="*/ 412173 h 330"/>
                <a:gd name="T22" fmla="*/ 424851 w 318"/>
                <a:gd name="T23" fmla="*/ 482831 h 330"/>
                <a:gd name="T24" fmla="*/ 436652 w 318"/>
                <a:gd name="T25" fmla="*/ 518160 h 330"/>
                <a:gd name="T26" fmla="*/ 460255 w 318"/>
                <a:gd name="T27" fmla="*/ 565265 h 330"/>
                <a:gd name="T28" fmla="*/ 495659 w 318"/>
                <a:gd name="T29" fmla="*/ 594706 h 330"/>
                <a:gd name="T30" fmla="*/ 460255 w 318"/>
                <a:gd name="T31" fmla="*/ 618259 h 330"/>
                <a:gd name="T32" fmla="*/ 430752 w 318"/>
                <a:gd name="T33" fmla="*/ 618259 h 330"/>
                <a:gd name="T34" fmla="*/ 354042 w 318"/>
                <a:gd name="T35" fmla="*/ 606483 h 330"/>
                <a:gd name="T36" fmla="*/ 318638 w 318"/>
                <a:gd name="T37" fmla="*/ 630035 h 330"/>
                <a:gd name="T38" fmla="*/ 265532 w 318"/>
                <a:gd name="T39" fmla="*/ 624147 h 330"/>
                <a:gd name="T40" fmla="*/ 236028 w 318"/>
                <a:gd name="T41" fmla="*/ 647700 h 330"/>
                <a:gd name="T42" fmla="*/ 212425 w 318"/>
                <a:gd name="T43" fmla="*/ 618259 h 330"/>
                <a:gd name="T44" fmla="*/ 177021 w 318"/>
                <a:gd name="T45" fmla="*/ 588818 h 330"/>
                <a:gd name="T46" fmla="*/ 141617 w 318"/>
                <a:gd name="T47" fmla="*/ 582930 h 330"/>
                <a:gd name="T48" fmla="*/ 129816 w 318"/>
                <a:gd name="T49" fmla="*/ 553489 h 330"/>
                <a:gd name="T50" fmla="*/ 94411 w 318"/>
                <a:gd name="T51" fmla="*/ 559377 h 330"/>
                <a:gd name="T52" fmla="*/ 70808 w 318"/>
                <a:gd name="T53" fmla="*/ 553489 h 330"/>
                <a:gd name="T54" fmla="*/ 47206 w 318"/>
                <a:gd name="T55" fmla="*/ 559377 h 330"/>
                <a:gd name="T56" fmla="*/ 29504 w 318"/>
                <a:gd name="T57" fmla="*/ 553489 h 330"/>
                <a:gd name="T58" fmla="*/ 5901 w 318"/>
                <a:gd name="T59" fmla="*/ 529936 h 330"/>
                <a:gd name="T60" fmla="*/ 29504 w 318"/>
                <a:gd name="T61" fmla="*/ 512272 h 330"/>
                <a:gd name="T62" fmla="*/ 47206 w 318"/>
                <a:gd name="T63" fmla="*/ 465166 h 330"/>
                <a:gd name="T64" fmla="*/ 88511 w 318"/>
                <a:gd name="T65" fmla="*/ 459278 h 330"/>
                <a:gd name="T66" fmla="*/ 88511 w 318"/>
                <a:gd name="T67" fmla="*/ 429837 h 330"/>
                <a:gd name="T68" fmla="*/ 41305 w 318"/>
                <a:gd name="T69" fmla="*/ 394508 h 330"/>
                <a:gd name="T70" fmla="*/ 88511 w 318"/>
                <a:gd name="T71" fmla="*/ 370955 h 330"/>
                <a:gd name="T72" fmla="*/ 123915 w 318"/>
                <a:gd name="T73" fmla="*/ 323850 h 330"/>
                <a:gd name="T74" fmla="*/ 141617 w 318"/>
                <a:gd name="T75" fmla="*/ 276745 h 330"/>
                <a:gd name="T76" fmla="*/ 153418 w 318"/>
                <a:gd name="T77" fmla="*/ 241415 h 330"/>
                <a:gd name="T78" fmla="*/ 100312 w 318"/>
                <a:gd name="T79" fmla="*/ 270856 h 330"/>
                <a:gd name="T80" fmla="*/ 100312 w 318"/>
                <a:gd name="T81" fmla="*/ 223751 h 330"/>
                <a:gd name="T82" fmla="*/ 76709 w 318"/>
                <a:gd name="T83" fmla="*/ 211975 h 330"/>
                <a:gd name="T84" fmla="*/ 29504 w 318"/>
                <a:gd name="T85" fmla="*/ 211975 h 330"/>
                <a:gd name="T86" fmla="*/ 76709 w 318"/>
                <a:gd name="T87" fmla="*/ 182534 h 330"/>
                <a:gd name="T88" fmla="*/ 135716 w 318"/>
                <a:gd name="T89" fmla="*/ 176645 h 330"/>
                <a:gd name="T90" fmla="*/ 177021 w 318"/>
                <a:gd name="T91" fmla="*/ 153093 h 330"/>
                <a:gd name="T92" fmla="*/ 194723 w 318"/>
                <a:gd name="T93" fmla="*/ 158981 h 330"/>
                <a:gd name="T94" fmla="*/ 200624 w 318"/>
                <a:gd name="T95" fmla="*/ 194310 h 330"/>
                <a:gd name="T96" fmla="*/ 236028 w 318"/>
                <a:gd name="T97" fmla="*/ 206086 h 330"/>
                <a:gd name="T98" fmla="*/ 277333 w 318"/>
                <a:gd name="T99" fmla="*/ 176645 h 330"/>
                <a:gd name="T100" fmla="*/ 312738 w 318"/>
                <a:gd name="T101" fmla="*/ 153093 h 330"/>
                <a:gd name="T102" fmla="*/ 342241 w 318"/>
                <a:gd name="T103" fmla="*/ 129540 h 330"/>
                <a:gd name="T104" fmla="*/ 395347 w 318"/>
                <a:gd name="T105" fmla="*/ 105987 h 330"/>
                <a:gd name="T106" fmla="*/ 436652 w 318"/>
                <a:gd name="T107" fmla="*/ 105987 h 330"/>
                <a:gd name="T108" fmla="*/ 483858 w 318"/>
                <a:gd name="T109" fmla="*/ 123652 h 330"/>
                <a:gd name="T110" fmla="*/ 472057 w 318"/>
                <a:gd name="T111" fmla="*/ 158981 h 330"/>
                <a:gd name="T112" fmla="*/ 477957 w 318"/>
                <a:gd name="T113" fmla="*/ 188422 h 330"/>
                <a:gd name="T114" fmla="*/ 495659 w 318"/>
                <a:gd name="T115" fmla="*/ 182534 h 330"/>
                <a:gd name="T116" fmla="*/ 531064 w 318"/>
                <a:gd name="T117" fmla="*/ 170757 h 330"/>
                <a:gd name="T118" fmla="*/ 536964 w 318"/>
                <a:gd name="T119" fmla="*/ 135428 h 330"/>
                <a:gd name="T120" fmla="*/ 531064 w 318"/>
                <a:gd name="T121" fmla="*/ 100099 h 3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18" h="330">
                  <a:moveTo>
                    <a:pt x="264" y="48"/>
                  </a:moveTo>
                  <a:lnTo>
                    <a:pt x="267" y="45"/>
                  </a:lnTo>
                  <a:lnTo>
                    <a:pt x="261" y="42"/>
                  </a:lnTo>
                  <a:lnTo>
                    <a:pt x="264" y="39"/>
                  </a:lnTo>
                  <a:lnTo>
                    <a:pt x="264" y="36"/>
                  </a:lnTo>
                  <a:lnTo>
                    <a:pt x="270" y="33"/>
                  </a:lnTo>
                  <a:lnTo>
                    <a:pt x="270" y="27"/>
                  </a:lnTo>
                  <a:lnTo>
                    <a:pt x="267" y="21"/>
                  </a:lnTo>
                  <a:lnTo>
                    <a:pt x="270" y="21"/>
                  </a:lnTo>
                  <a:lnTo>
                    <a:pt x="273" y="18"/>
                  </a:lnTo>
                  <a:lnTo>
                    <a:pt x="273" y="12"/>
                  </a:lnTo>
                  <a:lnTo>
                    <a:pt x="264" y="15"/>
                  </a:lnTo>
                  <a:lnTo>
                    <a:pt x="258" y="15"/>
                  </a:lnTo>
                  <a:lnTo>
                    <a:pt x="255" y="12"/>
                  </a:lnTo>
                  <a:lnTo>
                    <a:pt x="258" y="12"/>
                  </a:lnTo>
                  <a:lnTo>
                    <a:pt x="261" y="12"/>
                  </a:lnTo>
                  <a:lnTo>
                    <a:pt x="264" y="9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0" y="6"/>
                  </a:lnTo>
                  <a:lnTo>
                    <a:pt x="273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79" y="6"/>
                  </a:lnTo>
                  <a:lnTo>
                    <a:pt x="282" y="9"/>
                  </a:lnTo>
                  <a:lnTo>
                    <a:pt x="282" y="6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9"/>
                  </a:lnTo>
                  <a:lnTo>
                    <a:pt x="291" y="9"/>
                  </a:lnTo>
                  <a:lnTo>
                    <a:pt x="294" y="9"/>
                  </a:lnTo>
                  <a:lnTo>
                    <a:pt x="294" y="6"/>
                  </a:lnTo>
                  <a:lnTo>
                    <a:pt x="294" y="3"/>
                  </a:lnTo>
                  <a:lnTo>
                    <a:pt x="297" y="3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6" y="3"/>
                  </a:lnTo>
                  <a:lnTo>
                    <a:pt x="306" y="0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5"/>
                  </a:lnTo>
                  <a:lnTo>
                    <a:pt x="309" y="18"/>
                  </a:lnTo>
                  <a:lnTo>
                    <a:pt x="309" y="21"/>
                  </a:lnTo>
                  <a:lnTo>
                    <a:pt x="309" y="24"/>
                  </a:lnTo>
                  <a:lnTo>
                    <a:pt x="312" y="24"/>
                  </a:lnTo>
                  <a:lnTo>
                    <a:pt x="312" y="27"/>
                  </a:lnTo>
                  <a:lnTo>
                    <a:pt x="315" y="30"/>
                  </a:lnTo>
                  <a:lnTo>
                    <a:pt x="315" y="33"/>
                  </a:lnTo>
                  <a:lnTo>
                    <a:pt x="315" y="36"/>
                  </a:lnTo>
                  <a:lnTo>
                    <a:pt x="315" y="39"/>
                  </a:lnTo>
                  <a:lnTo>
                    <a:pt x="315" y="42"/>
                  </a:lnTo>
                  <a:lnTo>
                    <a:pt x="318" y="48"/>
                  </a:lnTo>
                  <a:lnTo>
                    <a:pt x="315" y="54"/>
                  </a:lnTo>
                  <a:lnTo>
                    <a:pt x="315" y="60"/>
                  </a:lnTo>
                  <a:lnTo>
                    <a:pt x="315" y="63"/>
                  </a:lnTo>
                  <a:lnTo>
                    <a:pt x="315" y="69"/>
                  </a:lnTo>
                  <a:lnTo>
                    <a:pt x="315" y="72"/>
                  </a:lnTo>
                  <a:lnTo>
                    <a:pt x="315" y="78"/>
                  </a:lnTo>
                  <a:lnTo>
                    <a:pt x="318" y="84"/>
                  </a:lnTo>
                  <a:lnTo>
                    <a:pt x="318" y="87"/>
                  </a:lnTo>
                  <a:lnTo>
                    <a:pt x="318" y="90"/>
                  </a:lnTo>
                  <a:lnTo>
                    <a:pt x="318" y="93"/>
                  </a:lnTo>
                  <a:lnTo>
                    <a:pt x="318" y="96"/>
                  </a:lnTo>
                  <a:lnTo>
                    <a:pt x="318" y="99"/>
                  </a:lnTo>
                  <a:lnTo>
                    <a:pt x="318" y="102"/>
                  </a:lnTo>
                  <a:lnTo>
                    <a:pt x="318" y="108"/>
                  </a:lnTo>
                  <a:lnTo>
                    <a:pt x="318" y="111"/>
                  </a:lnTo>
                  <a:lnTo>
                    <a:pt x="318" y="114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32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5" y="138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7"/>
                  </a:lnTo>
                  <a:lnTo>
                    <a:pt x="315" y="150"/>
                  </a:lnTo>
                  <a:lnTo>
                    <a:pt x="315" y="153"/>
                  </a:lnTo>
                  <a:lnTo>
                    <a:pt x="315" y="156"/>
                  </a:lnTo>
                  <a:lnTo>
                    <a:pt x="315" y="159"/>
                  </a:lnTo>
                  <a:lnTo>
                    <a:pt x="312" y="162"/>
                  </a:lnTo>
                  <a:lnTo>
                    <a:pt x="312" y="165"/>
                  </a:lnTo>
                  <a:lnTo>
                    <a:pt x="312" y="168"/>
                  </a:lnTo>
                  <a:lnTo>
                    <a:pt x="312" y="171"/>
                  </a:lnTo>
                  <a:lnTo>
                    <a:pt x="309" y="174"/>
                  </a:lnTo>
                  <a:lnTo>
                    <a:pt x="312" y="177"/>
                  </a:lnTo>
                  <a:lnTo>
                    <a:pt x="312" y="180"/>
                  </a:lnTo>
                  <a:lnTo>
                    <a:pt x="312" y="183"/>
                  </a:lnTo>
                  <a:lnTo>
                    <a:pt x="315" y="183"/>
                  </a:lnTo>
                  <a:lnTo>
                    <a:pt x="312" y="186"/>
                  </a:lnTo>
                  <a:lnTo>
                    <a:pt x="306" y="189"/>
                  </a:lnTo>
                  <a:lnTo>
                    <a:pt x="303" y="186"/>
                  </a:lnTo>
                  <a:lnTo>
                    <a:pt x="297" y="183"/>
                  </a:lnTo>
                  <a:lnTo>
                    <a:pt x="294" y="183"/>
                  </a:lnTo>
                  <a:lnTo>
                    <a:pt x="291" y="177"/>
                  </a:lnTo>
                  <a:lnTo>
                    <a:pt x="288" y="177"/>
                  </a:lnTo>
                  <a:lnTo>
                    <a:pt x="279" y="171"/>
                  </a:lnTo>
                  <a:lnTo>
                    <a:pt x="273" y="168"/>
                  </a:lnTo>
                  <a:lnTo>
                    <a:pt x="270" y="165"/>
                  </a:lnTo>
                  <a:lnTo>
                    <a:pt x="267" y="162"/>
                  </a:lnTo>
                  <a:lnTo>
                    <a:pt x="258" y="165"/>
                  </a:lnTo>
                  <a:lnTo>
                    <a:pt x="255" y="171"/>
                  </a:lnTo>
                  <a:lnTo>
                    <a:pt x="252" y="171"/>
                  </a:lnTo>
                  <a:lnTo>
                    <a:pt x="243" y="180"/>
                  </a:lnTo>
                  <a:lnTo>
                    <a:pt x="243" y="186"/>
                  </a:lnTo>
                  <a:lnTo>
                    <a:pt x="240" y="189"/>
                  </a:lnTo>
                  <a:lnTo>
                    <a:pt x="240" y="192"/>
                  </a:lnTo>
                  <a:lnTo>
                    <a:pt x="240" y="195"/>
                  </a:lnTo>
                  <a:lnTo>
                    <a:pt x="237" y="195"/>
                  </a:lnTo>
                  <a:lnTo>
                    <a:pt x="237" y="198"/>
                  </a:lnTo>
                  <a:lnTo>
                    <a:pt x="237" y="201"/>
                  </a:lnTo>
                  <a:lnTo>
                    <a:pt x="234" y="201"/>
                  </a:lnTo>
                  <a:lnTo>
                    <a:pt x="234" y="204"/>
                  </a:lnTo>
                  <a:lnTo>
                    <a:pt x="234" y="207"/>
                  </a:lnTo>
                  <a:lnTo>
                    <a:pt x="231" y="207"/>
                  </a:lnTo>
                  <a:lnTo>
                    <a:pt x="231" y="210"/>
                  </a:lnTo>
                  <a:lnTo>
                    <a:pt x="231" y="213"/>
                  </a:lnTo>
                  <a:lnTo>
                    <a:pt x="228" y="213"/>
                  </a:lnTo>
                  <a:lnTo>
                    <a:pt x="225" y="216"/>
                  </a:lnTo>
                  <a:lnTo>
                    <a:pt x="222" y="219"/>
                  </a:lnTo>
                  <a:lnTo>
                    <a:pt x="219" y="225"/>
                  </a:lnTo>
                  <a:lnTo>
                    <a:pt x="219" y="228"/>
                  </a:lnTo>
                  <a:lnTo>
                    <a:pt x="216" y="231"/>
                  </a:lnTo>
                  <a:lnTo>
                    <a:pt x="216" y="234"/>
                  </a:lnTo>
                  <a:lnTo>
                    <a:pt x="216" y="237"/>
                  </a:lnTo>
                  <a:lnTo>
                    <a:pt x="216" y="243"/>
                  </a:lnTo>
                  <a:lnTo>
                    <a:pt x="216" y="246"/>
                  </a:lnTo>
                  <a:lnTo>
                    <a:pt x="216" y="249"/>
                  </a:lnTo>
                  <a:lnTo>
                    <a:pt x="216" y="255"/>
                  </a:lnTo>
                  <a:lnTo>
                    <a:pt x="216" y="258"/>
                  </a:lnTo>
                  <a:lnTo>
                    <a:pt x="216" y="261"/>
                  </a:lnTo>
                  <a:lnTo>
                    <a:pt x="216" y="264"/>
                  </a:lnTo>
                  <a:lnTo>
                    <a:pt x="216" y="267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1"/>
                  </a:lnTo>
                  <a:lnTo>
                    <a:pt x="222" y="264"/>
                  </a:lnTo>
                  <a:lnTo>
                    <a:pt x="225" y="267"/>
                  </a:lnTo>
                  <a:lnTo>
                    <a:pt x="225" y="270"/>
                  </a:lnTo>
                  <a:lnTo>
                    <a:pt x="228" y="270"/>
                  </a:lnTo>
                  <a:lnTo>
                    <a:pt x="228" y="273"/>
                  </a:lnTo>
                  <a:lnTo>
                    <a:pt x="231" y="273"/>
                  </a:lnTo>
                  <a:lnTo>
                    <a:pt x="231" y="276"/>
                  </a:lnTo>
                  <a:lnTo>
                    <a:pt x="231" y="279"/>
                  </a:lnTo>
                  <a:lnTo>
                    <a:pt x="228" y="282"/>
                  </a:lnTo>
                  <a:lnTo>
                    <a:pt x="231" y="285"/>
                  </a:lnTo>
                  <a:lnTo>
                    <a:pt x="231" y="288"/>
                  </a:lnTo>
                  <a:lnTo>
                    <a:pt x="234" y="288"/>
                  </a:lnTo>
                  <a:lnTo>
                    <a:pt x="234" y="291"/>
                  </a:lnTo>
                  <a:lnTo>
                    <a:pt x="237" y="291"/>
                  </a:lnTo>
                  <a:lnTo>
                    <a:pt x="237" y="294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43" y="297"/>
                  </a:lnTo>
                  <a:lnTo>
                    <a:pt x="243" y="300"/>
                  </a:lnTo>
                  <a:lnTo>
                    <a:pt x="246" y="300"/>
                  </a:lnTo>
                  <a:lnTo>
                    <a:pt x="246" y="303"/>
                  </a:lnTo>
                  <a:lnTo>
                    <a:pt x="249" y="303"/>
                  </a:lnTo>
                  <a:lnTo>
                    <a:pt x="252" y="303"/>
                  </a:lnTo>
                  <a:lnTo>
                    <a:pt x="255" y="306"/>
                  </a:lnTo>
                  <a:lnTo>
                    <a:pt x="252" y="309"/>
                  </a:lnTo>
                  <a:lnTo>
                    <a:pt x="249" y="312"/>
                  </a:lnTo>
                  <a:lnTo>
                    <a:pt x="246" y="318"/>
                  </a:lnTo>
                  <a:lnTo>
                    <a:pt x="243" y="318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5"/>
                  </a:lnTo>
                  <a:lnTo>
                    <a:pt x="237" y="315"/>
                  </a:lnTo>
                  <a:lnTo>
                    <a:pt x="234" y="315"/>
                  </a:lnTo>
                  <a:lnTo>
                    <a:pt x="231" y="315"/>
                  </a:lnTo>
                  <a:lnTo>
                    <a:pt x="231" y="318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8" y="318"/>
                  </a:lnTo>
                  <a:lnTo>
                    <a:pt x="228" y="315"/>
                  </a:lnTo>
                  <a:lnTo>
                    <a:pt x="225" y="315"/>
                  </a:lnTo>
                  <a:lnTo>
                    <a:pt x="225" y="312"/>
                  </a:lnTo>
                  <a:lnTo>
                    <a:pt x="222" y="312"/>
                  </a:lnTo>
                  <a:lnTo>
                    <a:pt x="222" y="315"/>
                  </a:lnTo>
                  <a:lnTo>
                    <a:pt x="219" y="315"/>
                  </a:lnTo>
                  <a:lnTo>
                    <a:pt x="213" y="312"/>
                  </a:lnTo>
                  <a:lnTo>
                    <a:pt x="207" y="309"/>
                  </a:lnTo>
                  <a:lnTo>
                    <a:pt x="204" y="309"/>
                  </a:lnTo>
                  <a:lnTo>
                    <a:pt x="198" y="312"/>
                  </a:lnTo>
                  <a:lnTo>
                    <a:pt x="195" y="312"/>
                  </a:lnTo>
                  <a:lnTo>
                    <a:pt x="192" y="312"/>
                  </a:lnTo>
                  <a:lnTo>
                    <a:pt x="189" y="312"/>
                  </a:lnTo>
                  <a:lnTo>
                    <a:pt x="186" y="312"/>
                  </a:lnTo>
                  <a:lnTo>
                    <a:pt x="183" y="312"/>
                  </a:lnTo>
                  <a:lnTo>
                    <a:pt x="183" y="309"/>
                  </a:lnTo>
                  <a:lnTo>
                    <a:pt x="180" y="309"/>
                  </a:lnTo>
                  <a:lnTo>
                    <a:pt x="180" y="312"/>
                  </a:lnTo>
                  <a:lnTo>
                    <a:pt x="177" y="312"/>
                  </a:lnTo>
                  <a:lnTo>
                    <a:pt x="174" y="312"/>
                  </a:lnTo>
                  <a:lnTo>
                    <a:pt x="171" y="312"/>
                  </a:lnTo>
                  <a:lnTo>
                    <a:pt x="171" y="315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5" y="315"/>
                  </a:lnTo>
                  <a:lnTo>
                    <a:pt x="165" y="318"/>
                  </a:lnTo>
                  <a:lnTo>
                    <a:pt x="162" y="318"/>
                  </a:lnTo>
                  <a:lnTo>
                    <a:pt x="162" y="321"/>
                  </a:lnTo>
                  <a:lnTo>
                    <a:pt x="159" y="321"/>
                  </a:lnTo>
                  <a:lnTo>
                    <a:pt x="156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1"/>
                  </a:lnTo>
                  <a:lnTo>
                    <a:pt x="147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8"/>
                  </a:lnTo>
                  <a:lnTo>
                    <a:pt x="138" y="318"/>
                  </a:lnTo>
                  <a:lnTo>
                    <a:pt x="135" y="318"/>
                  </a:lnTo>
                  <a:lnTo>
                    <a:pt x="135" y="321"/>
                  </a:lnTo>
                  <a:lnTo>
                    <a:pt x="132" y="321"/>
                  </a:lnTo>
                  <a:lnTo>
                    <a:pt x="132" y="324"/>
                  </a:lnTo>
                  <a:lnTo>
                    <a:pt x="132" y="327"/>
                  </a:lnTo>
                  <a:lnTo>
                    <a:pt x="132" y="324"/>
                  </a:lnTo>
                  <a:lnTo>
                    <a:pt x="129" y="324"/>
                  </a:lnTo>
                  <a:lnTo>
                    <a:pt x="126" y="324"/>
                  </a:lnTo>
                  <a:lnTo>
                    <a:pt x="123" y="324"/>
                  </a:lnTo>
                  <a:lnTo>
                    <a:pt x="123" y="327"/>
                  </a:lnTo>
                  <a:lnTo>
                    <a:pt x="123" y="330"/>
                  </a:lnTo>
                  <a:lnTo>
                    <a:pt x="120" y="330"/>
                  </a:lnTo>
                  <a:lnTo>
                    <a:pt x="117" y="330"/>
                  </a:lnTo>
                  <a:lnTo>
                    <a:pt x="114" y="330"/>
                  </a:lnTo>
                  <a:lnTo>
                    <a:pt x="114" y="327"/>
                  </a:lnTo>
                  <a:lnTo>
                    <a:pt x="114" y="324"/>
                  </a:lnTo>
                  <a:lnTo>
                    <a:pt x="111" y="324"/>
                  </a:lnTo>
                  <a:lnTo>
                    <a:pt x="111" y="321"/>
                  </a:lnTo>
                  <a:lnTo>
                    <a:pt x="111" y="318"/>
                  </a:lnTo>
                  <a:lnTo>
                    <a:pt x="108" y="318"/>
                  </a:lnTo>
                  <a:lnTo>
                    <a:pt x="108" y="321"/>
                  </a:lnTo>
                  <a:lnTo>
                    <a:pt x="108" y="318"/>
                  </a:lnTo>
                  <a:lnTo>
                    <a:pt x="108" y="315"/>
                  </a:lnTo>
                  <a:lnTo>
                    <a:pt x="105" y="315"/>
                  </a:lnTo>
                  <a:lnTo>
                    <a:pt x="105" y="312"/>
                  </a:lnTo>
                  <a:lnTo>
                    <a:pt x="105" y="309"/>
                  </a:lnTo>
                  <a:lnTo>
                    <a:pt x="102" y="309"/>
                  </a:lnTo>
                  <a:lnTo>
                    <a:pt x="102" y="306"/>
                  </a:lnTo>
                  <a:lnTo>
                    <a:pt x="99" y="306"/>
                  </a:lnTo>
                  <a:lnTo>
                    <a:pt x="96" y="306"/>
                  </a:lnTo>
                  <a:lnTo>
                    <a:pt x="93" y="306"/>
                  </a:lnTo>
                  <a:lnTo>
                    <a:pt x="93" y="303"/>
                  </a:lnTo>
                  <a:lnTo>
                    <a:pt x="90" y="303"/>
                  </a:lnTo>
                  <a:lnTo>
                    <a:pt x="90" y="300"/>
                  </a:lnTo>
                  <a:lnTo>
                    <a:pt x="87" y="300"/>
                  </a:lnTo>
                  <a:lnTo>
                    <a:pt x="84" y="300"/>
                  </a:lnTo>
                  <a:lnTo>
                    <a:pt x="84" y="297"/>
                  </a:lnTo>
                  <a:lnTo>
                    <a:pt x="81" y="297"/>
                  </a:lnTo>
                  <a:lnTo>
                    <a:pt x="81" y="294"/>
                  </a:lnTo>
                  <a:lnTo>
                    <a:pt x="81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297"/>
                  </a:lnTo>
                  <a:lnTo>
                    <a:pt x="72" y="297"/>
                  </a:lnTo>
                  <a:lnTo>
                    <a:pt x="72" y="294"/>
                  </a:lnTo>
                  <a:lnTo>
                    <a:pt x="72" y="291"/>
                  </a:lnTo>
                  <a:lnTo>
                    <a:pt x="69" y="291"/>
                  </a:lnTo>
                  <a:lnTo>
                    <a:pt x="69" y="288"/>
                  </a:lnTo>
                  <a:lnTo>
                    <a:pt x="72" y="288"/>
                  </a:lnTo>
                  <a:lnTo>
                    <a:pt x="69" y="288"/>
                  </a:lnTo>
                  <a:lnTo>
                    <a:pt x="69" y="285"/>
                  </a:lnTo>
                  <a:lnTo>
                    <a:pt x="69" y="282"/>
                  </a:lnTo>
                  <a:lnTo>
                    <a:pt x="69" y="285"/>
                  </a:lnTo>
                  <a:lnTo>
                    <a:pt x="66" y="285"/>
                  </a:lnTo>
                  <a:lnTo>
                    <a:pt x="66" y="282"/>
                  </a:lnTo>
                  <a:lnTo>
                    <a:pt x="63" y="282"/>
                  </a:lnTo>
                  <a:lnTo>
                    <a:pt x="60" y="282"/>
                  </a:lnTo>
                  <a:lnTo>
                    <a:pt x="60" y="285"/>
                  </a:lnTo>
                  <a:lnTo>
                    <a:pt x="57" y="285"/>
                  </a:lnTo>
                  <a:lnTo>
                    <a:pt x="54" y="285"/>
                  </a:lnTo>
                  <a:lnTo>
                    <a:pt x="57" y="285"/>
                  </a:lnTo>
                  <a:lnTo>
                    <a:pt x="57" y="288"/>
                  </a:lnTo>
                  <a:lnTo>
                    <a:pt x="54" y="288"/>
                  </a:lnTo>
                  <a:lnTo>
                    <a:pt x="54" y="285"/>
                  </a:lnTo>
                  <a:lnTo>
                    <a:pt x="51" y="285"/>
                  </a:lnTo>
                  <a:lnTo>
                    <a:pt x="48" y="285"/>
                  </a:lnTo>
                  <a:lnTo>
                    <a:pt x="48" y="282"/>
                  </a:lnTo>
                  <a:lnTo>
                    <a:pt x="48" y="285"/>
                  </a:lnTo>
                  <a:lnTo>
                    <a:pt x="45" y="285"/>
                  </a:lnTo>
                  <a:lnTo>
                    <a:pt x="45" y="282"/>
                  </a:lnTo>
                  <a:lnTo>
                    <a:pt x="42" y="282"/>
                  </a:lnTo>
                  <a:lnTo>
                    <a:pt x="42" y="279"/>
                  </a:lnTo>
                  <a:lnTo>
                    <a:pt x="39" y="279"/>
                  </a:lnTo>
                  <a:lnTo>
                    <a:pt x="36" y="279"/>
                  </a:lnTo>
                  <a:lnTo>
                    <a:pt x="33" y="279"/>
                  </a:lnTo>
                  <a:lnTo>
                    <a:pt x="33" y="282"/>
                  </a:lnTo>
                  <a:lnTo>
                    <a:pt x="36" y="282"/>
                  </a:lnTo>
                  <a:lnTo>
                    <a:pt x="36" y="285"/>
                  </a:lnTo>
                  <a:lnTo>
                    <a:pt x="33" y="285"/>
                  </a:lnTo>
                  <a:lnTo>
                    <a:pt x="33" y="282"/>
                  </a:lnTo>
                  <a:lnTo>
                    <a:pt x="33" y="285"/>
                  </a:lnTo>
                  <a:lnTo>
                    <a:pt x="30" y="285"/>
                  </a:lnTo>
                  <a:lnTo>
                    <a:pt x="27" y="285"/>
                  </a:lnTo>
                  <a:lnTo>
                    <a:pt x="27" y="288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27" y="285"/>
                  </a:lnTo>
                  <a:lnTo>
                    <a:pt x="24" y="285"/>
                  </a:lnTo>
                  <a:lnTo>
                    <a:pt x="24" y="282"/>
                  </a:lnTo>
                  <a:lnTo>
                    <a:pt x="24" y="279"/>
                  </a:lnTo>
                  <a:lnTo>
                    <a:pt x="21" y="279"/>
                  </a:lnTo>
                  <a:lnTo>
                    <a:pt x="21" y="282"/>
                  </a:lnTo>
                  <a:lnTo>
                    <a:pt x="18" y="279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85"/>
                  </a:lnTo>
                  <a:lnTo>
                    <a:pt x="15" y="282"/>
                  </a:lnTo>
                  <a:lnTo>
                    <a:pt x="18" y="282"/>
                  </a:lnTo>
                  <a:lnTo>
                    <a:pt x="15" y="282"/>
                  </a:lnTo>
                  <a:lnTo>
                    <a:pt x="15" y="279"/>
                  </a:lnTo>
                  <a:lnTo>
                    <a:pt x="15" y="276"/>
                  </a:lnTo>
                  <a:lnTo>
                    <a:pt x="12" y="276"/>
                  </a:lnTo>
                  <a:lnTo>
                    <a:pt x="9" y="276"/>
                  </a:lnTo>
                  <a:lnTo>
                    <a:pt x="9" y="279"/>
                  </a:lnTo>
                  <a:lnTo>
                    <a:pt x="9" y="276"/>
                  </a:lnTo>
                  <a:lnTo>
                    <a:pt x="6" y="276"/>
                  </a:lnTo>
                  <a:lnTo>
                    <a:pt x="3" y="273"/>
                  </a:lnTo>
                  <a:lnTo>
                    <a:pt x="0" y="273"/>
                  </a:lnTo>
                  <a:lnTo>
                    <a:pt x="0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3" y="270"/>
                  </a:lnTo>
                  <a:lnTo>
                    <a:pt x="6" y="270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9" y="267"/>
                  </a:lnTo>
                  <a:lnTo>
                    <a:pt x="6" y="267"/>
                  </a:lnTo>
                  <a:lnTo>
                    <a:pt x="6" y="264"/>
                  </a:lnTo>
                  <a:lnTo>
                    <a:pt x="9" y="261"/>
                  </a:lnTo>
                  <a:lnTo>
                    <a:pt x="12" y="261"/>
                  </a:lnTo>
                  <a:lnTo>
                    <a:pt x="15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2" y="255"/>
                  </a:lnTo>
                  <a:lnTo>
                    <a:pt x="15" y="249"/>
                  </a:lnTo>
                  <a:lnTo>
                    <a:pt x="18" y="249"/>
                  </a:lnTo>
                  <a:lnTo>
                    <a:pt x="21" y="249"/>
                  </a:lnTo>
                  <a:lnTo>
                    <a:pt x="21" y="246"/>
                  </a:lnTo>
                  <a:lnTo>
                    <a:pt x="24" y="246"/>
                  </a:lnTo>
                  <a:lnTo>
                    <a:pt x="24" y="243"/>
                  </a:lnTo>
                  <a:lnTo>
                    <a:pt x="24" y="240"/>
                  </a:lnTo>
                  <a:lnTo>
                    <a:pt x="24" y="237"/>
                  </a:lnTo>
                  <a:lnTo>
                    <a:pt x="30" y="237"/>
                  </a:lnTo>
                  <a:lnTo>
                    <a:pt x="27" y="237"/>
                  </a:lnTo>
                  <a:lnTo>
                    <a:pt x="30" y="237"/>
                  </a:lnTo>
                  <a:lnTo>
                    <a:pt x="30" y="240"/>
                  </a:lnTo>
                  <a:lnTo>
                    <a:pt x="33" y="240"/>
                  </a:lnTo>
                  <a:lnTo>
                    <a:pt x="33" y="237"/>
                  </a:lnTo>
                  <a:lnTo>
                    <a:pt x="36" y="237"/>
                  </a:lnTo>
                  <a:lnTo>
                    <a:pt x="39" y="237"/>
                  </a:lnTo>
                  <a:lnTo>
                    <a:pt x="42" y="237"/>
                  </a:lnTo>
                  <a:lnTo>
                    <a:pt x="45" y="237"/>
                  </a:lnTo>
                  <a:lnTo>
                    <a:pt x="45" y="234"/>
                  </a:lnTo>
                  <a:lnTo>
                    <a:pt x="45" y="231"/>
                  </a:lnTo>
                  <a:lnTo>
                    <a:pt x="48" y="231"/>
                  </a:lnTo>
                  <a:lnTo>
                    <a:pt x="45" y="231"/>
                  </a:lnTo>
                  <a:lnTo>
                    <a:pt x="45" y="228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54" y="225"/>
                  </a:lnTo>
                  <a:lnTo>
                    <a:pt x="51" y="222"/>
                  </a:lnTo>
                  <a:lnTo>
                    <a:pt x="48" y="222"/>
                  </a:lnTo>
                  <a:lnTo>
                    <a:pt x="48" y="216"/>
                  </a:lnTo>
                  <a:lnTo>
                    <a:pt x="45" y="219"/>
                  </a:lnTo>
                  <a:lnTo>
                    <a:pt x="42" y="219"/>
                  </a:lnTo>
                  <a:lnTo>
                    <a:pt x="39" y="222"/>
                  </a:lnTo>
                  <a:lnTo>
                    <a:pt x="36" y="219"/>
                  </a:lnTo>
                  <a:lnTo>
                    <a:pt x="33" y="216"/>
                  </a:lnTo>
                  <a:lnTo>
                    <a:pt x="33" y="213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7"/>
                  </a:lnTo>
                  <a:lnTo>
                    <a:pt x="24" y="204"/>
                  </a:lnTo>
                  <a:lnTo>
                    <a:pt x="24" y="201"/>
                  </a:lnTo>
                  <a:lnTo>
                    <a:pt x="21" y="201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4" y="195"/>
                  </a:lnTo>
                  <a:lnTo>
                    <a:pt x="27" y="192"/>
                  </a:lnTo>
                  <a:lnTo>
                    <a:pt x="30" y="195"/>
                  </a:lnTo>
                  <a:lnTo>
                    <a:pt x="30" y="189"/>
                  </a:lnTo>
                  <a:lnTo>
                    <a:pt x="33" y="186"/>
                  </a:lnTo>
                  <a:lnTo>
                    <a:pt x="39" y="189"/>
                  </a:lnTo>
                  <a:lnTo>
                    <a:pt x="45" y="189"/>
                  </a:lnTo>
                  <a:lnTo>
                    <a:pt x="45" y="186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4" y="189"/>
                  </a:lnTo>
                  <a:lnTo>
                    <a:pt x="54" y="186"/>
                  </a:lnTo>
                  <a:lnTo>
                    <a:pt x="54" y="183"/>
                  </a:lnTo>
                  <a:lnTo>
                    <a:pt x="54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60" y="171"/>
                  </a:lnTo>
                  <a:lnTo>
                    <a:pt x="60" y="168"/>
                  </a:lnTo>
                  <a:lnTo>
                    <a:pt x="63" y="165"/>
                  </a:lnTo>
                  <a:lnTo>
                    <a:pt x="60" y="162"/>
                  </a:lnTo>
                  <a:lnTo>
                    <a:pt x="63" y="159"/>
                  </a:lnTo>
                  <a:lnTo>
                    <a:pt x="66" y="156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75" y="138"/>
                  </a:lnTo>
                  <a:lnTo>
                    <a:pt x="78" y="138"/>
                  </a:lnTo>
                  <a:lnTo>
                    <a:pt x="78" y="135"/>
                  </a:lnTo>
                  <a:lnTo>
                    <a:pt x="81" y="135"/>
                  </a:lnTo>
                  <a:lnTo>
                    <a:pt x="84" y="129"/>
                  </a:lnTo>
                  <a:lnTo>
                    <a:pt x="84" y="126"/>
                  </a:lnTo>
                  <a:lnTo>
                    <a:pt x="81" y="129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75" y="126"/>
                  </a:lnTo>
                  <a:lnTo>
                    <a:pt x="69" y="126"/>
                  </a:lnTo>
                  <a:lnTo>
                    <a:pt x="66" y="129"/>
                  </a:lnTo>
                  <a:lnTo>
                    <a:pt x="63" y="129"/>
                  </a:lnTo>
                  <a:lnTo>
                    <a:pt x="63" y="132"/>
                  </a:lnTo>
                  <a:lnTo>
                    <a:pt x="60" y="132"/>
                  </a:lnTo>
                  <a:lnTo>
                    <a:pt x="60" y="135"/>
                  </a:lnTo>
                  <a:lnTo>
                    <a:pt x="57" y="135"/>
                  </a:lnTo>
                  <a:lnTo>
                    <a:pt x="54" y="135"/>
                  </a:lnTo>
                  <a:lnTo>
                    <a:pt x="54" y="138"/>
                  </a:lnTo>
                  <a:lnTo>
                    <a:pt x="51" y="138"/>
                  </a:lnTo>
                  <a:lnTo>
                    <a:pt x="48" y="138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5" y="132"/>
                  </a:lnTo>
                  <a:lnTo>
                    <a:pt x="45" y="129"/>
                  </a:lnTo>
                  <a:lnTo>
                    <a:pt x="48" y="126"/>
                  </a:lnTo>
                  <a:lnTo>
                    <a:pt x="51" y="123"/>
                  </a:lnTo>
                  <a:lnTo>
                    <a:pt x="54" y="120"/>
                  </a:lnTo>
                  <a:lnTo>
                    <a:pt x="54" y="117"/>
                  </a:lnTo>
                  <a:lnTo>
                    <a:pt x="54" y="114"/>
                  </a:lnTo>
                  <a:lnTo>
                    <a:pt x="51" y="114"/>
                  </a:lnTo>
                  <a:lnTo>
                    <a:pt x="51" y="111"/>
                  </a:lnTo>
                  <a:lnTo>
                    <a:pt x="54" y="114"/>
                  </a:lnTo>
                  <a:lnTo>
                    <a:pt x="57" y="111"/>
                  </a:lnTo>
                  <a:lnTo>
                    <a:pt x="54" y="111"/>
                  </a:lnTo>
                  <a:lnTo>
                    <a:pt x="57" y="108"/>
                  </a:lnTo>
                  <a:lnTo>
                    <a:pt x="54" y="111"/>
                  </a:lnTo>
                  <a:lnTo>
                    <a:pt x="51" y="111"/>
                  </a:lnTo>
                  <a:lnTo>
                    <a:pt x="51" y="108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27" y="111"/>
                  </a:lnTo>
                  <a:lnTo>
                    <a:pt x="24" y="111"/>
                  </a:lnTo>
                  <a:lnTo>
                    <a:pt x="24" y="114"/>
                  </a:lnTo>
                  <a:lnTo>
                    <a:pt x="21" y="114"/>
                  </a:lnTo>
                  <a:lnTo>
                    <a:pt x="18" y="114"/>
                  </a:lnTo>
                  <a:lnTo>
                    <a:pt x="12" y="117"/>
                  </a:lnTo>
                  <a:lnTo>
                    <a:pt x="15" y="114"/>
                  </a:lnTo>
                  <a:lnTo>
                    <a:pt x="12" y="111"/>
                  </a:lnTo>
                  <a:lnTo>
                    <a:pt x="15" y="108"/>
                  </a:lnTo>
                  <a:lnTo>
                    <a:pt x="18" y="108"/>
                  </a:lnTo>
                  <a:lnTo>
                    <a:pt x="21" y="108"/>
                  </a:lnTo>
                  <a:lnTo>
                    <a:pt x="21" y="105"/>
                  </a:lnTo>
                  <a:lnTo>
                    <a:pt x="24" y="105"/>
                  </a:lnTo>
                  <a:lnTo>
                    <a:pt x="27" y="102"/>
                  </a:lnTo>
                  <a:lnTo>
                    <a:pt x="33" y="102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9" y="93"/>
                  </a:lnTo>
                  <a:lnTo>
                    <a:pt x="42" y="93"/>
                  </a:lnTo>
                  <a:lnTo>
                    <a:pt x="45" y="87"/>
                  </a:lnTo>
                  <a:lnTo>
                    <a:pt x="48" y="87"/>
                  </a:lnTo>
                  <a:lnTo>
                    <a:pt x="51" y="87"/>
                  </a:lnTo>
                  <a:lnTo>
                    <a:pt x="51" y="90"/>
                  </a:lnTo>
                  <a:lnTo>
                    <a:pt x="54" y="87"/>
                  </a:lnTo>
                  <a:lnTo>
                    <a:pt x="57" y="87"/>
                  </a:lnTo>
                  <a:lnTo>
                    <a:pt x="60" y="87"/>
                  </a:lnTo>
                  <a:lnTo>
                    <a:pt x="63" y="87"/>
                  </a:lnTo>
                  <a:lnTo>
                    <a:pt x="69" y="87"/>
                  </a:lnTo>
                  <a:lnTo>
                    <a:pt x="69" y="90"/>
                  </a:lnTo>
                  <a:lnTo>
                    <a:pt x="72" y="90"/>
                  </a:lnTo>
                  <a:lnTo>
                    <a:pt x="72" y="93"/>
                  </a:lnTo>
                  <a:lnTo>
                    <a:pt x="78" y="90"/>
                  </a:lnTo>
                  <a:lnTo>
                    <a:pt x="81" y="90"/>
                  </a:lnTo>
                  <a:lnTo>
                    <a:pt x="81" y="87"/>
                  </a:lnTo>
                  <a:lnTo>
                    <a:pt x="78" y="87"/>
                  </a:lnTo>
                  <a:lnTo>
                    <a:pt x="81" y="87"/>
                  </a:lnTo>
                  <a:lnTo>
                    <a:pt x="84" y="81"/>
                  </a:lnTo>
                  <a:lnTo>
                    <a:pt x="84" y="78"/>
                  </a:lnTo>
                  <a:lnTo>
                    <a:pt x="87" y="78"/>
                  </a:lnTo>
                  <a:lnTo>
                    <a:pt x="90" y="78"/>
                  </a:lnTo>
                  <a:lnTo>
                    <a:pt x="93" y="75"/>
                  </a:lnTo>
                  <a:lnTo>
                    <a:pt x="93" y="78"/>
                  </a:lnTo>
                  <a:lnTo>
                    <a:pt x="96" y="75"/>
                  </a:lnTo>
                  <a:lnTo>
                    <a:pt x="99" y="72"/>
                  </a:lnTo>
                  <a:lnTo>
                    <a:pt x="102" y="72"/>
                  </a:lnTo>
                  <a:lnTo>
                    <a:pt x="99" y="72"/>
                  </a:lnTo>
                  <a:lnTo>
                    <a:pt x="99" y="75"/>
                  </a:lnTo>
                  <a:lnTo>
                    <a:pt x="102" y="75"/>
                  </a:lnTo>
                  <a:lnTo>
                    <a:pt x="102" y="78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96" y="81"/>
                  </a:lnTo>
                  <a:lnTo>
                    <a:pt x="99" y="87"/>
                  </a:lnTo>
                  <a:lnTo>
                    <a:pt x="96" y="90"/>
                  </a:lnTo>
                  <a:lnTo>
                    <a:pt x="99" y="90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2" y="99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5" y="105"/>
                  </a:lnTo>
                  <a:lnTo>
                    <a:pt x="105" y="108"/>
                  </a:lnTo>
                  <a:lnTo>
                    <a:pt x="111" y="108"/>
                  </a:lnTo>
                  <a:lnTo>
                    <a:pt x="111" y="105"/>
                  </a:lnTo>
                  <a:lnTo>
                    <a:pt x="114" y="105"/>
                  </a:lnTo>
                  <a:lnTo>
                    <a:pt x="117" y="105"/>
                  </a:lnTo>
                  <a:lnTo>
                    <a:pt x="117" y="102"/>
                  </a:lnTo>
                  <a:lnTo>
                    <a:pt x="120" y="105"/>
                  </a:lnTo>
                  <a:lnTo>
                    <a:pt x="123" y="105"/>
                  </a:lnTo>
                  <a:lnTo>
                    <a:pt x="126" y="105"/>
                  </a:lnTo>
                  <a:lnTo>
                    <a:pt x="129" y="105"/>
                  </a:lnTo>
                  <a:lnTo>
                    <a:pt x="129" y="102"/>
                  </a:lnTo>
                  <a:lnTo>
                    <a:pt x="129" y="99"/>
                  </a:lnTo>
                  <a:lnTo>
                    <a:pt x="132" y="102"/>
                  </a:lnTo>
                  <a:lnTo>
                    <a:pt x="132" y="99"/>
                  </a:lnTo>
                  <a:lnTo>
                    <a:pt x="135" y="99"/>
                  </a:lnTo>
                  <a:lnTo>
                    <a:pt x="138" y="96"/>
                  </a:lnTo>
                  <a:lnTo>
                    <a:pt x="138" y="93"/>
                  </a:lnTo>
                  <a:lnTo>
                    <a:pt x="141" y="90"/>
                  </a:lnTo>
                  <a:lnTo>
                    <a:pt x="141" y="87"/>
                  </a:lnTo>
                  <a:lnTo>
                    <a:pt x="144" y="90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62" y="75"/>
                  </a:lnTo>
                  <a:lnTo>
                    <a:pt x="162" y="72"/>
                  </a:lnTo>
                  <a:lnTo>
                    <a:pt x="165" y="72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1" y="69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3"/>
                  </a:lnTo>
                  <a:lnTo>
                    <a:pt x="174" y="60"/>
                  </a:lnTo>
                  <a:lnTo>
                    <a:pt x="177" y="60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3" y="60"/>
                  </a:lnTo>
                  <a:lnTo>
                    <a:pt x="189" y="60"/>
                  </a:lnTo>
                  <a:lnTo>
                    <a:pt x="195" y="66"/>
                  </a:lnTo>
                  <a:lnTo>
                    <a:pt x="198" y="60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54"/>
                  </a:lnTo>
                  <a:lnTo>
                    <a:pt x="207" y="54"/>
                  </a:lnTo>
                  <a:lnTo>
                    <a:pt x="207" y="51"/>
                  </a:lnTo>
                  <a:lnTo>
                    <a:pt x="210" y="51"/>
                  </a:lnTo>
                  <a:lnTo>
                    <a:pt x="210" y="54"/>
                  </a:lnTo>
                  <a:lnTo>
                    <a:pt x="210" y="51"/>
                  </a:lnTo>
                  <a:lnTo>
                    <a:pt x="210" y="48"/>
                  </a:lnTo>
                  <a:lnTo>
                    <a:pt x="213" y="45"/>
                  </a:lnTo>
                  <a:lnTo>
                    <a:pt x="213" y="48"/>
                  </a:lnTo>
                  <a:lnTo>
                    <a:pt x="216" y="51"/>
                  </a:lnTo>
                  <a:lnTo>
                    <a:pt x="222" y="54"/>
                  </a:lnTo>
                  <a:lnTo>
                    <a:pt x="225" y="51"/>
                  </a:lnTo>
                  <a:lnTo>
                    <a:pt x="228" y="51"/>
                  </a:lnTo>
                  <a:lnTo>
                    <a:pt x="228" y="57"/>
                  </a:lnTo>
                  <a:lnTo>
                    <a:pt x="231" y="57"/>
                  </a:lnTo>
                  <a:lnTo>
                    <a:pt x="234" y="57"/>
                  </a:lnTo>
                  <a:lnTo>
                    <a:pt x="237" y="57"/>
                  </a:lnTo>
                  <a:lnTo>
                    <a:pt x="237" y="60"/>
                  </a:lnTo>
                  <a:lnTo>
                    <a:pt x="240" y="60"/>
                  </a:lnTo>
                  <a:lnTo>
                    <a:pt x="243" y="60"/>
                  </a:lnTo>
                  <a:lnTo>
                    <a:pt x="246" y="60"/>
                  </a:lnTo>
                  <a:lnTo>
                    <a:pt x="246" y="63"/>
                  </a:lnTo>
                  <a:lnTo>
                    <a:pt x="246" y="66"/>
                  </a:lnTo>
                  <a:lnTo>
                    <a:pt x="246" y="69"/>
                  </a:lnTo>
                  <a:lnTo>
                    <a:pt x="243" y="69"/>
                  </a:lnTo>
                  <a:lnTo>
                    <a:pt x="237" y="69"/>
                  </a:lnTo>
                  <a:lnTo>
                    <a:pt x="237" y="72"/>
                  </a:lnTo>
                  <a:lnTo>
                    <a:pt x="237" y="75"/>
                  </a:lnTo>
                  <a:lnTo>
                    <a:pt x="243" y="75"/>
                  </a:lnTo>
                  <a:lnTo>
                    <a:pt x="240" y="75"/>
                  </a:lnTo>
                  <a:lnTo>
                    <a:pt x="240" y="78"/>
                  </a:lnTo>
                  <a:lnTo>
                    <a:pt x="243" y="78"/>
                  </a:lnTo>
                  <a:lnTo>
                    <a:pt x="240" y="81"/>
                  </a:lnTo>
                  <a:lnTo>
                    <a:pt x="243" y="81"/>
                  </a:lnTo>
                  <a:lnTo>
                    <a:pt x="249" y="81"/>
                  </a:lnTo>
                  <a:lnTo>
                    <a:pt x="249" y="84"/>
                  </a:lnTo>
                  <a:lnTo>
                    <a:pt x="249" y="87"/>
                  </a:lnTo>
                  <a:lnTo>
                    <a:pt x="252" y="87"/>
                  </a:lnTo>
                  <a:lnTo>
                    <a:pt x="255" y="87"/>
                  </a:lnTo>
                  <a:lnTo>
                    <a:pt x="255" y="93"/>
                  </a:lnTo>
                  <a:lnTo>
                    <a:pt x="252" y="93"/>
                  </a:lnTo>
                  <a:lnTo>
                    <a:pt x="249" y="93"/>
                  </a:lnTo>
                  <a:lnTo>
                    <a:pt x="243" y="93"/>
                  </a:lnTo>
                  <a:lnTo>
                    <a:pt x="243" y="96"/>
                  </a:lnTo>
                  <a:lnTo>
                    <a:pt x="246" y="96"/>
                  </a:lnTo>
                  <a:lnTo>
                    <a:pt x="246" y="99"/>
                  </a:lnTo>
                  <a:lnTo>
                    <a:pt x="249" y="99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2" y="99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6"/>
                  </a:lnTo>
                  <a:lnTo>
                    <a:pt x="255" y="96"/>
                  </a:lnTo>
                  <a:lnTo>
                    <a:pt x="252" y="93"/>
                  </a:lnTo>
                  <a:lnTo>
                    <a:pt x="255" y="93"/>
                  </a:lnTo>
                  <a:lnTo>
                    <a:pt x="255" y="96"/>
                  </a:lnTo>
                  <a:lnTo>
                    <a:pt x="258" y="96"/>
                  </a:lnTo>
                  <a:lnTo>
                    <a:pt x="258" y="93"/>
                  </a:lnTo>
                  <a:lnTo>
                    <a:pt x="261" y="93"/>
                  </a:lnTo>
                  <a:lnTo>
                    <a:pt x="264" y="93"/>
                  </a:lnTo>
                  <a:lnTo>
                    <a:pt x="267" y="93"/>
                  </a:lnTo>
                  <a:lnTo>
                    <a:pt x="270" y="93"/>
                  </a:lnTo>
                  <a:lnTo>
                    <a:pt x="267" y="90"/>
                  </a:lnTo>
                  <a:lnTo>
                    <a:pt x="273" y="90"/>
                  </a:lnTo>
                  <a:lnTo>
                    <a:pt x="270" y="87"/>
                  </a:lnTo>
                  <a:lnTo>
                    <a:pt x="270" y="84"/>
                  </a:lnTo>
                  <a:lnTo>
                    <a:pt x="267" y="84"/>
                  </a:lnTo>
                  <a:lnTo>
                    <a:pt x="264" y="84"/>
                  </a:lnTo>
                  <a:lnTo>
                    <a:pt x="264" y="81"/>
                  </a:lnTo>
                  <a:lnTo>
                    <a:pt x="261" y="81"/>
                  </a:lnTo>
                  <a:lnTo>
                    <a:pt x="261" y="78"/>
                  </a:lnTo>
                  <a:lnTo>
                    <a:pt x="261" y="75"/>
                  </a:lnTo>
                  <a:lnTo>
                    <a:pt x="261" y="72"/>
                  </a:lnTo>
                  <a:lnTo>
                    <a:pt x="264" y="72"/>
                  </a:lnTo>
                  <a:lnTo>
                    <a:pt x="270" y="72"/>
                  </a:lnTo>
                  <a:lnTo>
                    <a:pt x="273" y="69"/>
                  </a:lnTo>
                  <a:lnTo>
                    <a:pt x="276" y="69"/>
                  </a:lnTo>
                  <a:lnTo>
                    <a:pt x="276" y="66"/>
                  </a:lnTo>
                  <a:lnTo>
                    <a:pt x="279" y="66"/>
                  </a:lnTo>
                  <a:lnTo>
                    <a:pt x="282" y="66"/>
                  </a:lnTo>
                  <a:lnTo>
                    <a:pt x="282" y="63"/>
                  </a:lnTo>
                  <a:lnTo>
                    <a:pt x="282" y="60"/>
                  </a:lnTo>
                  <a:lnTo>
                    <a:pt x="276" y="60"/>
                  </a:lnTo>
                  <a:lnTo>
                    <a:pt x="273" y="57"/>
                  </a:lnTo>
                  <a:lnTo>
                    <a:pt x="270" y="54"/>
                  </a:lnTo>
                  <a:lnTo>
                    <a:pt x="267" y="51"/>
                  </a:lnTo>
                  <a:lnTo>
                    <a:pt x="270" y="51"/>
                  </a:lnTo>
                  <a:lnTo>
                    <a:pt x="273" y="48"/>
                  </a:lnTo>
                  <a:lnTo>
                    <a:pt x="264" y="48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5" name="Freeform 30">
              <a:extLst>
                <a:ext uri="{FF2B5EF4-FFF2-40B4-BE49-F238E27FC236}">
                  <a16:creationId xmlns:a16="http://schemas.microsoft.com/office/drawing/2014/main" id="{7ED33323-7DE9-4027-89E4-42324D9F8F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2375" y="2654300"/>
              <a:ext cx="939800" cy="638175"/>
            </a:xfrm>
            <a:custGeom>
              <a:avLst/>
              <a:gdLst>
                <a:gd name="T0" fmla="*/ 633087 w 478"/>
                <a:gd name="T1" fmla="*/ 23636 h 324"/>
                <a:gd name="T2" fmla="*/ 686172 w 478"/>
                <a:gd name="T3" fmla="*/ 41363 h 324"/>
                <a:gd name="T4" fmla="*/ 756952 w 478"/>
                <a:gd name="T5" fmla="*/ 53181 h 324"/>
                <a:gd name="T6" fmla="*/ 798240 w 478"/>
                <a:gd name="T7" fmla="*/ 76817 h 324"/>
                <a:gd name="T8" fmla="*/ 851325 w 478"/>
                <a:gd name="T9" fmla="*/ 59090 h 324"/>
                <a:gd name="T10" fmla="*/ 904410 w 478"/>
                <a:gd name="T11" fmla="*/ 64999 h 324"/>
                <a:gd name="T12" fmla="*/ 904410 w 478"/>
                <a:gd name="T13" fmla="*/ 82726 h 324"/>
                <a:gd name="T14" fmla="*/ 939800 w 478"/>
                <a:gd name="T15" fmla="*/ 135908 h 324"/>
                <a:gd name="T16" fmla="*/ 910308 w 478"/>
                <a:gd name="T17" fmla="*/ 129999 h 324"/>
                <a:gd name="T18" fmla="*/ 886715 w 478"/>
                <a:gd name="T19" fmla="*/ 177271 h 324"/>
                <a:gd name="T20" fmla="*/ 874918 w 478"/>
                <a:gd name="T21" fmla="*/ 224543 h 324"/>
                <a:gd name="T22" fmla="*/ 833630 w 478"/>
                <a:gd name="T23" fmla="*/ 212725 h 324"/>
                <a:gd name="T24" fmla="*/ 798240 w 478"/>
                <a:gd name="T25" fmla="*/ 254088 h 324"/>
                <a:gd name="T26" fmla="*/ 762850 w 478"/>
                <a:gd name="T27" fmla="*/ 313178 h 324"/>
                <a:gd name="T28" fmla="*/ 810037 w 478"/>
                <a:gd name="T29" fmla="*/ 319088 h 324"/>
                <a:gd name="T30" fmla="*/ 815935 w 478"/>
                <a:gd name="T31" fmla="*/ 354542 h 324"/>
                <a:gd name="T32" fmla="*/ 810037 w 478"/>
                <a:gd name="T33" fmla="*/ 401814 h 324"/>
                <a:gd name="T34" fmla="*/ 768749 w 478"/>
                <a:gd name="T35" fmla="*/ 413632 h 324"/>
                <a:gd name="T36" fmla="*/ 739257 w 478"/>
                <a:gd name="T37" fmla="*/ 419541 h 324"/>
                <a:gd name="T38" fmla="*/ 709765 w 478"/>
                <a:gd name="T39" fmla="*/ 425450 h 324"/>
                <a:gd name="T40" fmla="*/ 674375 w 478"/>
                <a:gd name="T41" fmla="*/ 431359 h 324"/>
                <a:gd name="T42" fmla="*/ 638985 w 478"/>
                <a:gd name="T43" fmla="*/ 454995 h 324"/>
                <a:gd name="T44" fmla="*/ 638985 w 478"/>
                <a:gd name="T45" fmla="*/ 490449 h 324"/>
                <a:gd name="T46" fmla="*/ 621290 w 478"/>
                <a:gd name="T47" fmla="*/ 502267 h 324"/>
                <a:gd name="T48" fmla="*/ 591799 w 478"/>
                <a:gd name="T49" fmla="*/ 531813 h 324"/>
                <a:gd name="T50" fmla="*/ 568205 w 478"/>
                <a:gd name="T51" fmla="*/ 567267 h 324"/>
                <a:gd name="T52" fmla="*/ 532815 w 478"/>
                <a:gd name="T53" fmla="*/ 537722 h 324"/>
                <a:gd name="T54" fmla="*/ 485629 w 478"/>
                <a:gd name="T55" fmla="*/ 561358 h 324"/>
                <a:gd name="T56" fmla="*/ 432544 w 478"/>
                <a:gd name="T57" fmla="*/ 584994 h 324"/>
                <a:gd name="T58" fmla="*/ 414849 w 478"/>
                <a:gd name="T59" fmla="*/ 620448 h 324"/>
                <a:gd name="T60" fmla="*/ 367662 w 478"/>
                <a:gd name="T61" fmla="*/ 602721 h 324"/>
                <a:gd name="T62" fmla="*/ 361764 w 478"/>
                <a:gd name="T63" fmla="*/ 549540 h 324"/>
                <a:gd name="T64" fmla="*/ 344069 w 478"/>
                <a:gd name="T65" fmla="*/ 573176 h 324"/>
                <a:gd name="T66" fmla="*/ 332272 w 478"/>
                <a:gd name="T67" fmla="*/ 596812 h 324"/>
                <a:gd name="T68" fmla="*/ 326374 w 478"/>
                <a:gd name="T69" fmla="*/ 626357 h 324"/>
                <a:gd name="T70" fmla="*/ 296882 w 478"/>
                <a:gd name="T71" fmla="*/ 608630 h 324"/>
                <a:gd name="T72" fmla="*/ 273289 w 478"/>
                <a:gd name="T73" fmla="*/ 561358 h 324"/>
                <a:gd name="T74" fmla="*/ 235933 w 478"/>
                <a:gd name="T75" fmla="*/ 514085 h 324"/>
                <a:gd name="T76" fmla="*/ 212340 w 478"/>
                <a:gd name="T77" fmla="*/ 519994 h 324"/>
                <a:gd name="T78" fmla="*/ 171051 w 478"/>
                <a:gd name="T79" fmla="*/ 525903 h 324"/>
                <a:gd name="T80" fmla="*/ 117967 w 478"/>
                <a:gd name="T81" fmla="*/ 502267 h 324"/>
                <a:gd name="T82" fmla="*/ 64882 w 478"/>
                <a:gd name="T83" fmla="*/ 454995 h 324"/>
                <a:gd name="T84" fmla="*/ 76678 w 478"/>
                <a:gd name="T85" fmla="*/ 372269 h 324"/>
                <a:gd name="T86" fmla="*/ 35390 w 478"/>
                <a:gd name="T87" fmla="*/ 354542 h 324"/>
                <a:gd name="T88" fmla="*/ 17695 w 478"/>
                <a:gd name="T89" fmla="*/ 283633 h 324"/>
                <a:gd name="T90" fmla="*/ 11797 w 478"/>
                <a:gd name="T91" fmla="*/ 248179 h 324"/>
                <a:gd name="T92" fmla="*/ 17695 w 478"/>
                <a:gd name="T93" fmla="*/ 218634 h 324"/>
                <a:gd name="T94" fmla="*/ 35390 w 478"/>
                <a:gd name="T95" fmla="*/ 183180 h 324"/>
                <a:gd name="T96" fmla="*/ 47187 w 478"/>
                <a:gd name="T97" fmla="*/ 141817 h 324"/>
                <a:gd name="T98" fmla="*/ 82577 w 478"/>
                <a:gd name="T99" fmla="*/ 124090 h 324"/>
                <a:gd name="T100" fmla="*/ 123865 w 478"/>
                <a:gd name="T101" fmla="*/ 118181 h 324"/>
                <a:gd name="T102" fmla="*/ 165153 w 478"/>
                <a:gd name="T103" fmla="*/ 135908 h 324"/>
                <a:gd name="T104" fmla="*/ 194645 w 478"/>
                <a:gd name="T105" fmla="*/ 159544 h 324"/>
                <a:gd name="T106" fmla="*/ 235933 w 478"/>
                <a:gd name="T107" fmla="*/ 183180 h 324"/>
                <a:gd name="T108" fmla="*/ 279187 w 478"/>
                <a:gd name="T109" fmla="*/ 189089 h 324"/>
                <a:gd name="T110" fmla="*/ 320476 w 478"/>
                <a:gd name="T111" fmla="*/ 206816 h 324"/>
                <a:gd name="T112" fmla="*/ 385357 w 478"/>
                <a:gd name="T113" fmla="*/ 206816 h 324"/>
                <a:gd name="T114" fmla="*/ 420747 w 478"/>
                <a:gd name="T115" fmla="*/ 200907 h 324"/>
                <a:gd name="T116" fmla="*/ 479731 w 478"/>
                <a:gd name="T117" fmla="*/ 189089 h 324"/>
                <a:gd name="T118" fmla="*/ 509222 w 478"/>
                <a:gd name="T119" fmla="*/ 129999 h 324"/>
                <a:gd name="T120" fmla="*/ 532815 w 478"/>
                <a:gd name="T121" fmla="*/ 64999 h 324"/>
                <a:gd name="T122" fmla="*/ 532815 w 478"/>
                <a:gd name="T123" fmla="*/ 23636 h 324"/>
                <a:gd name="T124" fmla="*/ 585900 w 478"/>
                <a:gd name="T125" fmla="*/ 5909 h 3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78" h="324">
                  <a:moveTo>
                    <a:pt x="319" y="0"/>
                  </a:moveTo>
                  <a:lnTo>
                    <a:pt x="322" y="0"/>
                  </a:lnTo>
                  <a:lnTo>
                    <a:pt x="322" y="3"/>
                  </a:lnTo>
                  <a:lnTo>
                    <a:pt x="319" y="3"/>
                  </a:lnTo>
                  <a:lnTo>
                    <a:pt x="322" y="3"/>
                  </a:lnTo>
                  <a:lnTo>
                    <a:pt x="322" y="6"/>
                  </a:lnTo>
                  <a:lnTo>
                    <a:pt x="319" y="6"/>
                  </a:lnTo>
                  <a:lnTo>
                    <a:pt x="319" y="9"/>
                  </a:lnTo>
                  <a:lnTo>
                    <a:pt x="322" y="9"/>
                  </a:lnTo>
                  <a:lnTo>
                    <a:pt x="322" y="12"/>
                  </a:lnTo>
                  <a:lnTo>
                    <a:pt x="322" y="15"/>
                  </a:lnTo>
                  <a:lnTo>
                    <a:pt x="322" y="12"/>
                  </a:lnTo>
                  <a:lnTo>
                    <a:pt x="325" y="12"/>
                  </a:lnTo>
                  <a:lnTo>
                    <a:pt x="325" y="15"/>
                  </a:lnTo>
                  <a:lnTo>
                    <a:pt x="322" y="15"/>
                  </a:lnTo>
                  <a:lnTo>
                    <a:pt x="328" y="15"/>
                  </a:lnTo>
                  <a:lnTo>
                    <a:pt x="331" y="15"/>
                  </a:lnTo>
                  <a:lnTo>
                    <a:pt x="331" y="18"/>
                  </a:lnTo>
                  <a:lnTo>
                    <a:pt x="334" y="18"/>
                  </a:lnTo>
                  <a:lnTo>
                    <a:pt x="337" y="21"/>
                  </a:lnTo>
                  <a:lnTo>
                    <a:pt x="337" y="15"/>
                  </a:lnTo>
                  <a:lnTo>
                    <a:pt x="343" y="21"/>
                  </a:lnTo>
                  <a:lnTo>
                    <a:pt x="346" y="21"/>
                  </a:lnTo>
                  <a:lnTo>
                    <a:pt x="349" y="21"/>
                  </a:lnTo>
                  <a:lnTo>
                    <a:pt x="349" y="18"/>
                  </a:lnTo>
                  <a:lnTo>
                    <a:pt x="361" y="15"/>
                  </a:lnTo>
                  <a:lnTo>
                    <a:pt x="364" y="12"/>
                  </a:lnTo>
                  <a:lnTo>
                    <a:pt x="367" y="12"/>
                  </a:lnTo>
                  <a:lnTo>
                    <a:pt x="367" y="6"/>
                  </a:lnTo>
                  <a:lnTo>
                    <a:pt x="370" y="6"/>
                  </a:lnTo>
                  <a:lnTo>
                    <a:pt x="373" y="18"/>
                  </a:lnTo>
                  <a:lnTo>
                    <a:pt x="373" y="21"/>
                  </a:lnTo>
                  <a:lnTo>
                    <a:pt x="376" y="24"/>
                  </a:lnTo>
                  <a:lnTo>
                    <a:pt x="382" y="27"/>
                  </a:lnTo>
                  <a:lnTo>
                    <a:pt x="382" y="30"/>
                  </a:lnTo>
                  <a:lnTo>
                    <a:pt x="385" y="27"/>
                  </a:lnTo>
                  <a:lnTo>
                    <a:pt x="388" y="30"/>
                  </a:lnTo>
                  <a:lnTo>
                    <a:pt x="388" y="33"/>
                  </a:lnTo>
                  <a:lnTo>
                    <a:pt x="385" y="33"/>
                  </a:lnTo>
                  <a:lnTo>
                    <a:pt x="385" y="36"/>
                  </a:lnTo>
                  <a:lnTo>
                    <a:pt x="388" y="36"/>
                  </a:lnTo>
                  <a:lnTo>
                    <a:pt x="388" y="39"/>
                  </a:lnTo>
                  <a:lnTo>
                    <a:pt x="391" y="36"/>
                  </a:lnTo>
                  <a:lnTo>
                    <a:pt x="394" y="36"/>
                  </a:lnTo>
                  <a:lnTo>
                    <a:pt x="397" y="42"/>
                  </a:lnTo>
                  <a:lnTo>
                    <a:pt x="400" y="39"/>
                  </a:lnTo>
                  <a:lnTo>
                    <a:pt x="403" y="39"/>
                  </a:lnTo>
                  <a:lnTo>
                    <a:pt x="406" y="39"/>
                  </a:lnTo>
                  <a:lnTo>
                    <a:pt x="409" y="39"/>
                  </a:lnTo>
                  <a:lnTo>
                    <a:pt x="412" y="39"/>
                  </a:lnTo>
                  <a:lnTo>
                    <a:pt x="415" y="42"/>
                  </a:lnTo>
                  <a:lnTo>
                    <a:pt x="415" y="39"/>
                  </a:lnTo>
                  <a:lnTo>
                    <a:pt x="418" y="39"/>
                  </a:lnTo>
                  <a:lnTo>
                    <a:pt x="418" y="36"/>
                  </a:lnTo>
                  <a:lnTo>
                    <a:pt x="418" y="33"/>
                  </a:lnTo>
                  <a:lnTo>
                    <a:pt x="418" y="30"/>
                  </a:lnTo>
                  <a:lnTo>
                    <a:pt x="421" y="30"/>
                  </a:lnTo>
                  <a:lnTo>
                    <a:pt x="427" y="33"/>
                  </a:lnTo>
                  <a:lnTo>
                    <a:pt x="430" y="30"/>
                  </a:lnTo>
                  <a:lnTo>
                    <a:pt x="433" y="30"/>
                  </a:lnTo>
                  <a:lnTo>
                    <a:pt x="436" y="30"/>
                  </a:lnTo>
                  <a:lnTo>
                    <a:pt x="439" y="30"/>
                  </a:lnTo>
                  <a:lnTo>
                    <a:pt x="442" y="33"/>
                  </a:lnTo>
                  <a:lnTo>
                    <a:pt x="445" y="33"/>
                  </a:lnTo>
                  <a:lnTo>
                    <a:pt x="448" y="33"/>
                  </a:lnTo>
                  <a:lnTo>
                    <a:pt x="448" y="30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1" y="33"/>
                  </a:lnTo>
                  <a:lnTo>
                    <a:pt x="454" y="33"/>
                  </a:lnTo>
                  <a:lnTo>
                    <a:pt x="457" y="33"/>
                  </a:lnTo>
                  <a:lnTo>
                    <a:pt x="460" y="33"/>
                  </a:lnTo>
                  <a:lnTo>
                    <a:pt x="463" y="33"/>
                  </a:lnTo>
                  <a:lnTo>
                    <a:pt x="466" y="36"/>
                  </a:lnTo>
                  <a:lnTo>
                    <a:pt x="475" y="36"/>
                  </a:lnTo>
                  <a:lnTo>
                    <a:pt x="475" y="39"/>
                  </a:lnTo>
                  <a:lnTo>
                    <a:pt x="472" y="39"/>
                  </a:lnTo>
                  <a:lnTo>
                    <a:pt x="472" y="42"/>
                  </a:lnTo>
                  <a:lnTo>
                    <a:pt x="472" y="45"/>
                  </a:lnTo>
                  <a:lnTo>
                    <a:pt x="469" y="45"/>
                  </a:lnTo>
                  <a:lnTo>
                    <a:pt x="466" y="45"/>
                  </a:lnTo>
                  <a:lnTo>
                    <a:pt x="466" y="42"/>
                  </a:lnTo>
                  <a:lnTo>
                    <a:pt x="463" y="42"/>
                  </a:lnTo>
                  <a:lnTo>
                    <a:pt x="460" y="42"/>
                  </a:lnTo>
                  <a:lnTo>
                    <a:pt x="460" y="48"/>
                  </a:lnTo>
                  <a:lnTo>
                    <a:pt x="463" y="45"/>
                  </a:lnTo>
                  <a:lnTo>
                    <a:pt x="463" y="48"/>
                  </a:lnTo>
                  <a:lnTo>
                    <a:pt x="463" y="51"/>
                  </a:lnTo>
                  <a:lnTo>
                    <a:pt x="466" y="51"/>
                  </a:lnTo>
                  <a:lnTo>
                    <a:pt x="469" y="51"/>
                  </a:lnTo>
                  <a:lnTo>
                    <a:pt x="472" y="54"/>
                  </a:lnTo>
                  <a:lnTo>
                    <a:pt x="475" y="54"/>
                  </a:lnTo>
                  <a:lnTo>
                    <a:pt x="475" y="57"/>
                  </a:lnTo>
                  <a:lnTo>
                    <a:pt x="478" y="60"/>
                  </a:lnTo>
                  <a:lnTo>
                    <a:pt x="478" y="63"/>
                  </a:lnTo>
                  <a:lnTo>
                    <a:pt x="478" y="69"/>
                  </a:lnTo>
                  <a:lnTo>
                    <a:pt x="475" y="69"/>
                  </a:lnTo>
                  <a:lnTo>
                    <a:pt x="472" y="69"/>
                  </a:lnTo>
                  <a:lnTo>
                    <a:pt x="472" y="72"/>
                  </a:lnTo>
                  <a:lnTo>
                    <a:pt x="469" y="72"/>
                  </a:lnTo>
                  <a:lnTo>
                    <a:pt x="466" y="72"/>
                  </a:lnTo>
                  <a:lnTo>
                    <a:pt x="463" y="75"/>
                  </a:lnTo>
                  <a:lnTo>
                    <a:pt x="463" y="72"/>
                  </a:lnTo>
                  <a:lnTo>
                    <a:pt x="463" y="69"/>
                  </a:lnTo>
                  <a:lnTo>
                    <a:pt x="466" y="69"/>
                  </a:lnTo>
                  <a:lnTo>
                    <a:pt x="466" y="66"/>
                  </a:lnTo>
                  <a:lnTo>
                    <a:pt x="463" y="69"/>
                  </a:lnTo>
                  <a:lnTo>
                    <a:pt x="463" y="66"/>
                  </a:lnTo>
                  <a:lnTo>
                    <a:pt x="460" y="69"/>
                  </a:lnTo>
                  <a:lnTo>
                    <a:pt x="457" y="69"/>
                  </a:lnTo>
                  <a:lnTo>
                    <a:pt x="457" y="72"/>
                  </a:lnTo>
                  <a:lnTo>
                    <a:pt x="460" y="75"/>
                  </a:lnTo>
                  <a:lnTo>
                    <a:pt x="460" y="78"/>
                  </a:lnTo>
                  <a:lnTo>
                    <a:pt x="460" y="81"/>
                  </a:lnTo>
                  <a:lnTo>
                    <a:pt x="460" y="84"/>
                  </a:lnTo>
                  <a:lnTo>
                    <a:pt x="457" y="84"/>
                  </a:lnTo>
                  <a:lnTo>
                    <a:pt x="457" y="87"/>
                  </a:lnTo>
                  <a:lnTo>
                    <a:pt x="454" y="87"/>
                  </a:lnTo>
                  <a:lnTo>
                    <a:pt x="454" y="90"/>
                  </a:lnTo>
                  <a:lnTo>
                    <a:pt x="451" y="90"/>
                  </a:lnTo>
                  <a:lnTo>
                    <a:pt x="451" y="93"/>
                  </a:lnTo>
                  <a:lnTo>
                    <a:pt x="448" y="93"/>
                  </a:lnTo>
                  <a:lnTo>
                    <a:pt x="448" y="96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48" y="102"/>
                  </a:lnTo>
                  <a:lnTo>
                    <a:pt x="448" y="105"/>
                  </a:lnTo>
                  <a:lnTo>
                    <a:pt x="448" y="108"/>
                  </a:lnTo>
                  <a:lnTo>
                    <a:pt x="445" y="108"/>
                  </a:lnTo>
                  <a:lnTo>
                    <a:pt x="448" y="111"/>
                  </a:lnTo>
                  <a:lnTo>
                    <a:pt x="445" y="111"/>
                  </a:lnTo>
                  <a:lnTo>
                    <a:pt x="445" y="114"/>
                  </a:lnTo>
                  <a:lnTo>
                    <a:pt x="445" y="111"/>
                  </a:lnTo>
                  <a:lnTo>
                    <a:pt x="442" y="111"/>
                  </a:lnTo>
                  <a:lnTo>
                    <a:pt x="442" y="114"/>
                  </a:lnTo>
                  <a:lnTo>
                    <a:pt x="439" y="114"/>
                  </a:lnTo>
                  <a:lnTo>
                    <a:pt x="436" y="114"/>
                  </a:lnTo>
                  <a:lnTo>
                    <a:pt x="433" y="117"/>
                  </a:lnTo>
                  <a:lnTo>
                    <a:pt x="430" y="117"/>
                  </a:lnTo>
                  <a:lnTo>
                    <a:pt x="430" y="114"/>
                  </a:lnTo>
                  <a:lnTo>
                    <a:pt x="430" y="111"/>
                  </a:lnTo>
                  <a:lnTo>
                    <a:pt x="427" y="114"/>
                  </a:lnTo>
                  <a:lnTo>
                    <a:pt x="424" y="111"/>
                  </a:lnTo>
                  <a:lnTo>
                    <a:pt x="424" y="108"/>
                  </a:lnTo>
                  <a:lnTo>
                    <a:pt x="421" y="108"/>
                  </a:lnTo>
                  <a:lnTo>
                    <a:pt x="418" y="108"/>
                  </a:lnTo>
                  <a:lnTo>
                    <a:pt x="418" y="111"/>
                  </a:lnTo>
                  <a:lnTo>
                    <a:pt x="415" y="111"/>
                  </a:lnTo>
                  <a:lnTo>
                    <a:pt x="412" y="114"/>
                  </a:lnTo>
                  <a:lnTo>
                    <a:pt x="409" y="114"/>
                  </a:lnTo>
                  <a:lnTo>
                    <a:pt x="406" y="114"/>
                  </a:lnTo>
                  <a:lnTo>
                    <a:pt x="409" y="117"/>
                  </a:lnTo>
                  <a:lnTo>
                    <a:pt x="406" y="117"/>
                  </a:lnTo>
                  <a:lnTo>
                    <a:pt x="406" y="123"/>
                  </a:lnTo>
                  <a:lnTo>
                    <a:pt x="406" y="126"/>
                  </a:lnTo>
                  <a:lnTo>
                    <a:pt x="406" y="129"/>
                  </a:lnTo>
                  <a:lnTo>
                    <a:pt x="403" y="135"/>
                  </a:lnTo>
                  <a:lnTo>
                    <a:pt x="403" y="138"/>
                  </a:lnTo>
                  <a:lnTo>
                    <a:pt x="400" y="138"/>
                  </a:lnTo>
                  <a:lnTo>
                    <a:pt x="400" y="141"/>
                  </a:lnTo>
                  <a:lnTo>
                    <a:pt x="394" y="138"/>
                  </a:lnTo>
                  <a:lnTo>
                    <a:pt x="394" y="141"/>
                  </a:lnTo>
                  <a:lnTo>
                    <a:pt x="394" y="147"/>
                  </a:lnTo>
                  <a:lnTo>
                    <a:pt x="397" y="153"/>
                  </a:lnTo>
                  <a:lnTo>
                    <a:pt x="394" y="153"/>
                  </a:lnTo>
                  <a:lnTo>
                    <a:pt x="391" y="156"/>
                  </a:lnTo>
                  <a:lnTo>
                    <a:pt x="388" y="156"/>
                  </a:lnTo>
                  <a:lnTo>
                    <a:pt x="388" y="159"/>
                  </a:lnTo>
                  <a:lnTo>
                    <a:pt x="385" y="162"/>
                  </a:lnTo>
                  <a:lnTo>
                    <a:pt x="388" y="168"/>
                  </a:lnTo>
                  <a:lnTo>
                    <a:pt x="388" y="174"/>
                  </a:lnTo>
                  <a:lnTo>
                    <a:pt x="391" y="171"/>
                  </a:lnTo>
                  <a:lnTo>
                    <a:pt x="394" y="171"/>
                  </a:lnTo>
                  <a:lnTo>
                    <a:pt x="397" y="168"/>
                  </a:lnTo>
                  <a:lnTo>
                    <a:pt x="400" y="168"/>
                  </a:lnTo>
                  <a:lnTo>
                    <a:pt x="400" y="165"/>
                  </a:lnTo>
                  <a:lnTo>
                    <a:pt x="403" y="165"/>
                  </a:lnTo>
                  <a:lnTo>
                    <a:pt x="406" y="165"/>
                  </a:lnTo>
                  <a:lnTo>
                    <a:pt x="409" y="162"/>
                  </a:lnTo>
                  <a:lnTo>
                    <a:pt x="412" y="162"/>
                  </a:lnTo>
                  <a:lnTo>
                    <a:pt x="415" y="162"/>
                  </a:lnTo>
                  <a:lnTo>
                    <a:pt x="415" y="165"/>
                  </a:lnTo>
                  <a:lnTo>
                    <a:pt x="415" y="168"/>
                  </a:lnTo>
                  <a:lnTo>
                    <a:pt x="418" y="168"/>
                  </a:lnTo>
                  <a:lnTo>
                    <a:pt x="421" y="165"/>
                  </a:lnTo>
                  <a:lnTo>
                    <a:pt x="421" y="168"/>
                  </a:lnTo>
                  <a:lnTo>
                    <a:pt x="421" y="171"/>
                  </a:lnTo>
                  <a:lnTo>
                    <a:pt x="418" y="174"/>
                  </a:lnTo>
                  <a:lnTo>
                    <a:pt x="421" y="177"/>
                  </a:lnTo>
                  <a:lnTo>
                    <a:pt x="418" y="177"/>
                  </a:lnTo>
                  <a:lnTo>
                    <a:pt x="418" y="180"/>
                  </a:lnTo>
                  <a:lnTo>
                    <a:pt x="415" y="180"/>
                  </a:lnTo>
                  <a:lnTo>
                    <a:pt x="418" y="180"/>
                  </a:lnTo>
                  <a:lnTo>
                    <a:pt x="418" y="183"/>
                  </a:lnTo>
                  <a:lnTo>
                    <a:pt x="415" y="186"/>
                  </a:lnTo>
                  <a:lnTo>
                    <a:pt x="418" y="189"/>
                  </a:lnTo>
                  <a:lnTo>
                    <a:pt x="418" y="192"/>
                  </a:lnTo>
                  <a:lnTo>
                    <a:pt x="418" y="189"/>
                  </a:lnTo>
                  <a:lnTo>
                    <a:pt x="418" y="195"/>
                  </a:lnTo>
                  <a:lnTo>
                    <a:pt x="418" y="198"/>
                  </a:lnTo>
                  <a:lnTo>
                    <a:pt x="415" y="198"/>
                  </a:lnTo>
                  <a:lnTo>
                    <a:pt x="412" y="198"/>
                  </a:lnTo>
                  <a:lnTo>
                    <a:pt x="412" y="201"/>
                  </a:lnTo>
                  <a:lnTo>
                    <a:pt x="412" y="204"/>
                  </a:lnTo>
                  <a:lnTo>
                    <a:pt x="409" y="204"/>
                  </a:lnTo>
                  <a:lnTo>
                    <a:pt x="409" y="207"/>
                  </a:lnTo>
                  <a:lnTo>
                    <a:pt x="409" y="210"/>
                  </a:lnTo>
                  <a:lnTo>
                    <a:pt x="406" y="210"/>
                  </a:lnTo>
                  <a:lnTo>
                    <a:pt x="406" y="213"/>
                  </a:lnTo>
                  <a:lnTo>
                    <a:pt x="403" y="213"/>
                  </a:lnTo>
                  <a:lnTo>
                    <a:pt x="403" y="210"/>
                  </a:lnTo>
                  <a:lnTo>
                    <a:pt x="400" y="210"/>
                  </a:lnTo>
                  <a:lnTo>
                    <a:pt x="400" y="207"/>
                  </a:lnTo>
                  <a:lnTo>
                    <a:pt x="397" y="207"/>
                  </a:lnTo>
                  <a:lnTo>
                    <a:pt x="394" y="207"/>
                  </a:lnTo>
                  <a:lnTo>
                    <a:pt x="391" y="210"/>
                  </a:lnTo>
                  <a:lnTo>
                    <a:pt x="391" y="213"/>
                  </a:lnTo>
                  <a:lnTo>
                    <a:pt x="388" y="213"/>
                  </a:lnTo>
                  <a:lnTo>
                    <a:pt x="388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6"/>
                  </a:lnTo>
                  <a:lnTo>
                    <a:pt x="382" y="216"/>
                  </a:lnTo>
                  <a:lnTo>
                    <a:pt x="385" y="216"/>
                  </a:lnTo>
                  <a:lnTo>
                    <a:pt x="385" y="213"/>
                  </a:lnTo>
                  <a:lnTo>
                    <a:pt x="382" y="213"/>
                  </a:lnTo>
                  <a:lnTo>
                    <a:pt x="379" y="213"/>
                  </a:lnTo>
                  <a:lnTo>
                    <a:pt x="376" y="213"/>
                  </a:lnTo>
                  <a:lnTo>
                    <a:pt x="373" y="213"/>
                  </a:lnTo>
                  <a:lnTo>
                    <a:pt x="370" y="213"/>
                  </a:lnTo>
                  <a:lnTo>
                    <a:pt x="367" y="213"/>
                  </a:lnTo>
                  <a:lnTo>
                    <a:pt x="367" y="210"/>
                  </a:lnTo>
                  <a:lnTo>
                    <a:pt x="364" y="210"/>
                  </a:lnTo>
                  <a:lnTo>
                    <a:pt x="364" y="207"/>
                  </a:lnTo>
                  <a:lnTo>
                    <a:pt x="364" y="210"/>
                  </a:lnTo>
                  <a:lnTo>
                    <a:pt x="361" y="210"/>
                  </a:lnTo>
                  <a:lnTo>
                    <a:pt x="361" y="213"/>
                  </a:lnTo>
                  <a:lnTo>
                    <a:pt x="364" y="213"/>
                  </a:lnTo>
                  <a:lnTo>
                    <a:pt x="361" y="213"/>
                  </a:lnTo>
                  <a:lnTo>
                    <a:pt x="361" y="216"/>
                  </a:lnTo>
                  <a:lnTo>
                    <a:pt x="364" y="216"/>
                  </a:lnTo>
                  <a:lnTo>
                    <a:pt x="361" y="216"/>
                  </a:lnTo>
                  <a:lnTo>
                    <a:pt x="361" y="213"/>
                  </a:lnTo>
                  <a:lnTo>
                    <a:pt x="358" y="213"/>
                  </a:lnTo>
                  <a:lnTo>
                    <a:pt x="355" y="213"/>
                  </a:lnTo>
                  <a:lnTo>
                    <a:pt x="355" y="216"/>
                  </a:lnTo>
                  <a:lnTo>
                    <a:pt x="352" y="216"/>
                  </a:lnTo>
                  <a:lnTo>
                    <a:pt x="352" y="213"/>
                  </a:lnTo>
                  <a:lnTo>
                    <a:pt x="349" y="213"/>
                  </a:lnTo>
                  <a:lnTo>
                    <a:pt x="349" y="216"/>
                  </a:lnTo>
                  <a:lnTo>
                    <a:pt x="346" y="216"/>
                  </a:lnTo>
                  <a:lnTo>
                    <a:pt x="343" y="219"/>
                  </a:lnTo>
                  <a:lnTo>
                    <a:pt x="343" y="222"/>
                  </a:lnTo>
                  <a:lnTo>
                    <a:pt x="343" y="219"/>
                  </a:lnTo>
                  <a:lnTo>
                    <a:pt x="340" y="219"/>
                  </a:lnTo>
                  <a:lnTo>
                    <a:pt x="337" y="219"/>
                  </a:lnTo>
                  <a:lnTo>
                    <a:pt x="337" y="222"/>
                  </a:lnTo>
                  <a:lnTo>
                    <a:pt x="334" y="222"/>
                  </a:lnTo>
                  <a:lnTo>
                    <a:pt x="334" y="225"/>
                  </a:lnTo>
                  <a:lnTo>
                    <a:pt x="334" y="228"/>
                  </a:lnTo>
                  <a:lnTo>
                    <a:pt x="331" y="228"/>
                  </a:lnTo>
                  <a:lnTo>
                    <a:pt x="328" y="228"/>
                  </a:lnTo>
                  <a:lnTo>
                    <a:pt x="328" y="231"/>
                  </a:lnTo>
                  <a:lnTo>
                    <a:pt x="325" y="231"/>
                  </a:lnTo>
                  <a:lnTo>
                    <a:pt x="325" y="234"/>
                  </a:lnTo>
                  <a:lnTo>
                    <a:pt x="322" y="234"/>
                  </a:lnTo>
                  <a:lnTo>
                    <a:pt x="319" y="234"/>
                  </a:lnTo>
                  <a:lnTo>
                    <a:pt x="319" y="237"/>
                  </a:lnTo>
                  <a:lnTo>
                    <a:pt x="322" y="237"/>
                  </a:lnTo>
                  <a:lnTo>
                    <a:pt x="322" y="240"/>
                  </a:lnTo>
                  <a:lnTo>
                    <a:pt x="325" y="240"/>
                  </a:lnTo>
                  <a:lnTo>
                    <a:pt x="325" y="243"/>
                  </a:lnTo>
                  <a:lnTo>
                    <a:pt x="328" y="243"/>
                  </a:lnTo>
                  <a:lnTo>
                    <a:pt x="328" y="246"/>
                  </a:lnTo>
                  <a:lnTo>
                    <a:pt x="325" y="246"/>
                  </a:lnTo>
                  <a:lnTo>
                    <a:pt x="325" y="249"/>
                  </a:lnTo>
                  <a:lnTo>
                    <a:pt x="322" y="249"/>
                  </a:lnTo>
                  <a:lnTo>
                    <a:pt x="322" y="252"/>
                  </a:lnTo>
                  <a:lnTo>
                    <a:pt x="322" y="255"/>
                  </a:lnTo>
                  <a:lnTo>
                    <a:pt x="325" y="255"/>
                  </a:lnTo>
                  <a:lnTo>
                    <a:pt x="328" y="255"/>
                  </a:lnTo>
                  <a:lnTo>
                    <a:pt x="328" y="258"/>
                  </a:lnTo>
                  <a:lnTo>
                    <a:pt x="325" y="255"/>
                  </a:lnTo>
                  <a:lnTo>
                    <a:pt x="322" y="255"/>
                  </a:lnTo>
                  <a:lnTo>
                    <a:pt x="322" y="258"/>
                  </a:lnTo>
                  <a:lnTo>
                    <a:pt x="319" y="258"/>
                  </a:lnTo>
                  <a:lnTo>
                    <a:pt x="319" y="255"/>
                  </a:lnTo>
                  <a:lnTo>
                    <a:pt x="316" y="255"/>
                  </a:lnTo>
                  <a:lnTo>
                    <a:pt x="313" y="255"/>
                  </a:lnTo>
                  <a:lnTo>
                    <a:pt x="313" y="258"/>
                  </a:lnTo>
                  <a:lnTo>
                    <a:pt x="313" y="261"/>
                  </a:lnTo>
                  <a:lnTo>
                    <a:pt x="313" y="258"/>
                  </a:lnTo>
                  <a:lnTo>
                    <a:pt x="310" y="258"/>
                  </a:lnTo>
                  <a:lnTo>
                    <a:pt x="307" y="258"/>
                  </a:lnTo>
                  <a:lnTo>
                    <a:pt x="307" y="261"/>
                  </a:lnTo>
                  <a:lnTo>
                    <a:pt x="304" y="261"/>
                  </a:lnTo>
                  <a:lnTo>
                    <a:pt x="304" y="264"/>
                  </a:lnTo>
                  <a:lnTo>
                    <a:pt x="304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298" y="270"/>
                  </a:lnTo>
                  <a:lnTo>
                    <a:pt x="298" y="273"/>
                  </a:lnTo>
                  <a:lnTo>
                    <a:pt x="295" y="273"/>
                  </a:lnTo>
                  <a:lnTo>
                    <a:pt x="295" y="276"/>
                  </a:lnTo>
                  <a:lnTo>
                    <a:pt x="292" y="276"/>
                  </a:lnTo>
                  <a:lnTo>
                    <a:pt x="292" y="279"/>
                  </a:lnTo>
                  <a:lnTo>
                    <a:pt x="292" y="282"/>
                  </a:lnTo>
                  <a:lnTo>
                    <a:pt x="289" y="282"/>
                  </a:lnTo>
                  <a:lnTo>
                    <a:pt x="289" y="285"/>
                  </a:lnTo>
                  <a:lnTo>
                    <a:pt x="292" y="285"/>
                  </a:lnTo>
                  <a:lnTo>
                    <a:pt x="289" y="285"/>
                  </a:lnTo>
                  <a:lnTo>
                    <a:pt x="289" y="288"/>
                  </a:lnTo>
                  <a:lnTo>
                    <a:pt x="286" y="288"/>
                  </a:lnTo>
                  <a:lnTo>
                    <a:pt x="286" y="285"/>
                  </a:lnTo>
                  <a:lnTo>
                    <a:pt x="286" y="282"/>
                  </a:lnTo>
                  <a:lnTo>
                    <a:pt x="286" y="279"/>
                  </a:lnTo>
                  <a:lnTo>
                    <a:pt x="283" y="279"/>
                  </a:lnTo>
                  <a:lnTo>
                    <a:pt x="280" y="279"/>
                  </a:lnTo>
                  <a:lnTo>
                    <a:pt x="280" y="276"/>
                  </a:lnTo>
                  <a:lnTo>
                    <a:pt x="277" y="276"/>
                  </a:lnTo>
                  <a:lnTo>
                    <a:pt x="277" y="279"/>
                  </a:lnTo>
                  <a:lnTo>
                    <a:pt x="274" y="279"/>
                  </a:lnTo>
                  <a:lnTo>
                    <a:pt x="271" y="276"/>
                  </a:lnTo>
                  <a:lnTo>
                    <a:pt x="271" y="273"/>
                  </a:lnTo>
                  <a:lnTo>
                    <a:pt x="268" y="273"/>
                  </a:lnTo>
                  <a:lnTo>
                    <a:pt x="265" y="276"/>
                  </a:lnTo>
                  <a:lnTo>
                    <a:pt x="262" y="276"/>
                  </a:lnTo>
                  <a:lnTo>
                    <a:pt x="262" y="279"/>
                  </a:lnTo>
                  <a:lnTo>
                    <a:pt x="259" y="279"/>
                  </a:lnTo>
                  <a:lnTo>
                    <a:pt x="259" y="282"/>
                  </a:lnTo>
                  <a:lnTo>
                    <a:pt x="259" y="285"/>
                  </a:lnTo>
                  <a:lnTo>
                    <a:pt x="256" y="285"/>
                  </a:lnTo>
                  <a:lnTo>
                    <a:pt x="253" y="282"/>
                  </a:lnTo>
                  <a:lnTo>
                    <a:pt x="250" y="282"/>
                  </a:lnTo>
                  <a:lnTo>
                    <a:pt x="250" y="285"/>
                  </a:lnTo>
                  <a:lnTo>
                    <a:pt x="247" y="285"/>
                  </a:lnTo>
                  <a:lnTo>
                    <a:pt x="244" y="285"/>
                  </a:lnTo>
                  <a:lnTo>
                    <a:pt x="241" y="285"/>
                  </a:lnTo>
                  <a:lnTo>
                    <a:pt x="238" y="288"/>
                  </a:lnTo>
                  <a:lnTo>
                    <a:pt x="235" y="288"/>
                  </a:lnTo>
                  <a:lnTo>
                    <a:pt x="232" y="288"/>
                  </a:lnTo>
                  <a:lnTo>
                    <a:pt x="232" y="291"/>
                  </a:lnTo>
                  <a:lnTo>
                    <a:pt x="229" y="291"/>
                  </a:lnTo>
                  <a:lnTo>
                    <a:pt x="229" y="294"/>
                  </a:lnTo>
                  <a:lnTo>
                    <a:pt x="226" y="294"/>
                  </a:lnTo>
                  <a:lnTo>
                    <a:pt x="223" y="294"/>
                  </a:lnTo>
                  <a:lnTo>
                    <a:pt x="223" y="297"/>
                  </a:lnTo>
                  <a:lnTo>
                    <a:pt x="220" y="297"/>
                  </a:lnTo>
                  <a:lnTo>
                    <a:pt x="220" y="300"/>
                  </a:lnTo>
                  <a:lnTo>
                    <a:pt x="223" y="300"/>
                  </a:lnTo>
                  <a:lnTo>
                    <a:pt x="223" y="303"/>
                  </a:lnTo>
                  <a:lnTo>
                    <a:pt x="220" y="303"/>
                  </a:lnTo>
                  <a:lnTo>
                    <a:pt x="217" y="303"/>
                  </a:lnTo>
                  <a:lnTo>
                    <a:pt x="217" y="306"/>
                  </a:lnTo>
                  <a:lnTo>
                    <a:pt x="214" y="306"/>
                  </a:lnTo>
                  <a:lnTo>
                    <a:pt x="211" y="306"/>
                  </a:lnTo>
                  <a:lnTo>
                    <a:pt x="211" y="309"/>
                  </a:lnTo>
                  <a:lnTo>
                    <a:pt x="211" y="312"/>
                  </a:lnTo>
                  <a:lnTo>
                    <a:pt x="208" y="312"/>
                  </a:lnTo>
                  <a:lnTo>
                    <a:pt x="211" y="315"/>
                  </a:lnTo>
                  <a:lnTo>
                    <a:pt x="208" y="315"/>
                  </a:lnTo>
                  <a:lnTo>
                    <a:pt x="208" y="318"/>
                  </a:lnTo>
                  <a:lnTo>
                    <a:pt x="208" y="321"/>
                  </a:lnTo>
                  <a:lnTo>
                    <a:pt x="205" y="321"/>
                  </a:lnTo>
                  <a:lnTo>
                    <a:pt x="202" y="321"/>
                  </a:lnTo>
                  <a:lnTo>
                    <a:pt x="199" y="321"/>
                  </a:lnTo>
                  <a:lnTo>
                    <a:pt x="199" y="324"/>
                  </a:lnTo>
                  <a:lnTo>
                    <a:pt x="196" y="324"/>
                  </a:lnTo>
                  <a:lnTo>
                    <a:pt x="190" y="315"/>
                  </a:lnTo>
                  <a:lnTo>
                    <a:pt x="190" y="312"/>
                  </a:lnTo>
                  <a:lnTo>
                    <a:pt x="187" y="309"/>
                  </a:lnTo>
                  <a:lnTo>
                    <a:pt x="187" y="306"/>
                  </a:lnTo>
                  <a:lnTo>
                    <a:pt x="190" y="303"/>
                  </a:lnTo>
                  <a:lnTo>
                    <a:pt x="193" y="300"/>
                  </a:lnTo>
                  <a:lnTo>
                    <a:pt x="202" y="291"/>
                  </a:lnTo>
                  <a:lnTo>
                    <a:pt x="205" y="285"/>
                  </a:lnTo>
                  <a:lnTo>
                    <a:pt x="202" y="285"/>
                  </a:lnTo>
                  <a:lnTo>
                    <a:pt x="199" y="285"/>
                  </a:lnTo>
                  <a:lnTo>
                    <a:pt x="196" y="285"/>
                  </a:lnTo>
                  <a:lnTo>
                    <a:pt x="190" y="285"/>
                  </a:lnTo>
                  <a:lnTo>
                    <a:pt x="187" y="285"/>
                  </a:lnTo>
                  <a:lnTo>
                    <a:pt x="184" y="285"/>
                  </a:lnTo>
                  <a:lnTo>
                    <a:pt x="184" y="282"/>
                  </a:lnTo>
                  <a:lnTo>
                    <a:pt x="184" y="279"/>
                  </a:lnTo>
                  <a:lnTo>
                    <a:pt x="184" y="276"/>
                  </a:lnTo>
                  <a:lnTo>
                    <a:pt x="181" y="276"/>
                  </a:lnTo>
                  <a:lnTo>
                    <a:pt x="181" y="279"/>
                  </a:lnTo>
                  <a:lnTo>
                    <a:pt x="178" y="279"/>
                  </a:lnTo>
                  <a:lnTo>
                    <a:pt x="175" y="279"/>
                  </a:lnTo>
                  <a:lnTo>
                    <a:pt x="175" y="282"/>
                  </a:lnTo>
                  <a:lnTo>
                    <a:pt x="175" y="285"/>
                  </a:lnTo>
                  <a:lnTo>
                    <a:pt x="175" y="288"/>
                  </a:lnTo>
                  <a:lnTo>
                    <a:pt x="178" y="285"/>
                  </a:lnTo>
                  <a:lnTo>
                    <a:pt x="178" y="288"/>
                  </a:lnTo>
                  <a:lnTo>
                    <a:pt x="178" y="291"/>
                  </a:lnTo>
                  <a:lnTo>
                    <a:pt x="175" y="291"/>
                  </a:lnTo>
                  <a:lnTo>
                    <a:pt x="178" y="291"/>
                  </a:lnTo>
                  <a:lnTo>
                    <a:pt x="178" y="294"/>
                  </a:lnTo>
                  <a:lnTo>
                    <a:pt x="175" y="294"/>
                  </a:lnTo>
                  <a:lnTo>
                    <a:pt x="178" y="294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8" y="297"/>
                  </a:lnTo>
                  <a:lnTo>
                    <a:pt x="175" y="297"/>
                  </a:lnTo>
                  <a:lnTo>
                    <a:pt x="175" y="300"/>
                  </a:lnTo>
                  <a:lnTo>
                    <a:pt x="172" y="300"/>
                  </a:lnTo>
                  <a:lnTo>
                    <a:pt x="172" y="303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3"/>
                  </a:lnTo>
                  <a:lnTo>
                    <a:pt x="169" y="306"/>
                  </a:lnTo>
                  <a:lnTo>
                    <a:pt x="169" y="309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9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3" y="318"/>
                  </a:lnTo>
                  <a:lnTo>
                    <a:pt x="166" y="318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6" y="321"/>
                  </a:lnTo>
                  <a:lnTo>
                    <a:pt x="163" y="321"/>
                  </a:lnTo>
                  <a:lnTo>
                    <a:pt x="163" y="324"/>
                  </a:lnTo>
                  <a:lnTo>
                    <a:pt x="160" y="321"/>
                  </a:lnTo>
                  <a:lnTo>
                    <a:pt x="157" y="318"/>
                  </a:lnTo>
                  <a:lnTo>
                    <a:pt x="154" y="318"/>
                  </a:lnTo>
                  <a:lnTo>
                    <a:pt x="157" y="315"/>
                  </a:lnTo>
                  <a:lnTo>
                    <a:pt x="157" y="312"/>
                  </a:lnTo>
                  <a:lnTo>
                    <a:pt x="151" y="306"/>
                  </a:lnTo>
                  <a:lnTo>
                    <a:pt x="151" y="309"/>
                  </a:lnTo>
                  <a:lnTo>
                    <a:pt x="148" y="306"/>
                  </a:lnTo>
                  <a:lnTo>
                    <a:pt x="151" y="300"/>
                  </a:lnTo>
                  <a:lnTo>
                    <a:pt x="154" y="300"/>
                  </a:lnTo>
                  <a:lnTo>
                    <a:pt x="154" y="297"/>
                  </a:lnTo>
                  <a:lnTo>
                    <a:pt x="154" y="294"/>
                  </a:lnTo>
                  <a:lnTo>
                    <a:pt x="151" y="291"/>
                  </a:lnTo>
                  <a:lnTo>
                    <a:pt x="154" y="285"/>
                  </a:lnTo>
                  <a:lnTo>
                    <a:pt x="151" y="285"/>
                  </a:lnTo>
                  <a:lnTo>
                    <a:pt x="148" y="285"/>
                  </a:lnTo>
                  <a:lnTo>
                    <a:pt x="145" y="285"/>
                  </a:lnTo>
                  <a:lnTo>
                    <a:pt x="142" y="285"/>
                  </a:lnTo>
                  <a:lnTo>
                    <a:pt x="139" y="285"/>
                  </a:lnTo>
                  <a:lnTo>
                    <a:pt x="136" y="288"/>
                  </a:lnTo>
                  <a:lnTo>
                    <a:pt x="133" y="288"/>
                  </a:lnTo>
                  <a:lnTo>
                    <a:pt x="130" y="288"/>
                  </a:lnTo>
                  <a:lnTo>
                    <a:pt x="127" y="288"/>
                  </a:lnTo>
                  <a:lnTo>
                    <a:pt x="123" y="285"/>
                  </a:lnTo>
                  <a:lnTo>
                    <a:pt x="127" y="282"/>
                  </a:lnTo>
                  <a:lnTo>
                    <a:pt x="127" y="279"/>
                  </a:lnTo>
                  <a:lnTo>
                    <a:pt x="120" y="276"/>
                  </a:lnTo>
                  <a:lnTo>
                    <a:pt x="120" y="273"/>
                  </a:lnTo>
                  <a:lnTo>
                    <a:pt x="120" y="267"/>
                  </a:lnTo>
                  <a:lnTo>
                    <a:pt x="120" y="264"/>
                  </a:lnTo>
                  <a:lnTo>
                    <a:pt x="120" y="261"/>
                  </a:lnTo>
                  <a:lnTo>
                    <a:pt x="123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14" y="255"/>
                  </a:lnTo>
                  <a:lnTo>
                    <a:pt x="117" y="255"/>
                  </a:lnTo>
                  <a:lnTo>
                    <a:pt x="117" y="258"/>
                  </a:lnTo>
                  <a:lnTo>
                    <a:pt x="114" y="258"/>
                  </a:lnTo>
                  <a:lnTo>
                    <a:pt x="111" y="258"/>
                  </a:lnTo>
                  <a:lnTo>
                    <a:pt x="108" y="255"/>
                  </a:lnTo>
                  <a:lnTo>
                    <a:pt x="108" y="258"/>
                  </a:lnTo>
                  <a:lnTo>
                    <a:pt x="108" y="261"/>
                  </a:lnTo>
                  <a:lnTo>
                    <a:pt x="108" y="264"/>
                  </a:lnTo>
                  <a:lnTo>
                    <a:pt x="111" y="264"/>
                  </a:lnTo>
                  <a:lnTo>
                    <a:pt x="111" y="267"/>
                  </a:lnTo>
                  <a:lnTo>
                    <a:pt x="108" y="267"/>
                  </a:lnTo>
                  <a:lnTo>
                    <a:pt x="105" y="264"/>
                  </a:lnTo>
                  <a:lnTo>
                    <a:pt x="105" y="267"/>
                  </a:lnTo>
                  <a:lnTo>
                    <a:pt x="102" y="264"/>
                  </a:lnTo>
                  <a:lnTo>
                    <a:pt x="99" y="267"/>
                  </a:lnTo>
                  <a:lnTo>
                    <a:pt x="96" y="273"/>
                  </a:lnTo>
                  <a:lnTo>
                    <a:pt x="96" y="270"/>
                  </a:lnTo>
                  <a:lnTo>
                    <a:pt x="93" y="270"/>
                  </a:lnTo>
                  <a:lnTo>
                    <a:pt x="90" y="267"/>
                  </a:lnTo>
                  <a:lnTo>
                    <a:pt x="87" y="267"/>
                  </a:lnTo>
                  <a:lnTo>
                    <a:pt x="84" y="264"/>
                  </a:lnTo>
                  <a:lnTo>
                    <a:pt x="81" y="264"/>
                  </a:lnTo>
                  <a:lnTo>
                    <a:pt x="78" y="264"/>
                  </a:lnTo>
                  <a:lnTo>
                    <a:pt x="75" y="264"/>
                  </a:lnTo>
                  <a:lnTo>
                    <a:pt x="72" y="264"/>
                  </a:lnTo>
                  <a:lnTo>
                    <a:pt x="75" y="261"/>
                  </a:lnTo>
                  <a:lnTo>
                    <a:pt x="72" y="261"/>
                  </a:lnTo>
                  <a:lnTo>
                    <a:pt x="72" y="258"/>
                  </a:lnTo>
                  <a:lnTo>
                    <a:pt x="69" y="258"/>
                  </a:lnTo>
                  <a:lnTo>
                    <a:pt x="66" y="258"/>
                  </a:lnTo>
                  <a:lnTo>
                    <a:pt x="63" y="255"/>
                  </a:lnTo>
                  <a:lnTo>
                    <a:pt x="60" y="255"/>
                  </a:lnTo>
                  <a:lnTo>
                    <a:pt x="57" y="255"/>
                  </a:lnTo>
                  <a:lnTo>
                    <a:pt x="54" y="252"/>
                  </a:lnTo>
                  <a:lnTo>
                    <a:pt x="51" y="252"/>
                  </a:lnTo>
                  <a:lnTo>
                    <a:pt x="51" y="249"/>
                  </a:lnTo>
                  <a:lnTo>
                    <a:pt x="48" y="246"/>
                  </a:lnTo>
                  <a:lnTo>
                    <a:pt x="45" y="243"/>
                  </a:lnTo>
                  <a:lnTo>
                    <a:pt x="42" y="237"/>
                  </a:lnTo>
                  <a:lnTo>
                    <a:pt x="39" y="240"/>
                  </a:lnTo>
                  <a:lnTo>
                    <a:pt x="36" y="240"/>
                  </a:lnTo>
                  <a:lnTo>
                    <a:pt x="33" y="237"/>
                  </a:lnTo>
                  <a:lnTo>
                    <a:pt x="33" y="234"/>
                  </a:lnTo>
                  <a:lnTo>
                    <a:pt x="33" y="231"/>
                  </a:lnTo>
                  <a:lnTo>
                    <a:pt x="33" y="222"/>
                  </a:lnTo>
                  <a:lnTo>
                    <a:pt x="39" y="222"/>
                  </a:lnTo>
                  <a:lnTo>
                    <a:pt x="42" y="222"/>
                  </a:lnTo>
                  <a:lnTo>
                    <a:pt x="39" y="219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3" y="204"/>
                  </a:lnTo>
                  <a:lnTo>
                    <a:pt x="39" y="201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6" y="192"/>
                  </a:lnTo>
                  <a:lnTo>
                    <a:pt x="39" y="189"/>
                  </a:lnTo>
                  <a:lnTo>
                    <a:pt x="36" y="189"/>
                  </a:lnTo>
                  <a:lnTo>
                    <a:pt x="36" y="186"/>
                  </a:lnTo>
                  <a:lnTo>
                    <a:pt x="33" y="186"/>
                  </a:lnTo>
                  <a:lnTo>
                    <a:pt x="33" y="183"/>
                  </a:lnTo>
                  <a:lnTo>
                    <a:pt x="33" y="186"/>
                  </a:lnTo>
                  <a:lnTo>
                    <a:pt x="30" y="186"/>
                  </a:lnTo>
                  <a:lnTo>
                    <a:pt x="27" y="186"/>
                  </a:lnTo>
                  <a:lnTo>
                    <a:pt x="27" y="183"/>
                  </a:lnTo>
                  <a:lnTo>
                    <a:pt x="24" y="183"/>
                  </a:lnTo>
                  <a:lnTo>
                    <a:pt x="21" y="183"/>
                  </a:lnTo>
                  <a:lnTo>
                    <a:pt x="21" y="180"/>
                  </a:lnTo>
                  <a:lnTo>
                    <a:pt x="18" y="180"/>
                  </a:lnTo>
                  <a:lnTo>
                    <a:pt x="15" y="180"/>
                  </a:lnTo>
                  <a:lnTo>
                    <a:pt x="12" y="180"/>
                  </a:lnTo>
                  <a:lnTo>
                    <a:pt x="9" y="180"/>
                  </a:lnTo>
                  <a:lnTo>
                    <a:pt x="9" y="177"/>
                  </a:lnTo>
                  <a:lnTo>
                    <a:pt x="6" y="171"/>
                  </a:lnTo>
                  <a:lnTo>
                    <a:pt x="9" y="165"/>
                  </a:lnTo>
                  <a:lnTo>
                    <a:pt x="9" y="159"/>
                  </a:lnTo>
                  <a:lnTo>
                    <a:pt x="9" y="156"/>
                  </a:lnTo>
                  <a:lnTo>
                    <a:pt x="9" y="153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9" y="144"/>
                  </a:lnTo>
                  <a:lnTo>
                    <a:pt x="9" y="141"/>
                  </a:lnTo>
                  <a:lnTo>
                    <a:pt x="9" y="138"/>
                  </a:lnTo>
                  <a:lnTo>
                    <a:pt x="3" y="138"/>
                  </a:lnTo>
                  <a:lnTo>
                    <a:pt x="3" y="135"/>
                  </a:lnTo>
                  <a:lnTo>
                    <a:pt x="0" y="135"/>
                  </a:lnTo>
                  <a:lnTo>
                    <a:pt x="3" y="135"/>
                  </a:lnTo>
                  <a:lnTo>
                    <a:pt x="6" y="132"/>
                  </a:lnTo>
                  <a:lnTo>
                    <a:pt x="3" y="132"/>
                  </a:lnTo>
                  <a:lnTo>
                    <a:pt x="6" y="129"/>
                  </a:lnTo>
                  <a:lnTo>
                    <a:pt x="3" y="129"/>
                  </a:lnTo>
                  <a:lnTo>
                    <a:pt x="3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29"/>
                  </a:lnTo>
                  <a:lnTo>
                    <a:pt x="9" y="126"/>
                  </a:lnTo>
                  <a:lnTo>
                    <a:pt x="9" y="123"/>
                  </a:lnTo>
                  <a:lnTo>
                    <a:pt x="9" y="120"/>
                  </a:lnTo>
                  <a:lnTo>
                    <a:pt x="12" y="120"/>
                  </a:lnTo>
                  <a:lnTo>
                    <a:pt x="12" y="117"/>
                  </a:lnTo>
                  <a:lnTo>
                    <a:pt x="9" y="117"/>
                  </a:lnTo>
                  <a:lnTo>
                    <a:pt x="9" y="114"/>
                  </a:lnTo>
                  <a:lnTo>
                    <a:pt x="12" y="114"/>
                  </a:lnTo>
                  <a:lnTo>
                    <a:pt x="9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15" y="111"/>
                  </a:lnTo>
                  <a:lnTo>
                    <a:pt x="15" y="108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12" y="105"/>
                  </a:lnTo>
                  <a:lnTo>
                    <a:pt x="12" y="102"/>
                  </a:lnTo>
                  <a:lnTo>
                    <a:pt x="15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7" y="69"/>
                  </a:lnTo>
                  <a:lnTo>
                    <a:pt x="30" y="69"/>
                  </a:lnTo>
                  <a:lnTo>
                    <a:pt x="30" y="66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6" y="63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36" y="63"/>
                  </a:lnTo>
                  <a:lnTo>
                    <a:pt x="39" y="63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5" y="63"/>
                  </a:lnTo>
                  <a:lnTo>
                    <a:pt x="45" y="60"/>
                  </a:lnTo>
                  <a:lnTo>
                    <a:pt x="48" y="60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54" y="60"/>
                  </a:lnTo>
                  <a:lnTo>
                    <a:pt x="54" y="57"/>
                  </a:lnTo>
                  <a:lnTo>
                    <a:pt x="57" y="57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9" y="60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2" y="63"/>
                  </a:lnTo>
                  <a:lnTo>
                    <a:pt x="75" y="63"/>
                  </a:lnTo>
                  <a:lnTo>
                    <a:pt x="75" y="66"/>
                  </a:lnTo>
                  <a:lnTo>
                    <a:pt x="78" y="66"/>
                  </a:lnTo>
                  <a:lnTo>
                    <a:pt x="81" y="66"/>
                  </a:lnTo>
                  <a:lnTo>
                    <a:pt x="81" y="69"/>
                  </a:lnTo>
                  <a:lnTo>
                    <a:pt x="84" y="69"/>
                  </a:lnTo>
                  <a:lnTo>
                    <a:pt x="84" y="72"/>
                  </a:lnTo>
                  <a:lnTo>
                    <a:pt x="87" y="72"/>
                  </a:lnTo>
                  <a:lnTo>
                    <a:pt x="90" y="72"/>
                  </a:lnTo>
                  <a:lnTo>
                    <a:pt x="87" y="75"/>
                  </a:lnTo>
                  <a:lnTo>
                    <a:pt x="90" y="75"/>
                  </a:lnTo>
                  <a:lnTo>
                    <a:pt x="93" y="75"/>
                  </a:lnTo>
                  <a:lnTo>
                    <a:pt x="96" y="75"/>
                  </a:lnTo>
                  <a:lnTo>
                    <a:pt x="96" y="78"/>
                  </a:lnTo>
                  <a:lnTo>
                    <a:pt x="96" y="81"/>
                  </a:lnTo>
                  <a:lnTo>
                    <a:pt x="99" y="81"/>
                  </a:lnTo>
                  <a:lnTo>
                    <a:pt x="102" y="81"/>
                  </a:lnTo>
                  <a:lnTo>
                    <a:pt x="99" y="81"/>
                  </a:lnTo>
                  <a:lnTo>
                    <a:pt x="99" y="84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8" y="87"/>
                  </a:lnTo>
                  <a:lnTo>
                    <a:pt x="108" y="90"/>
                  </a:lnTo>
                  <a:lnTo>
                    <a:pt x="111" y="93"/>
                  </a:lnTo>
                  <a:lnTo>
                    <a:pt x="111" y="90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93"/>
                  </a:lnTo>
                  <a:lnTo>
                    <a:pt x="120" y="93"/>
                  </a:lnTo>
                  <a:lnTo>
                    <a:pt x="123" y="93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7" y="90"/>
                  </a:lnTo>
                  <a:lnTo>
                    <a:pt x="130" y="90"/>
                  </a:lnTo>
                  <a:lnTo>
                    <a:pt x="133" y="90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9" y="96"/>
                  </a:lnTo>
                  <a:lnTo>
                    <a:pt x="139" y="99"/>
                  </a:lnTo>
                  <a:lnTo>
                    <a:pt x="142" y="99"/>
                  </a:lnTo>
                  <a:lnTo>
                    <a:pt x="142" y="96"/>
                  </a:lnTo>
                  <a:lnTo>
                    <a:pt x="142" y="99"/>
                  </a:lnTo>
                  <a:lnTo>
                    <a:pt x="145" y="99"/>
                  </a:lnTo>
                  <a:lnTo>
                    <a:pt x="145" y="102"/>
                  </a:lnTo>
                  <a:lnTo>
                    <a:pt x="148" y="102"/>
                  </a:lnTo>
                  <a:lnTo>
                    <a:pt x="148" y="105"/>
                  </a:lnTo>
                  <a:lnTo>
                    <a:pt x="151" y="102"/>
                  </a:lnTo>
                  <a:lnTo>
                    <a:pt x="151" y="105"/>
                  </a:lnTo>
                  <a:lnTo>
                    <a:pt x="151" y="102"/>
                  </a:lnTo>
                  <a:lnTo>
                    <a:pt x="154" y="102"/>
                  </a:lnTo>
                  <a:lnTo>
                    <a:pt x="157" y="102"/>
                  </a:lnTo>
                  <a:lnTo>
                    <a:pt x="160" y="105"/>
                  </a:lnTo>
                  <a:lnTo>
                    <a:pt x="163" y="105"/>
                  </a:lnTo>
                  <a:lnTo>
                    <a:pt x="166" y="105"/>
                  </a:lnTo>
                  <a:lnTo>
                    <a:pt x="169" y="108"/>
                  </a:lnTo>
                  <a:lnTo>
                    <a:pt x="172" y="108"/>
                  </a:lnTo>
                  <a:lnTo>
                    <a:pt x="175" y="108"/>
                  </a:lnTo>
                  <a:lnTo>
                    <a:pt x="178" y="108"/>
                  </a:lnTo>
                  <a:lnTo>
                    <a:pt x="181" y="108"/>
                  </a:lnTo>
                  <a:lnTo>
                    <a:pt x="184" y="108"/>
                  </a:lnTo>
                  <a:lnTo>
                    <a:pt x="187" y="108"/>
                  </a:lnTo>
                  <a:lnTo>
                    <a:pt x="190" y="108"/>
                  </a:lnTo>
                  <a:lnTo>
                    <a:pt x="193" y="108"/>
                  </a:lnTo>
                  <a:lnTo>
                    <a:pt x="193" y="105"/>
                  </a:lnTo>
                  <a:lnTo>
                    <a:pt x="196" y="105"/>
                  </a:lnTo>
                  <a:lnTo>
                    <a:pt x="199" y="105"/>
                  </a:lnTo>
                  <a:lnTo>
                    <a:pt x="199" y="102"/>
                  </a:lnTo>
                  <a:lnTo>
                    <a:pt x="202" y="102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5" y="99"/>
                  </a:lnTo>
                  <a:lnTo>
                    <a:pt x="205" y="102"/>
                  </a:lnTo>
                  <a:lnTo>
                    <a:pt x="208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4" y="102"/>
                  </a:lnTo>
                  <a:lnTo>
                    <a:pt x="217" y="105"/>
                  </a:lnTo>
                  <a:lnTo>
                    <a:pt x="217" y="102"/>
                  </a:lnTo>
                  <a:lnTo>
                    <a:pt x="220" y="105"/>
                  </a:lnTo>
                  <a:lnTo>
                    <a:pt x="223" y="105"/>
                  </a:lnTo>
                  <a:lnTo>
                    <a:pt x="226" y="105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102"/>
                  </a:lnTo>
                  <a:lnTo>
                    <a:pt x="238" y="99"/>
                  </a:lnTo>
                  <a:lnTo>
                    <a:pt x="241" y="99"/>
                  </a:lnTo>
                  <a:lnTo>
                    <a:pt x="244" y="96"/>
                  </a:lnTo>
                  <a:lnTo>
                    <a:pt x="247" y="96"/>
                  </a:lnTo>
                  <a:lnTo>
                    <a:pt x="247" y="93"/>
                  </a:lnTo>
                  <a:lnTo>
                    <a:pt x="250" y="93"/>
                  </a:lnTo>
                  <a:lnTo>
                    <a:pt x="250" y="90"/>
                  </a:lnTo>
                  <a:lnTo>
                    <a:pt x="253" y="87"/>
                  </a:lnTo>
                  <a:lnTo>
                    <a:pt x="253" y="84"/>
                  </a:lnTo>
                  <a:lnTo>
                    <a:pt x="253" y="81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9" y="72"/>
                  </a:lnTo>
                  <a:lnTo>
                    <a:pt x="259" y="69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59" y="60"/>
                  </a:lnTo>
                  <a:lnTo>
                    <a:pt x="262" y="57"/>
                  </a:lnTo>
                  <a:lnTo>
                    <a:pt x="262" y="54"/>
                  </a:lnTo>
                  <a:lnTo>
                    <a:pt x="265" y="51"/>
                  </a:lnTo>
                  <a:lnTo>
                    <a:pt x="265" y="48"/>
                  </a:lnTo>
                  <a:lnTo>
                    <a:pt x="268" y="45"/>
                  </a:lnTo>
                  <a:lnTo>
                    <a:pt x="268" y="42"/>
                  </a:lnTo>
                  <a:lnTo>
                    <a:pt x="268" y="39"/>
                  </a:lnTo>
                  <a:lnTo>
                    <a:pt x="268" y="36"/>
                  </a:lnTo>
                  <a:lnTo>
                    <a:pt x="271" y="36"/>
                  </a:lnTo>
                  <a:lnTo>
                    <a:pt x="271" y="33"/>
                  </a:lnTo>
                  <a:lnTo>
                    <a:pt x="271" y="30"/>
                  </a:lnTo>
                  <a:lnTo>
                    <a:pt x="274" y="27"/>
                  </a:lnTo>
                  <a:lnTo>
                    <a:pt x="274" y="24"/>
                  </a:lnTo>
                  <a:lnTo>
                    <a:pt x="274" y="21"/>
                  </a:lnTo>
                  <a:lnTo>
                    <a:pt x="277" y="21"/>
                  </a:lnTo>
                  <a:lnTo>
                    <a:pt x="274" y="21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4" y="18"/>
                  </a:lnTo>
                  <a:lnTo>
                    <a:pt x="274" y="15"/>
                  </a:lnTo>
                  <a:lnTo>
                    <a:pt x="271" y="15"/>
                  </a:lnTo>
                  <a:lnTo>
                    <a:pt x="271" y="12"/>
                  </a:lnTo>
                  <a:lnTo>
                    <a:pt x="274" y="12"/>
                  </a:lnTo>
                  <a:lnTo>
                    <a:pt x="271" y="9"/>
                  </a:lnTo>
                  <a:lnTo>
                    <a:pt x="274" y="9"/>
                  </a:lnTo>
                  <a:lnTo>
                    <a:pt x="277" y="9"/>
                  </a:lnTo>
                  <a:lnTo>
                    <a:pt x="280" y="9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6" y="6"/>
                  </a:lnTo>
                  <a:lnTo>
                    <a:pt x="289" y="6"/>
                  </a:lnTo>
                  <a:lnTo>
                    <a:pt x="292" y="6"/>
                  </a:lnTo>
                  <a:lnTo>
                    <a:pt x="295" y="6"/>
                  </a:lnTo>
                  <a:lnTo>
                    <a:pt x="298" y="3"/>
                  </a:lnTo>
                  <a:lnTo>
                    <a:pt x="301" y="3"/>
                  </a:lnTo>
                  <a:lnTo>
                    <a:pt x="304" y="3"/>
                  </a:lnTo>
                  <a:lnTo>
                    <a:pt x="307" y="3"/>
                  </a:lnTo>
                  <a:lnTo>
                    <a:pt x="313" y="0"/>
                  </a:lnTo>
                  <a:lnTo>
                    <a:pt x="316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FFC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6" name="Freeform 31">
              <a:extLst>
                <a:ext uri="{FF2B5EF4-FFF2-40B4-BE49-F238E27FC236}">
                  <a16:creationId xmlns:a16="http://schemas.microsoft.com/office/drawing/2014/main" id="{6D3248A8-F1CC-4906-8D5E-C524692E8C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47963" y="2678113"/>
              <a:ext cx="1500187" cy="1541462"/>
            </a:xfrm>
            <a:custGeom>
              <a:avLst/>
              <a:gdLst>
                <a:gd name="T0" fmla="*/ 1055833 w 763"/>
                <a:gd name="T1" fmla="*/ 330313 h 784"/>
                <a:gd name="T2" fmla="*/ 1085325 w 763"/>
                <a:gd name="T3" fmla="*/ 389298 h 784"/>
                <a:gd name="T4" fmla="*/ 1126615 w 763"/>
                <a:gd name="T5" fmla="*/ 477775 h 784"/>
                <a:gd name="T6" fmla="*/ 1203295 w 763"/>
                <a:gd name="T7" fmla="*/ 513165 h 784"/>
                <a:gd name="T8" fmla="*/ 1244585 w 763"/>
                <a:gd name="T9" fmla="*/ 471876 h 784"/>
                <a:gd name="T10" fmla="*/ 1299638 w 763"/>
                <a:gd name="T11" fmla="*/ 536759 h 784"/>
                <a:gd name="T12" fmla="*/ 1335029 w 763"/>
                <a:gd name="T13" fmla="*/ 613439 h 784"/>
                <a:gd name="T14" fmla="*/ 1346826 w 763"/>
                <a:gd name="T15" fmla="*/ 572150 h 784"/>
                <a:gd name="T16" fmla="*/ 1358623 w 763"/>
                <a:gd name="T17" fmla="*/ 536759 h 784"/>
                <a:gd name="T18" fmla="*/ 1394014 w 763"/>
                <a:gd name="T19" fmla="*/ 566251 h 784"/>
                <a:gd name="T20" fmla="*/ 1394014 w 763"/>
                <a:gd name="T21" fmla="*/ 648830 h 784"/>
                <a:gd name="T22" fmla="*/ 1382217 w 763"/>
                <a:gd name="T23" fmla="*/ 737306 h 784"/>
                <a:gd name="T24" fmla="*/ 1329130 w 763"/>
                <a:gd name="T25" fmla="*/ 849377 h 784"/>
                <a:gd name="T26" fmla="*/ 1329130 w 763"/>
                <a:gd name="T27" fmla="*/ 937854 h 784"/>
                <a:gd name="T28" fmla="*/ 1376318 w 763"/>
                <a:gd name="T29" fmla="*/ 985041 h 784"/>
                <a:gd name="T30" fmla="*/ 1417608 w 763"/>
                <a:gd name="T31" fmla="*/ 1032229 h 784"/>
                <a:gd name="T32" fmla="*/ 1470694 w 763"/>
                <a:gd name="T33" fmla="*/ 1079417 h 784"/>
                <a:gd name="T34" fmla="*/ 1494288 w 763"/>
                <a:gd name="T35" fmla="*/ 1144300 h 784"/>
                <a:gd name="T36" fmla="*/ 1470694 w 763"/>
                <a:gd name="T37" fmla="*/ 1203284 h 784"/>
                <a:gd name="T38" fmla="*/ 1399912 w 763"/>
                <a:gd name="T39" fmla="*/ 1220979 h 784"/>
                <a:gd name="T40" fmla="*/ 1329130 w 763"/>
                <a:gd name="T41" fmla="*/ 1291761 h 784"/>
                <a:gd name="T42" fmla="*/ 1256382 w 763"/>
                <a:gd name="T43" fmla="*/ 1315355 h 784"/>
                <a:gd name="T44" fmla="*/ 1197397 w 763"/>
                <a:gd name="T45" fmla="*/ 1285862 h 784"/>
                <a:gd name="T46" fmla="*/ 1114818 w 763"/>
                <a:gd name="T47" fmla="*/ 1333050 h 784"/>
                <a:gd name="T48" fmla="*/ 1044036 w 763"/>
                <a:gd name="T49" fmla="*/ 1327152 h 784"/>
                <a:gd name="T50" fmla="*/ 949660 w 763"/>
                <a:gd name="T51" fmla="*/ 1309456 h 784"/>
                <a:gd name="T52" fmla="*/ 937863 w 763"/>
                <a:gd name="T53" fmla="*/ 1368441 h 784"/>
                <a:gd name="T54" fmla="*/ 872979 w 763"/>
                <a:gd name="T55" fmla="*/ 1405798 h 784"/>
                <a:gd name="T56" fmla="*/ 808095 w 763"/>
                <a:gd name="T57" fmla="*/ 1435290 h 784"/>
                <a:gd name="T58" fmla="*/ 713719 w 763"/>
                <a:gd name="T59" fmla="*/ 1494274 h 784"/>
                <a:gd name="T60" fmla="*/ 654734 w 763"/>
                <a:gd name="T61" fmla="*/ 1541462 h 784"/>
                <a:gd name="T62" fmla="*/ 613445 w 763"/>
                <a:gd name="T63" fmla="*/ 1429391 h 784"/>
                <a:gd name="T64" fmla="*/ 554460 w 763"/>
                <a:gd name="T65" fmla="*/ 1429391 h 784"/>
                <a:gd name="T66" fmla="*/ 501373 w 763"/>
                <a:gd name="T67" fmla="*/ 1447087 h 784"/>
                <a:gd name="T68" fmla="*/ 501373 w 763"/>
                <a:gd name="T69" fmla="*/ 1374339 h 784"/>
                <a:gd name="T70" fmla="*/ 442388 w 763"/>
                <a:gd name="T71" fmla="*/ 1333050 h 784"/>
                <a:gd name="T72" fmla="*/ 436490 w 763"/>
                <a:gd name="T73" fmla="*/ 1279964 h 784"/>
                <a:gd name="T74" fmla="*/ 412896 w 763"/>
                <a:gd name="T75" fmla="*/ 1197386 h 784"/>
                <a:gd name="T76" fmla="*/ 377504 w 763"/>
                <a:gd name="T77" fmla="*/ 1079417 h 784"/>
                <a:gd name="T78" fmla="*/ 294925 w 763"/>
                <a:gd name="T79" fmla="*/ 1126604 h 784"/>
                <a:gd name="T80" fmla="*/ 212346 w 763"/>
                <a:gd name="T81" fmla="*/ 1191487 h 784"/>
                <a:gd name="T82" fmla="*/ 176955 w 763"/>
                <a:gd name="T83" fmla="*/ 1108909 h 784"/>
                <a:gd name="T84" fmla="*/ 129767 w 763"/>
                <a:gd name="T85" fmla="*/ 1020432 h 784"/>
                <a:gd name="T86" fmla="*/ 106173 w 763"/>
                <a:gd name="T87" fmla="*/ 949651 h 784"/>
                <a:gd name="T88" fmla="*/ 82579 w 763"/>
                <a:gd name="T89" fmla="*/ 861174 h 784"/>
                <a:gd name="T90" fmla="*/ 41290 w 763"/>
                <a:gd name="T91" fmla="*/ 778596 h 784"/>
                <a:gd name="T92" fmla="*/ 0 w 763"/>
                <a:gd name="T93" fmla="*/ 707814 h 784"/>
                <a:gd name="T94" fmla="*/ 58985 w 763"/>
                <a:gd name="T95" fmla="*/ 660627 h 784"/>
                <a:gd name="T96" fmla="*/ 70782 w 763"/>
                <a:gd name="T97" fmla="*/ 607541 h 784"/>
                <a:gd name="T98" fmla="*/ 123869 w 763"/>
                <a:gd name="T99" fmla="*/ 637033 h 784"/>
                <a:gd name="T100" fmla="*/ 141564 w 763"/>
                <a:gd name="T101" fmla="*/ 684220 h 784"/>
                <a:gd name="T102" fmla="*/ 188752 w 763"/>
                <a:gd name="T103" fmla="*/ 731408 h 784"/>
                <a:gd name="T104" fmla="*/ 259534 w 763"/>
                <a:gd name="T105" fmla="*/ 749103 h 784"/>
                <a:gd name="T106" fmla="*/ 330316 w 763"/>
                <a:gd name="T107" fmla="*/ 760900 h 784"/>
                <a:gd name="T108" fmla="*/ 418794 w 763"/>
                <a:gd name="T109" fmla="*/ 760900 h 784"/>
                <a:gd name="T110" fmla="*/ 460084 w 763"/>
                <a:gd name="T111" fmla="*/ 743205 h 784"/>
                <a:gd name="T112" fmla="*/ 507272 w 763"/>
                <a:gd name="T113" fmla="*/ 696017 h 784"/>
                <a:gd name="T114" fmla="*/ 578054 w 763"/>
                <a:gd name="T115" fmla="*/ 678322 h 784"/>
                <a:gd name="T116" fmla="*/ 631140 w 763"/>
                <a:gd name="T117" fmla="*/ 41289 h 784"/>
                <a:gd name="T118" fmla="*/ 666531 w 763"/>
                <a:gd name="T119" fmla="*/ 94375 h 7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63" h="784">
                  <a:moveTo>
                    <a:pt x="519" y="126"/>
                  </a:moveTo>
                  <a:lnTo>
                    <a:pt x="525" y="126"/>
                  </a:lnTo>
                  <a:lnTo>
                    <a:pt x="525" y="129"/>
                  </a:lnTo>
                  <a:lnTo>
                    <a:pt x="525" y="132"/>
                  </a:lnTo>
                  <a:lnTo>
                    <a:pt x="525" y="135"/>
                  </a:lnTo>
                  <a:lnTo>
                    <a:pt x="525" y="138"/>
                  </a:lnTo>
                  <a:lnTo>
                    <a:pt x="525" y="141"/>
                  </a:lnTo>
                  <a:lnTo>
                    <a:pt x="525" y="144"/>
                  </a:lnTo>
                  <a:lnTo>
                    <a:pt x="525" y="147"/>
                  </a:lnTo>
                  <a:lnTo>
                    <a:pt x="525" y="153"/>
                  </a:lnTo>
                  <a:lnTo>
                    <a:pt x="522" y="159"/>
                  </a:lnTo>
                  <a:lnTo>
                    <a:pt x="525" y="165"/>
                  </a:lnTo>
                  <a:lnTo>
                    <a:pt x="525" y="168"/>
                  </a:lnTo>
                  <a:lnTo>
                    <a:pt x="528" y="168"/>
                  </a:lnTo>
                  <a:lnTo>
                    <a:pt x="531" y="168"/>
                  </a:lnTo>
                  <a:lnTo>
                    <a:pt x="534" y="168"/>
                  </a:lnTo>
                  <a:lnTo>
                    <a:pt x="537" y="168"/>
                  </a:lnTo>
                  <a:lnTo>
                    <a:pt x="537" y="171"/>
                  </a:lnTo>
                  <a:lnTo>
                    <a:pt x="540" y="171"/>
                  </a:lnTo>
                  <a:lnTo>
                    <a:pt x="543" y="171"/>
                  </a:lnTo>
                  <a:lnTo>
                    <a:pt x="543" y="174"/>
                  </a:lnTo>
                  <a:lnTo>
                    <a:pt x="546" y="174"/>
                  </a:lnTo>
                  <a:lnTo>
                    <a:pt x="549" y="174"/>
                  </a:lnTo>
                  <a:lnTo>
                    <a:pt x="549" y="171"/>
                  </a:lnTo>
                  <a:lnTo>
                    <a:pt x="549" y="174"/>
                  </a:lnTo>
                  <a:lnTo>
                    <a:pt x="552" y="174"/>
                  </a:lnTo>
                  <a:lnTo>
                    <a:pt x="552" y="177"/>
                  </a:lnTo>
                  <a:lnTo>
                    <a:pt x="555" y="177"/>
                  </a:lnTo>
                  <a:lnTo>
                    <a:pt x="552" y="180"/>
                  </a:lnTo>
                  <a:lnTo>
                    <a:pt x="552" y="183"/>
                  </a:lnTo>
                  <a:lnTo>
                    <a:pt x="552" y="186"/>
                  </a:lnTo>
                  <a:lnTo>
                    <a:pt x="555" y="189"/>
                  </a:lnTo>
                  <a:lnTo>
                    <a:pt x="549" y="192"/>
                  </a:lnTo>
                  <a:lnTo>
                    <a:pt x="552" y="198"/>
                  </a:lnTo>
                  <a:lnTo>
                    <a:pt x="552" y="201"/>
                  </a:lnTo>
                  <a:lnTo>
                    <a:pt x="555" y="207"/>
                  </a:lnTo>
                  <a:lnTo>
                    <a:pt x="558" y="210"/>
                  </a:lnTo>
                  <a:lnTo>
                    <a:pt x="555" y="210"/>
                  </a:lnTo>
                  <a:lnTo>
                    <a:pt x="549" y="210"/>
                  </a:lnTo>
                  <a:lnTo>
                    <a:pt x="549" y="219"/>
                  </a:lnTo>
                  <a:lnTo>
                    <a:pt x="549" y="222"/>
                  </a:lnTo>
                  <a:lnTo>
                    <a:pt x="549" y="225"/>
                  </a:lnTo>
                  <a:lnTo>
                    <a:pt x="552" y="228"/>
                  </a:lnTo>
                  <a:lnTo>
                    <a:pt x="555" y="228"/>
                  </a:lnTo>
                  <a:lnTo>
                    <a:pt x="558" y="225"/>
                  </a:lnTo>
                  <a:lnTo>
                    <a:pt x="561" y="231"/>
                  </a:lnTo>
                  <a:lnTo>
                    <a:pt x="564" y="234"/>
                  </a:lnTo>
                  <a:lnTo>
                    <a:pt x="567" y="237"/>
                  </a:lnTo>
                  <a:lnTo>
                    <a:pt x="567" y="240"/>
                  </a:lnTo>
                  <a:lnTo>
                    <a:pt x="570" y="240"/>
                  </a:lnTo>
                  <a:lnTo>
                    <a:pt x="573" y="243"/>
                  </a:lnTo>
                  <a:lnTo>
                    <a:pt x="576" y="243"/>
                  </a:lnTo>
                  <a:lnTo>
                    <a:pt x="579" y="243"/>
                  </a:lnTo>
                  <a:lnTo>
                    <a:pt x="582" y="246"/>
                  </a:lnTo>
                  <a:lnTo>
                    <a:pt x="585" y="246"/>
                  </a:lnTo>
                  <a:lnTo>
                    <a:pt x="588" y="246"/>
                  </a:lnTo>
                  <a:lnTo>
                    <a:pt x="588" y="249"/>
                  </a:lnTo>
                  <a:lnTo>
                    <a:pt x="591" y="249"/>
                  </a:lnTo>
                  <a:lnTo>
                    <a:pt x="588" y="252"/>
                  </a:lnTo>
                  <a:lnTo>
                    <a:pt x="591" y="252"/>
                  </a:lnTo>
                  <a:lnTo>
                    <a:pt x="594" y="252"/>
                  </a:lnTo>
                  <a:lnTo>
                    <a:pt x="597" y="252"/>
                  </a:lnTo>
                  <a:lnTo>
                    <a:pt x="600" y="252"/>
                  </a:lnTo>
                  <a:lnTo>
                    <a:pt x="603" y="255"/>
                  </a:lnTo>
                  <a:lnTo>
                    <a:pt x="606" y="255"/>
                  </a:lnTo>
                  <a:lnTo>
                    <a:pt x="609" y="258"/>
                  </a:lnTo>
                  <a:lnTo>
                    <a:pt x="612" y="258"/>
                  </a:lnTo>
                  <a:lnTo>
                    <a:pt x="612" y="261"/>
                  </a:lnTo>
                  <a:lnTo>
                    <a:pt x="615" y="255"/>
                  </a:lnTo>
                  <a:lnTo>
                    <a:pt x="618" y="252"/>
                  </a:lnTo>
                  <a:lnTo>
                    <a:pt x="621" y="255"/>
                  </a:lnTo>
                  <a:lnTo>
                    <a:pt x="621" y="252"/>
                  </a:lnTo>
                  <a:lnTo>
                    <a:pt x="624" y="255"/>
                  </a:lnTo>
                  <a:lnTo>
                    <a:pt x="627" y="255"/>
                  </a:lnTo>
                  <a:lnTo>
                    <a:pt x="627" y="252"/>
                  </a:lnTo>
                  <a:lnTo>
                    <a:pt x="624" y="252"/>
                  </a:lnTo>
                  <a:lnTo>
                    <a:pt x="624" y="249"/>
                  </a:lnTo>
                  <a:lnTo>
                    <a:pt x="624" y="246"/>
                  </a:lnTo>
                  <a:lnTo>
                    <a:pt x="624" y="243"/>
                  </a:lnTo>
                  <a:lnTo>
                    <a:pt x="627" y="246"/>
                  </a:lnTo>
                  <a:lnTo>
                    <a:pt x="630" y="246"/>
                  </a:lnTo>
                  <a:lnTo>
                    <a:pt x="633" y="246"/>
                  </a:lnTo>
                  <a:lnTo>
                    <a:pt x="633" y="243"/>
                  </a:lnTo>
                  <a:lnTo>
                    <a:pt x="630" y="243"/>
                  </a:lnTo>
                  <a:lnTo>
                    <a:pt x="633" y="240"/>
                  </a:lnTo>
                  <a:lnTo>
                    <a:pt x="633" y="237"/>
                  </a:lnTo>
                  <a:lnTo>
                    <a:pt x="639" y="240"/>
                  </a:lnTo>
                  <a:lnTo>
                    <a:pt x="636" y="249"/>
                  </a:lnTo>
                  <a:lnTo>
                    <a:pt x="636" y="252"/>
                  </a:lnTo>
                  <a:lnTo>
                    <a:pt x="636" y="255"/>
                  </a:lnTo>
                  <a:lnTo>
                    <a:pt x="636" y="261"/>
                  </a:lnTo>
                  <a:lnTo>
                    <a:pt x="636" y="264"/>
                  </a:lnTo>
                  <a:lnTo>
                    <a:pt x="643" y="267"/>
                  </a:lnTo>
                  <a:lnTo>
                    <a:pt x="643" y="270"/>
                  </a:lnTo>
                  <a:lnTo>
                    <a:pt x="639" y="273"/>
                  </a:lnTo>
                  <a:lnTo>
                    <a:pt x="643" y="276"/>
                  </a:lnTo>
                  <a:lnTo>
                    <a:pt x="646" y="276"/>
                  </a:lnTo>
                  <a:lnTo>
                    <a:pt x="649" y="276"/>
                  </a:lnTo>
                  <a:lnTo>
                    <a:pt x="652" y="276"/>
                  </a:lnTo>
                  <a:lnTo>
                    <a:pt x="655" y="273"/>
                  </a:lnTo>
                  <a:lnTo>
                    <a:pt x="658" y="273"/>
                  </a:lnTo>
                  <a:lnTo>
                    <a:pt x="661" y="273"/>
                  </a:lnTo>
                  <a:lnTo>
                    <a:pt x="664" y="273"/>
                  </a:lnTo>
                  <a:lnTo>
                    <a:pt x="667" y="273"/>
                  </a:lnTo>
                  <a:lnTo>
                    <a:pt x="670" y="273"/>
                  </a:lnTo>
                  <a:lnTo>
                    <a:pt x="667" y="279"/>
                  </a:lnTo>
                  <a:lnTo>
                    <a:pt x="670" y="282"/>
                  </a:lnTo>
                  <a:lnTo>
                    <a:pt x="670" y="285"/>
                  </a:lnTo>
                  <a:lnTo>
                    <a:pt x="670" y="288"/>
                  </a:lnTo>
                  <a:lnTo>
                    <a:pt x="667" y="288"/>
                  </a:lnTo>
                  <a:lnTo>
                    <a:pt x="664" y="294"/>
                  </a:lnTo>
                  <a:lnTo>
                    <a:pt x="667" y="297"/>
                  </a:lnTo>
                  <a:lnTo>
                    <a:pt x="667" y="294"/>
                  </a:lnTo>
                  <a:lnTo>
                    <a:pt x="673" y="300"/>
                  </a:lnTo>
                  <a:lnTo>
                    <a:pt x="673" y="303"/>
                  </a:lnTo>
                  <a:lnTo>
                    <a:pt x="670" y="306"/>
                  </a:lnTo>
                  <a:lnTo>
                    <a:pt x="673" y="306"/>
                  </a:lnTo>
                  <a:lnTo>
                    <a:pt x="676" y="309"/>
                  </a:lnTo>
                  <a:lnTo>
                    <a:pt x="679" y="312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79" y="309"/>
                  </a:lnTo>
                  <a:lnTo>
                    <a:pt x="682" y="309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79" y="306"/>
                  </a:lnTo>
                  <a:lnTo>
                    <a:pt x="682" y="306"/>
                  </a:lnTo>
                  <a:lnTo>
                    <a:pt x="685" y="306"/>
                  </a:lnTo>
                  <a:lnTo>
                    <a:pt x="685" y="303"/>
                  </a:lnTo>
                  <a:lnTo>
                    <a:pt x="685" y="300"/>
                  </a:lnTo>
                  <a:lnTo>
                    <a:pt x="685" y="297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5" y="294"/>
                  </a:lnTo>
                  <a:lnTo>
                    <a:pt x="685" y="291"/>
                  </a:lnTo>
                  <a:lnTo>
                    <a:pt x="688" y="291"/>
                  </a:lnTo>
                  <a:lnTo>
                    <a:pt x="688" y="288"/>
                  </a:lnTo>
                  <a:lnTo>
                    <a:pt x="691" y="288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1" y="285"/>
                  </a:lnTo>
                  <a:lnTo>
                    <a:pt x="694" y="285"/>
                  </a:lnTo>
                  <a:lnTo>
                    <a:pt x="694" y="282"/>
                  </a:lnTo>
                  <a:lnTo>
                    <a:pt x="691" y="282"/>
                  </a:lnTo>
                  <a:lnTo>
                    <a:pt x="694" y="282"/>
                  </a:lnTo>
                  <a:lnTo>
                    <a:pt x="694" y="279"/>
                  </a:lnTo>
                  <a:lnTo>
                    <a:pt x="691" y="279"/>
                  </a:lnTo>
                  <a:lnTo>
                    <a:pt x="694" y="279"/>
                  </a:lnTo>
                  <a:lnTo>
                    <a:pt x="694" y="276"/>
                  </a:lnTo>
                  <a:lnTo>
                    <a:pt x="694" y="273"/>
                  </a:lnTo>
                  <a:lnTo>
                    <a:pt x="691" y="276"/>
                  </a:lnTo>
                  <a:lnTo>
                    <a:pt x="691" y="273"/>
                  </a:lnTo>
                  <a:lnTo>
                    <a:pt x="691" y="270"/>
                  </a:lnTo>
                  <a:lnTo>
                    <a:pt x="691" y="267"/>
                  </a:lnTo>
                  <a:lnTo>
                    <a:pt x="694" y="267"/>
                  </a:lnTo>
                  <a:lnTo>
                    <a:pt x="697" y="267"/>
                  </a:lnTo>
                  <a:lnTo>
                    <a:pt x="697" y="264"/>
                  </a:lnTo>
                  <a:lnTo>
                    <a:pt x="700" y="264"/>
                  </a:lnTo>
                  <a:lnTo>
                    <a:pt x="700" y="267"/>
                  </a:lnTo>
                  <a:lnTo>
                    <a:pt x="700" y="270"/>
                  </a:lnTo>
                  <a:lnTo>
                    <a:pt x="700" y="273"/>
                  </a:lnTo>
                  <a:lnTo>
                    <a:pt x="703" y="273"/>
                  </a:lnTo>
                  <a:lnTo>
                    <a:pt x="706" y="273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3"/>
                  </a:lnTo>
                  <a:lnTo>
                    <a:pt x="718" y="279"/>
                  </a:lnTo>
                  <a:lnTo>
                    <a:pt x="709" y="288"/>
                  </a:lnTo>
                  <a:lnTo>
                    <a:pt x="706" y="291"/>
                  </a:lnTo>
                  <a:lnTo>
                    <a:pt x="703" y="294"/>
                  </a:lnTo>
                  <a:lnTo>
                    <a:pt x="703" y="297"/>
                  </a:lnTo>
                  <a:lnTo>
                    <a:pt x="706" y="300"/>
                  </a:lnTo>
                  <a:lnTo>
                    <a:pt x="706" y="303"/>
                  </a:lnTo>
                  <a:lnTo>
                    <a:pt x="712" y="312"/>
                  </a:lnTo>
                  <a:lnTo>
                    <a:pt x="715" y="312"/>
                  </a:lnTo>
                  <a:lnTo>
                    <a:pt x="715" y="309"/>
                  </a:lnTo>
                  <a:lnTo>
                    <a:pt x="718" y="309"/>
                  </a:lnTo>
                  <a:lnTo>
                    <a:pt x="718" y="318"/>
                  </a:lnTo>
                  <a:lnTo>
                    <a:pt x="715" y="324"/>
                  </a:lnTo>
                  <a:lnTo>
                    <a:pt x="715" y="327"/>
                  </a:lnTo>
                  <a:lnTo>
                    <a:pt x="712" y="324"/>
                  </a:lnTo>
                  <a:lnTo>
                    <a:pt x="712" y="327"/>
                  </a:lnTo>
                  <a:lnTo>
                    <a:pt x="709" y="327"/>
                  </a:lnTo>
                  <a:lnTo>
                    <a:pt x="706" y="327"/>
                  </a:lnTo>
                  <a:lnTo>
                    <a:pt x="709" y="330"/>
                  </a:lnTo>
                  <a:lnTo>
                    <a:pt x="712" y="333"/>
                  </a:lnTo>
                  <a:lnTo>
                    <a:pt x="712" y="336"/>
                  </a:lnTo>
                  <a:lnTo>
                    <a:pt x="709" y="339"/>
                  </a:lnTo>
                  <a:lnTo>
                    <a:pt x="709" y="342"/>
                  </a:lnTo>
                  <a:lnTo>
                    <a:pt x="709" y="345"/>
                  </a:lnTo>
                  <a:lnTo>
                    <a:pt x="706" y="345"/>
                  </a:lnTo>
                  <a:lnTo>
                    <a:pt x="706" y="348"/>
                  </a:lnTo>
                  <a:lnTo>
                    <a:pt x="703" y="351"/>
                  </a:lnTo>
                  <a:lnTo>
                    <a:pt x="706" y="351"/>
                  </a:lnTo>
                  <a:lnTo>
                    <a:pt x="706" y="354"/>
                  </a:lnTo>
                  <a:lnTo>
                    <a:pt x="703" y="363"/>
                  </a:lnTo>
                  <a:lnTo>
                    <a:pt x="709" y="363"/>
                  </a:lnTo>
                  <a:lnTo>
                    <a:pt x="709" y="366"/>
                  </a:lnTo>
                  <a:lnTo>
                    <a:pt x="706" y="366"/>
                  </a:lnTo>
                  <a:lnTo>
                    <a:pt x="706" y="369"/>
                  </a:lnTo>
                  <a:lnTo>
                    <a:pt x="706" y="372"/>
                  </a:lnTo>
                  <a:lnTo>
                    <a:pt x="703" y="375"/>
                  </a:lnTo>
                  <a:lnTo>
                    <a:pt x="700" y="378"/>
                  </a:lnTo>
                  <a:lnTo>
                    <a:pt x="700" y="381"/>
                  </a:lnTo>
                  <a:lnTo>
                    <a:pt x="700" y="384"/>
                  </a:lnTo>
                  <a:lnTo>
                    <a:pt x="697" y="387"/>
                  </a:lnTo>
                  <a:lnTo>
                    <a:pt x="697" y="390"/>
                  </a:lnTo>
                  <a:lnTo>
                    <a:pt x="694" y="393"/>
                  </a:lnTo>
                  <a:lnTo>
                    <a:pt x="694" y="396"/>
                  </a:lnTo>
                  <a:lnTo>
                    <a:pt x="691" y="399"/>
                  </a:lnTo>
                  <a:lnTo>
                    <a:pt x="691" y="402"/>
                  </a:lnTo>
                  <a:lnTo>
                    <a:pt x="688" y="405"/>
                  </a:lnTo>
                  <a:lnTo>
                    <a:pt x="685" y="414"/>
                  </a:lnTo>
                  <a:lnTo>
                    <a:pt x="682" y="417"/>
                  </a:lnTo>
                  <a:lnTo>
                    <a:pt x="682" y="420"/>
                  </a:lnTo>
                  <a:lnTo>
                    <a:pt x="679" y="423"/>
                  </a:lnTo>
                  <a:lnTo>
                    <a:pt x="679" y="426"/>
                  </a:lnTo>
                  <a:lnTo>
                    <a:pt x="676" y="429"/>
                  </a:lnTo>
                  <a:lnTo>
                    <a:pt x="676" y="432"/>
                  </a:lnTo>
                  <a:lnTo>
                    <a:pt x="676" y="435"/>
                  </a:lnTo>
                  <a:lnTo>
                    <a:pt x="673" y="438"/>
                  </a:lnTo>
                  <a:lnTo>
                    <a:pt x="667" y="450"/>
                  </a:lnTo>
                  <a:lnTo>
                    <a:pt x="664" y="456"/>
                  </a:lnTo>
                  <a:lnTo>
                    <a:pt x="661" y="459"/>
                  </a:lnTo>
                  <a:lnTo>
                    <a:pt x="664" y="462"/>
                  </a:lnTo>
                  <a:lnTo>
                    <a:pt x="664" y="465"/>
                  </a:lnTo>
                  <a:lnTo>
                    <a:pt x="664" y="468"/>
                  </a:lnTo>
                  <a:lnTo>
                    <a:pt x="667" y="468"/>
                  </a:lnTo>
                  <a:lnTo>
                    <a:pt x="667" y="471"/>
                  </a:lnTo>
                  <a:lnTo>
                    <a:pt x="667" y="474"/>
                  </a:lnTo>
                  <a:lnTo>
                    <a:pt x="670" y="474"/>
                  </a:lnTo>
                  <a:lnTo>
                    <a:pt x="670" y="477"/>
                  </a:lnTo>
                  <a:lnTo>
                    <a:pt x="670" y="474"/>
                  </a:lnTo>
                  <a:lnTo>
                    <a:pt x="673" y="474"/>
                  </a:lnTo>
                  <a:lnTo>
                    <a:pt x="673" y="477"/>
                  </a:lnTo>
                  <a:lnTo>
                    <a:pt x="676" y="477"/>
                  </a:lnTo>
                  <a:lnTo>
                    <a:pt x="676" y="480"/>
                  </a:lnTo>
                  <a:lnTo>
                    <a:pt x="679" y="480"/>
                  </a:lnTo>
                  <a:lnTo>
                    <a:pt x="679" y="477"/>
                  </a:lnTo>
                  <a:lnTo>
                    <a:pt x="679" y="480"/>
                  </a:lnTo>
                  <a:lnTo>
                    <a:pt x="682" y="483"/>
                  </a:lnTo>
                  <a:lnTo>
                    <a:pt x="685" y="486"/>
                  </a:lnTo>
                  <a:lnTo>
                    <a:pt x="688" y="486"/>
                  </a:lnTo>
                  <a:lnTo>
                    <a:pt x="688" y="483"/>
                  </a:lnTo>
                  <a:lnTo>
                    <a:pt x="688" y="486"/>
                  </a:lnTo>
                  <a:lnTo>
                    <a:pt x="688" y="489"/>
                  </a:lnTo>
                  <a:lnTo>
                    <a:pt x="691" y="492"/>
                  </a:lnTo>
                  <a:lnTo>
                    <a:pt x="694" y="492"/>
                  </a:lnTo>
                  <a:lnTo>
                    <a:pt x="697" y="492"/>
                  </a:lnTo>
                  <a:lnTo>
                    <a:pt x="700" y="492"/>
                  </a:lnTo>
                  <a:lnTo>
                    <a:pt x="700" y="495"/>
                  </a:lnTo>
                  <a:lnTo>
                    <a:pt x="700" y="498"/>
                  </a:lnTo>
                  <a:lnTo>
                    <a:pt x="700" y="501"/>
                  </a:lnTo>
                  <a:lnTo>
                    <a:pt x="703" y="501"/>
                  </a:lnTo>
                  <a:lnTo>
                    <a:pt x="703" y="504"/>
                  </a:lnTo>
                  <a:lnTo>
                    <a:pt x="703" y="507"/>
                  </a:lnTo>
                  <a:lnTo>
                    <a:pt x="706" y="507"/>
                  </a:lnTo>
                  <a:lnTo>
                    <a:pt x="706" y="510"/>
                  </a:lnTo>
                  <a:lnTo>
                    <a:pt x="709" y="510"/>
                  </a:lnTo>
                  <a:lnTo>
                    <a:pt x="709" y="513"/>
                  </a:lnTo>
                  <a:lnTo>
                    <a:pt x="712" y="513"/>
                  </a:lnTo>
                  <a:lnTo>
                    <a:pt x="712" y="516"/>
                  </a:lnTo>
                  <a:lnTo>
                    <a:pt x="715" y="516"/>
                  </a:lnTo>
                  <a:lnTo>
                    <a:pt x="712" y="516"/>
                  </a:lnTo>
                  <a:lnTo>
                    <a:pt x="712" y="519"/>
                  </a:lnTo>
                  <a:lnTo>
                    <a:pt x="715" y="519"/>
                  </a:lnTo>
                  <a:lnTo>
                    <a:pt x="715" y="522"/>
                  </a:lnTo>
                  <a:lnTo>
                    <a:pt x="718" y="522"/>
                  </a:lnTo>
                  <a:lnTo>
                    <a:pt x="721" y="522"/>
                  </a:lnTo>
                  <a:lnTo>
                    <a:pt x="721" y="525"/>
                  </a:lnTo>
                  <a:lnTo>
                    <a:pt x="721" y="528"/>
                  </a:lnTo>
                  <a:lnTo>
                    <a:pt x="724" y="528"/>
                  </a:lnTo>
                  <a:lnTo>
                    <a:pt x="724" y="531"/>
                  </a:lnTo>
                  <a:lnTo>
                    <a:pt x="727" y="531"/>
                  </a:lnTo>
                  <a:lnTo>
                    <a:pt x="727" y="534"/>
                  </a:lnTo>
                  <a:lnTo>
                    <a:pt x="730" y="534"/>
                  </a:lnTo>
                  <a:lnTo>
                    <a:pt x="730" y="537"/>
                  </a:lnTo>
                  <a:lnTo>
                    <a:pt x="730" y="540"/>
                  </a:lnTo>
                  <a:lnTo>
                    <a:pt x="733" y="540"/>
                  </a:lnTo>
                  <a:lnTo>
                    <a:pt x="733" y="543"/>
                  </a:lnTo>
                  <a:lnTo>
                    <a:pt x="736" y="543"/>
                  </a:lnTo>
                  <a:lnTo>
                    <a:pt x="739" y="543"/>
                  </a:lnTo>
                  <a:lnTo>
                    <a:pt x="739" y="546"/>
                  </a:lnTo>
                  <a:lnTo>
                    <a:pt x="742" y="546"/>
                  </a:lnTo>
                  <a:lnTo>
                    <a:pt x="742" y="549"/>
                  </a:lnTo>
                  <a:lnTo>
                    <a:pt x="745" y="549"/>
                  </a:lnTo>
                  <a:lnTo>
                    <a:pt x="748" y="549"/>
                  </a:lnTo>
                  <a:lnTo>
                    <a:pt x="751" y="549"/>
                  </a:lnTo>
                  <a:lnTo>
                    <a:pt x="751" y="552"/>
                  </a:lnTo>
                  <a:lnTo>
                    <a:pt x="754" y="552"/>
                  </a:lnTo>
                  <a:lnTo>
                    <a:pt x="757" y="552"/>
                  </a:lnTo>
                  <a:lnTo>
                    <a:pt x="757" y="555"/>
                  </a:lnTo>
                  <a:lnTo>
                    <a:pt x="757" y="558"/>
                  </a:lnTo>
                  <a:lnTo>
                    <a:pt x="757" y="561"/>
                  </a:lnTo>
                  <a:lnTo>
                    <a:pt x="757" y="564"/>
                  </a:lnTo>
                  <a:lnTo>
                    <a:pt x="757" y="567"/>
                  </a:lnTo>
                  <a:lnTo>
                    <a:pt x="757" y="570"/>
                  </a:lnTo>
                  <a:lnTo>
                    <a:pt x="760" y="570"/>
                  </a:lnTo>
                  <a:lnTo>
                    <a:pt x="763" y="570"/>
                  </a:lnTo>
                  <a:lnTo>
                    <a:pt x="760" y="576"/>
                  </a:lnTo>
                  <a:lnTo>
                    <a:pt x="757" y="576"/>
                  </a:lnTo>
                  <a:lnTo>
                    <a:pt x="757" y="579"/>
                  </a:lnTo>
                  <a:lnTo>
                    <a:pt x="760" y="579"/>
                  </a:lnTo>
                  <a:lnTo>
                    <a:pt x="760" y="582"/>
                  </a:lnTo>
                  <a:lnTo>
                    <a:pt x="763" y="582"/>
                  </a:lnTo>
                  <a:lnTo>
                    <a:pt x="760" y="582"/>
                  </a:lnTo>
                  <a:lnTo>
                    <a:pt x="760" y="585"/>
                  </a:lnTo>
                  <a:lnTo>
                    <a:pt x="760" y="588"/>
                  </a:lnTo>
                  <a:lnTo>
                    <a:pt x="757" y="588"/>
                  </a:lnTo>
                  <a:lnTo>
                    <a:pt x="757" y="591"/>
                  </a:lnTo>
                  <a:lnTo>
                    <a:pt x="760" y="591"/>
                  </a:lnTo>
                  <a:lnTo>
                    <a:pt x="757" y="594"/>
                  </a:lnTo>
                  <a:lnTo>
                    <a:pt x="757" y="597"/>
                  </a:lnTo>
                  <a:lnTo>
                    <a:pt x="754" y="597"/>
                  </a:lnTo>
                  <a:lnTo>
                    <a:pt x="754" y="600"/>
                  </a:lnTo>
                  <a:lnTo>
                    <a:pt x="754" y="603"/>
                  </a:lnTo>
                  <a:lnTo>
                    <a:pt x="751" y="603"/>
                  </a:lnTo>
                  <a:lnTo>
                    <a:pt x="751" y="606"/>
                  </a:lnTo>
                  <a:lnTo>
                    <a:pt x="748" y="606"/>
                  </a:lnTo>
                  <a:lnTo>
                    <a:pt x="748" y="609"/>
                  </a:lnTo>
                  <a:lnTo>
                    <a:pt x="748" y="612"/>
                  </a:lnTo>
                  <a:lnTo>
                    <a:pt x="748" y="615"/>
                  </a:lnTo>
                  <a:lnTo>
                    <a:pt x="742" y="612"/>
                  </a:lnTo>
                  <a:lnTo>
                    <a:pt x="739" y="612"/>
                  </a:lnTo>
                  <a:lnTo>
                    <a:pt x="736" y="609"/>
                  </a:lnTo>
                  <a:lnTo>
                    <a:pt x="733" y="612"/>
                  </a:lnTo>
                  <a:lnTo>
                    <a:pt x="736" y="612"/>
                  </a:lnTo>
                  <a:lnTo>
                    <a:pt x="733" y="612"/>
                  </a:lnTo>
                  <a:lnTo>
                    <a:pt x="733" y="615"/>
                  </a:lnTo>
                  <a:lnTo>
                    <a:pt x="730" y="615"/>
                  </a:lnTo>
                  <a:lnTo>
                    <a:pt x="727" y="615"/>
                  </a:lnTo>
                  <a:lnTo>
                    <a:pt x="724" y="615"/>
                  </a:lnTo>
                  <a:lnTo>
                    <a:pt x="724" y="618"/>
                  </a:lnTo>
                  <a:lnTo>
                    <a:pt x="724" y="615"/>
                  </a:lnTo>
                  <a:lnTo>
                    <a:pt x="721" y="618"/>
                  </a:lnTo>
                  <a:lnTo>
                    <a:pt x="718" y="618"/>
                  </a:lnTo>
                  <a:lnTo>
                    <a:pt x="715" y="618"/>
                  </a:lnTo>
                  <a:lnTo>
                    <a:pt x="712" y="621"/>
                  </a:lnTo>
                  <a:lnTo>
                    <a:pt x="709" y="621"/>
                  </a:lnTo>
                  <a:lnTo>
                    <a:pt x="706" y="624"/>
                  </a:lnTo>
                  <a:lnTo>
                    <a:pt x="706" y="627"/>
                  </a:lnTo>
                  <a:lnTo>
                    <a:pt x="703" y="627"/>
                  </a:lnTo>
                  <a:lnTo>
                    <a:pt x="700" y="630"/>
                  </a:lnTo>
                  <a:lnTo>
                    <a:pt x="694" y="630"/>
                  </a:lnTo>
                  <a:lnTo>
                    <a:pt x="691" y="630"/>
                  </a:lnTo>
                  <a:lnTo>
                    <a:pt x="688" y="627"/>
                  </a:lnTo>
                  <a:lnTo>
                    <a:pt x="682" y="630"/>
                  </a:lnTo>
                  <a:lnTo>
                    <a:pt x="682" y="633"/>
                  </a:lnTo>
                  <a:lnTo>
                    <a:pt x="679" y="639"/>
                  </a:lnTo>
                  <a:lnTo>
                    <a:pt x="676" y="639"/>
                  </a:lnTo>
                  <a:lnTo>
                    <a:pt x="679" y="642"/>
                  </a:lnTo>
                  <a:lnTo>
                    <a:pt x="676" y="645"/>
                  </a:lnTo>
                  <a:lnTo>
                    <a:pt x="676" y="648"/>
                  </a:lnTo>
                  <a:lnTo>
                    <a:pt x="676" y="651"/>
                  </a:lnTo>
                  <a:lnTo>
                    <a:pt x="676" y="657"/>
                  </a:lnTo>
                  <a:lnTo>
                    <a:pt x="676" y="660"/>
                  </a:lnTo>
                  <a:lnTo>
                    <a:pt x="673" y="660"/>
                  </a:lnTo>
                  <a:lnTo>
                    <a:pt x="670" y="660"/>
                  </a:lnTo>
                  <a:lnTo>
                    <a:pt x="667" y="660"/>
                  </a:lnTo>
                  <a:lnTo>
                    <a:pt x="670" y="660"/>
                  </a:lnTo>
                  <a:lnTo>
                    <a:pt x="661" y="660"/>
                  </a:lnTo>
                  <a:lnTo>
                    <a:pt x="661" y="663"/>
                  </a:lnTo>
                  <a:lnTo>
                    <a:pt x="661" y="666"/>
                  </a:lnTo>
                  <a:lnTo>
                    <a:pt x="658" y="666"/>
                  </a:lnTo>
                  <a:lnTo>
                    <a:pt x="655" y="666"/>
                  </a:lnTo>
                  <a:lnTo>
                    <a:pt x="652" y="666"/>
                  </a:lnTo>
                  <a:lnTo>
                    <a:pt x="652" y="663"/>
                  </a:lnTo>
                  <a:lnTo>
                    <a:pt x="646" y="663"/>
                  </a:lnTo>
                  <a:lnTo>
                    <a:pt x="646" y="666"/>
                  </a:lnTo>
                  <a:lnTo>
                    <a:pt x="646" y="669"/>
                  </a:lnTo>
                  <a:lnTo>
                    <a:pt x="643" y="669"/>
                  </a:lnTo>
                  <a:lnTo>
                    <a:pt x="639" y="669"/>
                  </a:lnTo>
                  <a:lnTo>
                    <a:pt x="636" y="666"/>
                  </a:lnTo>
                  <a:lnTo>
                    <a:pt x="636" y="663"/>
                  </a:lnTo>
                  <a:lnTo>
                    <a:pt x="636" y="660"/>
                  </a:lnTo>
                  <a:lnTo>
                    <a:pt x="633" y="660"/>
                  </a:lnTo>
                  <a:lnTo>
                    <a:pt x="630" y="660"/>
                  </a:lnTo>
                  <a:lnTo>
                    <a:pt x="627" y="666"/>
                  </a:lnTo>
                  <a:lnTo>
                    <a:pt x="624" y="669"/>
                  </a:lnTo>
                  <a:lnTo>
                    <a:pt x="624" y="672"/>
                  </a:lnTo>
                  <a:lnTo>
                    <a:pt x="621" y="672"/>
                  </a:lnTo>
                  <a:lnTo>
                    <a:pt x="618" y="669"/>
                  </a:lnTo>
                  <a:lnTo>
                    <a:pt x="618" y="666"/>
                  </a:lnTo>
                  <a:lnTo>
                    <a:pt x="615" y="666"/>
                  </a:lnTo>
                  <a:lnTo>
                    <a:pt x="621" y="663"/>
                  </a:lnTo>
                  <a:lnTo>
                    <a:pt x="618" y="660"/>
                  </a:lnTo>
                  <a:lnTo>
                    <a:pt x="615" y="660"/>
                  </a:lnTo>
                  <a:lnTo>
                    <a:pt x="612" y="660"/>
                  </a:lnTo>
                  <a:lnTo>
                    <a:pt x="609" y="654"/>
                  </a:lnTo>
                  <a:lnTo>
                    <a:pt x="606" y="654"/>
                  </a:lnTo>
                  <a:lnTo>
                    <a:pt x="603" y="657"/>
                  </a:lnTo>
                  <a:lnTo>
                    <a:pt x="600" y="654"/>
                  </a:lnTo>
                  <a:lnTo>
                    <a:pt x="597" y="657"/>
                  </a:lnTo>
                  <a:lnTo>
                    <a:pt x="597" y="660"/>
                  </a:lnTo>
                  <a:lnTo>
                    <a:pt x="594" y="660"/>
                  </a:lnTo>
                  <a:lnTo>
                    <a:pt x="591" y="660"/>
                  </a:lnTo>
                  <a:lnTo>
                    <a:pt x="585" y="657"/>
                  </a:lnTo>
                  <a:lnTo>
                    <a:pt x="582" y="657"/>
                  </a:lnTo>
                  <a:lnTo>
                    <a:pt x="582" y="660"/>
                  </a:lnTo>
                  <a:lnTo>
                    <a:pt x="576" y="660"/>
                  </a:lnTo>
                  <a:lnTo>
                    <a:pt x="573" y="663"/>
                  </a:lnTo>
                  <a:lnTo>
                    <a:pt x="570" y="666"/>
                  </a:lnTo>
                  <a:lnTo>
                    <a:pt x="570" y="669"/>
                  </a:lnTo>
                  <a:lnTo>
                    <a:pt x="570" y="672"/>
                  </a:lnTo>
                  <a:lnTo>
                    <a:pt x="567" y="675"/>
                  </a:lnTo>
                  <a:lnTo>
                    <a:pt x="567" y="678"/>
                  </a:lnTo>
                  <a:lnTo>
                    <a:pt x="564" y="681"/>
                  </a:lnTo>
                  <a:lnTo>
                    <a:pt x="561" y="684"/>
                  </a:lnTo>
                  <a:lnTo>
                    <a:pt x="558" y="684"/>
                  </a:lnTo>
                  <a:lnTo>
                    <a:pt x="558" y="687"/>
                  </a:lnTo>
                  <a:lnTo>
                    <a:pt x="555" y="687"/>
                  </a:lnTo>
                  <a:lnTo>
                    <a:pt x="555" y="684"/>
                  </a:lnTo>
                  <a:lnTo>
                    <a:pt x="552" y="684"/>
                  </a:lnTo>
                  <a:lnTo>
                    <a:pt x="552" y="681"/>
                  </a:lnTo>
                  <a:lnTo>
                    <a:pt x="555" y="678"/>
                  </a:lnTo>
                  <a:lnTo>
                    <a:pt x="552" y="678"/>
                  </a:lnTo>
                  <a:lnTo>
                    <a:pt x="546" y="675"/>
                  </a:lnTo>
                  <a:lnTo>
                    <a:pt x="543" y="675"/>
                  </a:lnTo>
                  <a:lnTo>
                    <a:pt x="540" y="678"/>
                  </a:lnTo>
                  <a:lnTo>
                    <a:pt x="537" y="675"/>
                  </a:lnTo>
                  <a:lnTo>
                    <a:pt x="537" y="672"/>
                  </a:lnTo>
                  <a:lnTo>
                    <a:pt x="534" y="672"/>
                  </a:lnTo>
                  <a:lnTo>
                    <a:pt x="531" y="675"/>
                  </a:lnTo>
                  <a:lnTo>
                    <a:pt x="528" y="672"/>
                  </a:lnTo>
                  <a:lnTo>
                    <a:pt x="525" y="669"/>
                  </a:lnTo>
                  <a:lnTo>
                    <a:pt x="522" y="672"/>
                  </a:lnTo>
                  <a:lnTo>
                    <a:pt x="519" y="672"/>
                  </a:lnTo>
                  <a:lnTo>
                    <a:pt x="516" y="672"/>
                  </a:lnTo>
                  <a:lnTo>
                    <a:pt x="513" y="669"/>
                  </a:lnTo>
                  <a:lnTo>
                    <a:pt x="516" y="663"/>
                  </a:lnTo>
                  <a:lnTo>
                    <a:pt x="513" y="660"/>
                  </a:lnTo>
                  <a:lnTo>
                    <a:pt x="513" y="657"/>
                  </a:lnTo>
                  <a:lnTo>
                    <a:pt x="507" y="657"/>
                  </a:lnTo>
                  <a:lnTo>
                    <a:pt x="501" y="654"/>
                  </a:lnTo>
                  <a:lnTo>
                    <a:pt x="492" y="648"/>
                  </a:lnTo>
                  <a:lnTo>
                    <a:pt x="489" y="648"/>
                  </a:lnTo>
                  <a:lnTo>
                    <a:pt x="486" y="654"/>
                  </a:lnTo>
                  <a:lnTo>
                    <a:pt x="486" y="657"/>
                  </a:lnTo>
                  <a:lnTo>
                    <a:pt x="486" y="660"/>
                  </a:lnTo>
                  <a:lnTo>
                    <a:pt x="483" y="666"/>
                  </a:lnTo>
                  <a:lnTo>
                    <a:pt x="483" y="669"/>
                  </a:lnTo>
                  <a:lnTo>
                    <a:pt x="477" y="669"/>
                  </a:lnTo>
                  <a:lnTo>
                    <a:pt x="480" y="672"/>
                  </a:lnTo>
                  <a:lnTo>
                    <a:pt x="480" y="675"/>
                  </a:lnTo>
                  <a:lnTo>
                    <a:pt x="480" y="678"/>
                  </a:lnTo>
                  <a:lnTo>
                    <a:pt x="477" y="678"/>
                  </a:lnTo>
                  <a:lnTo>
                    <a:pt x="474" y="675"/>
                  </a:lnTo>
                  <a:lnTo>
                    <a:pt x="471" y="675"/>
                  </a:lnTo>
                  <a:lnTo>
                    <a:pt x="471" y="678"/>
                  </a:lnTo>
                  <a:lnTo>
                    <a:pt x="474" y="678"/>
                  </a:lnTo>
                  <a:lnTo>
                    <a:pt x="474" y="681"/>
                  </a:lnTo>
                  <a:lnTo>
                    <a:pt x="471" y="684"/>
                  </a:lnTo>
                  <a:lnTo>
                    <a:pt x="471" y="687"/>
                  </a:lnTo>
                  <a:lnTo>
                    <a:pt x="474" y="690"/>
                  </a:lnTo>
                  <a:lnTo>
                    <a:pt x="471" y="690"/>
                  </a:lnTo>
                  <a:lnTo>
                    <a:pt x="474" y="693"/>
                  </a:lnTo>
                  <a:lnTo>
                    <a:pt x="477" y="696"/>
                  </a:lnTo>
                  <a:lnTo>
                    <a:pt x="474" y="696"/>
                  </a:lnTo>
                  <a:lnTo>
                    <a:pt x="471" y="705"/>
                  </a:lnTo>
                  <a:lnTo>
                    <a:pt x="471" y="699"/>
                  </a:lnTo>
                  <a:lnTo>
                    <a:pt x="465" y="702"/>
                  </a:lnTo>
                  <a:lnTo>
                    <a:pt x="465" y="705"/>
                  </a:lnTo>
                  <a:lnTo>
                    <a:pt x="465" y="709"/>
                  </a:lnTo>
                  <a:lnTo>
                    <a:pt x="462" y="712"/>
                  </a:lnTo>
                  <a:lnTo>
                    <a:pt x="459" y="709"/>
                  </a:lnTo>
                  <a:lnTo>
                    <a:pt x="453" y="705"/>
                  </a:lnTo>
                  <a:lnTo>
                    <a:pt x="453" y="709"/>
                  </a:lnTo>
                  <a:lnTo>
                    <a:pt x="456" y="709"/>
                  </a:lnTo>
                  <a:lnTo>
                    <a:pt x="456" y="712"/>
                  </a:lnTo>
                  <a:lnTo>
                    <a:pt x="456" y="715"/>
                  </a:lnTo>
                  <a:lnTo>
                    <a:pt x="456" y="718"/>
                  </a:lnTo>
                  <a:lnTo>
                    <a:pt x="453" y="718"/>
                  </a:lnTo>
                  <a:lnTo>
                    <a:pt x="447" y="715"/>
                  </a:lnTo>
                  <a:lnTo>
                    <a:pt x="444" y="715"/>
                  </a:lnTo>
                  <a:lnTo>
                    <a:pt x="444" y="712"/>
                  </a:lnTo>
                  <a:lnTo>
                    <a:pt x="441" y="712"/>
                  </a:lnTo>
                  <a:lnTo>
                    <a:pt x="438" y="715"/>
                  </a:lnTo>
                  <a:lnTo>
                    <a:pt x="435" y="712"/>
                  </a:lnTo>
                  <a:lnTo>
                    <a:pt x="432" y="712"/>
                  </a:lnTo>
                  <a:lnTo>
                    <a:pt x="429" y="712"/>
                  </a:lnTo>
                  <a:lnTo>
                    <a:pt x="426" y="712"/>
                  </a:lnTo>
                  <a:lnTo>
                    <a:pt x="426" y="715"/>
                  </a:lnTo>
                  <a:lnTo>
                    <a:pt x="426" y="718"/>
                  </a:lnTo>
                  <a:lnTo>
                    <a:pt x="429" y="721"/>
                  </a:lnTo>
                  <a:lnTo>
                    <a:pt x="426" y="724"/>
                  </a:lnTo>
                  <a:lnTo>
                    <a:pt x="423" y="724"/>
                  </a:lnTo>
                  <a:lnTo>
                    <a:pt x="420" y="724"/>
                  </a:lnTo>
                  <a:lnTo>
                    <a:pt x="417" y="724"/>
                  </a:lnTo>
                  <a:lnTo>
                    <a:pt x="417" y="727"/>
                  </a:lnTo>
                  <a:lnTo>
                    <a:pt x="414" y="727"/>
                  </a:lnTo>
                  <a:lnTo>
                    <a:pt x="411" y="730"/>
                  </a:lnTo>
                  <a:lnTo>
                    <a:pt x="405" y="727"/>
                  </a:lnTo>
                  <a:lnTo>
                    <a:pt x="405" y="730"/>
                  </a:lnTo>
                  <a:lnTo>
                    <a:pt x="405" y="733"/>
                  </a:lnTo>
                  <a:lnTo>
                    <a:pt x="402" y="736"/>
                  </a:lnTo>
                  <a:lnTo>
                    <a:pt x="399" y="736"/>
                  </a:lnTo>
                  <a:lnTo>
                    <a:pt x="396" y="739"/>
                  </a:lnTo>
                  <a:lnTo>
                    <a:pt x="396" y="742"/>
                  </a:lnTo>
                  <a:lnTo>
                    <a:pt x="393" y="748"/>
                  </a:lnTo>
                  <a:lnTo>
                    <a:pt x="393" y="754"/>
                  </a:lnTo>
                  <a:lnTo>
                    <a:pt x="390" y="754"/>
                  </a:lnTo>
                  <a:lnTo>
                    <a:pt x="387" y="754"/>
                  </a:lnTo>
                  <a:lnTo>
                    <a:pt x="384" y="754"/>
                  </a:lnTo>
                  <a:lnTo>
                    <a:pt x="378" y="754"/>
                  </a:lnTo>
                  <a:lnTo>
                    <a:pt x="372" y="754"/>
                  </a:lnTo>
                  <a:lnTo>
                    <a:pt x="369" y="757"/>
                  </a:lnTo>
                  <a:lnTo>
                    <a:pt x="366" y="760"/>
                  </a:lnTo>
                  <a:lnTo>
                    <a:pt x="363" y="760"/>
                  </a:lnTo>
                  <a:lnTo>
                    <a:pt x="363" y="763"/>
                  </a:lnTo>
                  <a:lnTo>
                    <a:pt x="366" y="766"/>
                  </a:lnTo>
                  <a:lnTo>
                    <a:pt x="366" y="769"/>
                  </a:lnTo>
                  <a:lnTo>
                    <a:pt x="366" y="772"/>
                  </a:lnTo>
                  <a:lnTo>
                    <a:pt x="366" y="775"/>
                  </a:lnTo>
                  <a:lnTo>
                    <a:pt x="366" y="778"/>
                  </a:lnTo>
                  <a:lnTo>
                    <a:pt x="363" y="778"/>
                  </a:lnTo>
                  <a:lnTo>
                    <a:pt x="360" y="781"/>
                  </a:lnTo>
                  <a:lnTo>
                    <a:pt x="357" y="784"/>
                  </a:lnTo>
                  <a:lnTo>
                    <a:pt x="351" y="784"/>
                  </a:lnTo>
                  <a:lnTo>
                    <a:pt x="348" y="784"/>
                  </a:lnTo>
                  <a:lnTo>
                    <a:pt x="345" y="784"/>
                  </a:lnTo>
                  <a:lnTo>
                    <a:pt x="345" y="781"/>
                  </a:lnTo>
                  <a:lnTo>
                    <a:pt x="345" y="778"/>
                  </a:lnTo>
                  <a:lnTo>
                    <a:pt x="339" y="781"/>
                  </a:lnTo>
                  <a:lnTo>
                    <a:pt x="339" y="784"/>
                  </a:lnTo>
                  <a:lnTo>
                    <a:pt x="333" y="784"/>
                  </a:lnTo>
                  <a:lnTo>
                    <a:pt x="330" y="781"/>
                  </a:lnTo>
                  <a:lnTo>
                    <a:pt x="327" y="781"/>
                  </a:lnTo>
                  <a:lnTo>
                    <a:pt x="327" y="778"/>
                  </a:lnTo>
                  <a:lnTo>
                    <a:pt x="327" y="775"/>
                  </a:lnTo>
                  <a:lnTo>
                    <a:pt x="321" y="769"/>
                  </a:lnTo>
                  <a:lnTo>
                    <a:pt x="318" y="769"/>
                  </a:lnTo>
                  <a:lnTo>
                    <a:pt x="315" y="769"/>
                  </a:lnTo>
                  <a:lnTo>
                    <a:pt x="312" y="766"/>
                  </a:lnTo>
                  <a:lnTo>
                    <a:pt x="312" y="757"/>
                  </a:lnTo>
                  <a:lnTo>
                    <a:pt x="309" y="754"/>
                  </a:lnTo>
                  <a:lnTo>
                    <a:pt x="309" y="751"/>
                  </a:lnTo>
                  <a:lnTo>
                    <a:pt x="306" y="748"/>
                  </a:lnTo>
                  <a:lnTo>
                    <a:pt x="306" y="745"/>
                  </a:lnTo>
                  <a:lnTo>
                    <a:pt x="306" y="739"/>
                  </a:lnTo>
                  <a:lnTo>
                    <a:pt x="303" y="730"/>
                  </a:lnTo>
                  <a:lnTo>
                    <a:pt x="309" y="733"/>
                  </a:lnTo>
                  <a:lnTo>
                    <a:pt x="312" y="727"/>
                  </a:lnTo>
                  <a:lnTo>
                    <a:pt x="312" y="724"/>
                  </a:lnTo>
                  <a:lnTo>
                    <a:pt x="315" y="721"/>
                  </a:lnTo>
                  <a:lnTo>
                    <a:pt x="318" y="721"/>
                  </a:lnTo>
                  <a:lnTo>
                    <a:pt x="318" y="712"/>
                  </a:lnTo>
                  <a:lnTo>
                    <a:pt x="315" y="712"/>
                  </a:lnTo>
                  <a:lnTo>
                    <a:pt x="312" y="709"/>
                  </a:lnTo>
                  <a:lnTo>
                    <a:pt x="309" y="709"/>
                  </a:lnTo>
                  <a:lnTo>
                    <a:pt x="306" y="712"/>
                  </a:lnTo>
                  <a:lnTo>
                    <a:pt x="306" y="715"/>
                  </a:lnTo>
                  <a:lnTo>
                    <a:pt x="303" y="715"/>
                  </a:lnTo>
                  <a:lnTo>
                    <a:pt x="300" y="718"/>
                  </a:lnTo>
                  <a:lnTo>
                    <a:pt x="300" y="721"/>
                  </a:lnTo>
                  <a:lnTo>
                    <a:pt x="297" y="724"/>
                  </a:lnTo>
                  <a:lnTo>
                    <a:pt x="294" y="724"/>
                  </a:lnTo>
                  <a:lnTo>
                    <a:pt x="291" y="727"/>
                  </a:lnTo>
                  <a:lnTo>
                    <a:pt x="285" y="727"/>
                  </a:lnTo>
                  <a:lnTo>
                    <a:pt x="282" y="727"/>
                  </a:lnTo>
                  <a:lnTo>
                    <a:pt x="279" y="730"/>
                  </a:lnTo>
                  <a:lnTo>
                    <a:pt x="276" y="730"/>
                  </a:lnTo>
                  <a:lnTo>
                    <a:pt x="276" y="727"/>
                  </a:lnTo>
                  <a:lnTo>
                    <a:pt x="273" y="730"/>
                  </a:lnTo>
                  <a:lnTo>
                    <a:pt x="273" y="733"/>
                  </a:lnTo>
                  <a:lnTo>
                    <a:pt x="270" y="736"/>
                  </a:lnTo>
                  <a:lnTo>
                    <a:pt x="267" y="733"/>
                  </a:lnTo>
                  <a:lnTo>
                    <a:pt x="264" y="736"/>
                  </a:lnTo>
                  <a:lnTo>
                    <a:pt x="267" y="739"/>
                  </a:lnTo>
                  <a:lnTo>
                    <a:pt x="264" y="745"/>
                  </a:lnTo>
                  <a:lnTo>
                    <a:pt x="264" y="754"/>
                  </a:lnTo>
                  <a:lnTo>
                    <a:pt x="261" y="754"/>
                  </a:lnTo>
                  <a:lnTo>
                    <a:pt x="258" y="757"/>
                  </a:lnTo>
                  <a:lnTo>
                    <a:pt x="255" y="751"/>
                  </a:lnTo>
                  <a:lnTo>
                    <a:pt x="255" y="745"/>
                  </a:lnTo>
                  <a:lnTo>
                    <a:pt x="255" y="739"/>
                  </a:lnTo>
                  <a:lnTo>
                    <a:pt x="255" y="736"/>
                  </a:lnTo>
                  <a:lnTo>
                    <a:pt x="252" y="733"/>
                  </a:lnTo>
                  <a:lnTo>
                    <a:pt x="252" y="730"/>
                  </a:lnTo>
                  <a:lnTo>
                    <a:pt x="249" y="730"/>
                  </a:lnTo>
                  <a:lnTo>
                    <a:pt x="249" y="727"/>
                  </a:lnTo>
                  <a:lnTo>
                    <a:pt x="249" y="724"/>
                  </a:lnTo>
                  <a:lnTo>
                    <a:pt x="246" y="718"/>
                  </a:lnTo>
                  <a:lnTo>
                    <a:pt x="255" y="715"/>
                  </a:lnTo>
                  <a:lnTo>
                    <a:pt x="255" y="712"/>
                  </a:lnTo>
                  <a:lnTo>
                    <a:pt x="255" y="709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5"/>
                  </a:lnTo>
                  <a:lnTo>
                    <a:pt x="252" y="705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702"/>
                  </a:lnTo>
                  <a:lnTo>
                    <a:pt x="255" y="699"/>
                  </a:lnTo>
                  <a:lnTo>
                    <a:pt x="255" y="696"/>
                  </a:lnTo>
                  <a:lnTo>
                    <a:pt x="252" y="696"/>
                  </a:lnTo>
                  <a:lnTo>
                    <a:pt x="249" y="693"/>
                  </a:lnTo>
                  <a:lnTo>
                    <a:pt x="246" y="690"/>
                  </a:lnTo>
                  <a:lnTo>
                    <a:pt x="246" y="693"/>
                  </a:lnTo>
                  <a:lnTo>
                    <a:pt x="243" y="693"/>
                  </a:lnTo>
                  <a:lnTo>
                    <a:pt x="240" y="690"/>
                  </a:lnTo>
                  <a:lnTo>
                    <a:pt x="240" y="687"/>
                  </a:lnTo>
                  <a:lnTo>
                    <a:pt x="237" y="687"/>
                  </a:lnTo>
                  <a:lnTo>
                    <a:pt x="234" y="687"/>
                  </a:lnTo>
                  <a:lnTo>
                    <a:pt x="237" y="681"/>
                  </a:lnTo>
                  <a:lnTo>
                    <a:pt x="237" y="675"/>
                  </a:lnTo>
                  <a:lnTo>
                    <a:pt x="237" y="678"/>
                  </a:lnTo>
                  <a:lnTo>
                    <a:pt x="231" y="684"/>
                  </a:lnTo>
                  <a:lnTo>
                    <a:pt x="231" y="681"/>
                  </a:lnTo>
                  <a:lnTo>
                    <a:pt x="228" y="681"/>
                  </a:lnTo>
                  <a:lnTo>
                    <a:pt x="225" y="678"/>
                  </a:lnTo>
                  <a:lnTo>
                    <a:pt x="225" y="681"/>
                  </a:lnTo>
                  <a:lnTo>
                    <a:pt x="222" y="681"/>
                  </a:lnTo>
                  <a:lnTo>
                    <a:pt x="222" y="678"/>
                  </a:lnTo>
                  <a:lnTo>
                    <a:pt x="219" y="678"/>
                  </a:lnTo>
                  <a:lnTo>
                    <a:pt x="216" y="678"/>
                  </a:lnTo>
                  <a:lnTo>
                    <a:pt x="216" y="675"/>
                  </a:lnTo>
                  <a:lnTo>
                    <a:pt x="216" y="672"/>
                  </a:lnTo>
                  <a:lnTo>
                    <a:pt x="219" y="672"/>
                  </a:lnTo>
                  <a:lnTo>
                    <a:pt x="219" y="669"/>
                  </a:lnTo>
                  <a:lnTo>
                    <a:pt x="219" y="666"/>
                  </a:lnTo>
                  <a:lnTo>
                    <a:pt x="222" y="666"/>
                  </a:lnTo>
                  <a:lnTo>
                    <a:pt x="219" y="663"/>
                  </a:lnTo>
                  <a:lnTo>
                    <a:pt x="219" y="660"/>
                  </a:lnTo>
                  <a:lnTo>
                    <a:pt x="219" y="657"/>
                  </a:lnTo>
                  <a:lnTo>
                    <a:pt x="219" y="654"/>
                  </a:lnTo>
                  <a:lnTo>
                    <a:pt x="219" y="651"/>
                  </a:lnTo>
                  <a:lnTo>
                    <a:pt x="222" y="651"/>
                  </a:lnTo>
                  <a:lnTo>
                    <a:pt x="219" y="648"/>
                  </a:lnTo>
                  <a:lnTo>
                    <a:pt x="216" y="648"/>
                  </a:lnTo>
                  <a:lnTo>
                    <a:pt x="219" y="645"/>
                  </a:lnTo>
                  <a:lnTo>
                    <a:pt x="219" y="642"/>
                  </a:lnTo>
                  <a:lnTo>
                    <a:pt x="216" y="642"/>
                  </a:lnTo>
                  <a:lnTo>
                    <a:pt x="213" y="642"/>
                  </a:lnTo>
                  <a:lnTo>
                    <a:pt x="216" y="639"/>
                  </a:lnTo>
                  <a:lnTo>
                    <a:pt x="216" y="636"/>
                  </a:lnTo>
                  <a:lnTo>
                    <a:pt x="216" y="633"/>
                  </a:lnTo>
                  <a:lnTo>
                    <a:pt x="216" y="630"/>
                  </a:lnTo>
                  <a:lnTo>
                    <a:pt x="213" y="627"/>
                  </a:lnTo>
                  <a:lnTo>
                    <a:pt x="210" y="627"/>
                  </a:lnTo>
                  <a:lnTo>
                    <a:pt x="213" y="621"/>
                  </a:lnTo>
                  <a:lnTo>
                    <a:pt x="210" y="621"/>
                  </a:lnTo>
                  <a:lnTo>
                    <a:pt x="210" y="618"/>
                  </a:lnTo>
                  <a:lnTo>
                    <a:pt x="207" y="615"/>
                  </a:lnTo>
                  <a:lnTo>
                    <a:pt x="210" y="609"/>
                  </a:lnTo>
                  <a:lnTo>
                    <a:pt x="210" y="603"/>
                  </a:lnTo>
                  <a:lnTo>
                    <a:pt x="207" y="600"/>
                  </a:lnTo>
                  <a:lnTo>
                    <a:pt x="207" y="597"/>
                  </a:lnTo>
                  <a:lnTo>
                    <a:pt x="204" y="597"/>
                  </a:lnTo>
                  <a:lnTo>
                    <a:pt x="204" y="594"/>
                  </a:lnTo>
                  <a:lnTo>
                    <a:pt x="204" y="591"/>
                  </a:lnTo>
                  <a:lnTo>
                    <a:pt x="207" y="588"/>
                  </a:lnTo>
                  <a:lnTo>
                    <a:pt x="213" y="585"/>
                  </a:lnTo>
                  <a:lnTo>
                    <a:pt x="207" y="582"/>
                  </a:lnTo>
                  <a:lnTo>
                    <a:pt x="204" y="579"/>
                  </a:lnTo>
                  <a:lnTo>
                    <a:pt x="210" y="579"/>
                  </a:lnTo>
                  <a:lnTo>
                    <a:pt x="210" y="573"/>
                  </a:lnTo>
                  <a:lnTo>
                    <a:pt x="210" y="567"/>
                  </a:lnTo>
                  <a:lnTo>
                    <a:pt x="201" y="564"/>
                  </a:lnTo>
                  <a:lnTo>
                    <a:pt x="195" y="558"/>
                  </a:lnTo>
                  <a:lnTo>
                    <a:pt x="195" y="555"/>
                  </a:lnTo>
                  <a:lnTo>
                    <a:pt x="192" y="549"/>
                  </a:lnTo>
                  <a:lnTo>
                    <a:pt x="189" y="549"/>
                  </a:lnTo>
                  <a:lnTo>
                    <a:pt x="183" y="549"/>
                  </a:lnTo>
                  <a:lnTo>
                    <a:pt x="183" y="546"/>
                  </a:lnTo>
                  <a:lnTo>
                    <a:pt x="183" y="543"/>
                  </a:lnTo>
                  <a:lnTo>
                    <a:pt x="180" y="540"/>
                  </a:lnTo>
                  <a:lnTo>
                    <a:pt x="177" y="534"/>
                  </a:lnTo>
                  <a:lnTo>
                    <a:pt x="171" y="537"/>
                  </a:lnTo>
                  <a:lnTo>
                    <a:pt x="171" y="540"/>
                  </a:lnTo>
                  <a:lnTo>
                    <a:pt x="171" y="543"/>
                  </a:lnTo>
                  <a:lnTo>
                    <a:pt x="168" y="543"/>
                  </a:lnTo>
                  <a:lnTo>
                    <a:pt x="165" y="543"/>
                  </a:lnTo>
                  <a:lnTo>
                    <a:pt x="165" y="546"/>
                  </a:lnTo>
                  <a:lnTo>
                    <a:pt x="159" y="552"/>
                  </a:lnTo>
                  <a:lnTo>
                    <a:pt x="159" y="558"/>
                  </a:lnTo>
                  <a:lnTo>
                    <a:pt x="156" y="567"/>
                  </a:lnTo>
                  <a:lnTo>
                    <a:pt x="153" y="570"/>
                  </a:lnTo>
                  <a:lnTo>
                    <a:pt x="150" y="573"/>
                  </a:lnTo>
                  <a:lnTo>
                    <a:pt x="147" y="573"/>
                  </a:lnTo>
                  <a:lnTo>
                    <a:pt x="144" y="576"/>
                  </a:lnTo>
                  <a:lnTo>
                    <a:pt x="138" y="570"/>
                  </a:lnTo>
                  <a:lnTo>
                    <a:pt x="135" y="570"/>
                  </a:lnTo>
                  <a:lnTo>
                    <a:pt x="129" y="570"/>
                  </a:lnTo>
                  <a:lnTo>
                    <a:pt x="129" y="573"/>
                  </a:lnTo>
                  <a:lnTo>
                    <a:pt x="129" y="582"/>
                  </a:lnTo>
                  <a:lnTo>
                    <a:pt x="126" y="582"/>
                  </a:lnTo>
                  <a:lnTo>
                    <a:pt x="123" y="582"/>
                  </a:lnTo>
                  <a:lnTo>
                    <a:pt x="123" y="585"/>
                  </a:lnTo>
                  <a:lnTo>
                    <a:pt x="120" y="585"/>
                  </a:lnTo>
                  <a:lnTo>
                    <a:pt x="120" y="588"/>
                  </a:lnTo>
                  <a:lnTo>
                    <a:pt x="123" y="591"/>
                  </a:lnTo>
                  <a:lnTo>
                    <a:pt x="120" y="594"/>
                  </a:lnTo>
                  <a:lnTo>
                    <a:pt x="114" y="600"/>
                  </a:lnTo>
                  <a:lnTo>
                    <a:pt x="114" y="609"/>
                  </a:lnTo>
                  <a:lnTo>
                    <a:pt x="108" y="606"/>
                  </a:lnTo>
                  <a:lnTo>
                    <a:pt x="108" y="603"/>
                  </a:lnTo>
                  <a:lnTo>
                    <a:pt x="108" y="600"/>
                  </a:lnTo>
                  <a:lnTo>
                    <a:pt x="105" y="600"/>
                  </a:lnTo>
                  <a:lnTo>
                    <a:pt x="105" y="597"/>
                  </a:lnTo>
                  <a:lnTo>
                    <a:pt x="105" y="594"/>
                  </a:lnTo>
                  <a:lnTo>
                    <a:pt x="102" y="594"/>
                  </a:lnTo>
                  <a:lnTo>
                    <a:pt x="102" y="591"/>
                  </a:lnTo>
                  <a:lnTo>
                    <a:pt x="102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96" y="585"/>
                  </a:lnTo>
                  <a:lnTo>
                    <a:pt x="96" y="582"/>
                  </a:lnTo>
                  <a:lnTo>
                    <a:pt x="93" y="576"/>
                  </a:lnTo>
                  <a:lnTo>
                    <a:pt x="93" y="573"/>
                  </a:lnTo>
                  <a:lnTo>
                    <a:pt x="90" y="570"/>
                  </a:lnTo>
                  <a:lnTo>
                    <a:pt x="90" y="567"/>
                  </a:lnTo>
                  <a:lnTo>
                    <a:pt x="90" y="564"/>
                  </a:lnTo>
                  <a:lnTo>
                    <a:pt x="87" y="561"/>
                  </a:lnTo>
                  <a:lnTo>
                    <a:pt x="84" y="561"/>
                  </a:lnTo>
                  <a:lnTo>
                    <a:pt x="84" y="558"/>
                  </a:lnTo>
                  <a:lnTo>
                    <a:pt x="84" y="555"/>
                  </a:lnTo>
                  <a:lnTo>
                    <a:pt x="81" y="555"/>
                  </a:lnTo>
                  <a:lnTo>
                    <a:pt x="81" y="552"/>
                  </a:lnTo>
                  <a:lnTo>
                    <a:pt x="81" y="549"/>
                  </a:lnTo>
                  <a:lnTo>
                    <a:pt x="78" y="546"/>
                  </a:lnTo>
                  <a:lnTo>
                    <a:pt x="78" y="543"/>
                  </a:lnTo>
                  <a:lnTo>
                    <a:pt x="75" y="540"/>
                  </a:lnTo>
                  <a:lnTo>
                    <a:pt x="75" y="537"/>
                  </a:lnTo>
                  <a:lnTo>
                    <a:pt x="72" y="534"/>
                  </a:lnTo>
                  <a:lnTo>
                    <a:pt x="72" y="531"/>
                  </a:lnTo>
                  <a:lnTo>
                    <a:pt x="69" y="528"/>
                  </a:lnTo>
                  <a:lnTo>
                    <a:pt x="69" y="525"/>
                  </a:lnTo>
                  <a:lnTo>
                    <a:pt x="66" y="522"/>
                  </a:lnTo>
                  <a:lnTo>
                    <a:pt x="66" y="519"/>
                  </a:lnTo>
                  <a:lnTo>
                    <a:pt x="66" y="516"/>
                  </a:lnTo>
                  <a:lnTo>
                    <a:pt x="66" y="513"/>
                  </a:lnTo>
                  <a:lnTo>
                    <a:pt x="63" y="513"/>
                  </a:lnTo>
                  <a:lnTo>
                    <a:pt x="63" y="510"/>
                  </a:lnTo>
                  <a:lnTo>
                    <a:pt x="63" y="507"/>
                  </a:lnTo>
                  <a:lnTo>
                    <a:pt x="60" y="507"/>
                  </a:lnTo>
                  <a:lnTo>
                    <a:pt x="60" y="504"/>
                  </a:lnTo>
                  <a:lnTo>
                    <a:pt x="60" y="501"/>
                  </a:lnTo>
                  <a:lnTo>
                    <a:pt x="60" y="498"/>
                  </a:lnTo>
                  <a:lnTo>
                    <a:pt x="60" y="495"/>
                  </a:lnTo>
                  <a:lnTo>
                    <a:pt x="57" y="495"/>
                  </a:lnTo>
                  <a:lnTo>
                    <a:pt x="57" y="492"/>
                  </a:lnTo>
                  <a:lnTo>
                    <a:pt x="60" y="492"/>
                  </a:lnTo>
                  <a:lnTo>
                    <a:pt x="57" y="489"/>
                  </a:lnTo>
                  <a:lnTo>
                    <a:pt x="57" y="486"/>
                  </a:lnTo>
                  <a:lnTo>
                    <a:pt x="54" y="486"/>
                  </a:lnTo>
                  <a:lnTo>
                    <a:pt x="54" y="483"/>
                  </a:lnTo>
                  <a:lnTo>
                    <a:pt x="54" y="480"/>
                  </a:lnTo>
                  <a:lnTo>
                    <a:pt x="54" y="477"/>
                  </a:lnTo>
                  <a:lnTo>
                    <a:pt x="51" y="477"/>
                  </a:lnTo>
                  <a:lnTo>
                    <a:pt x="51" y="474"/>
                  </a:lnTo>
                  <a:lnTo>
                    <a:pt x="51" y="471"/>
                  </a:lnTo>
                  <a:lnTo>
                    <a:pt x="51" y="468"/>
                  </a:lnTo>
                  <a:lnTo>
                    <a:pt x="51" y="465"/>
                  </a:lnTo>
                  <a:lnTo>
                    <a:pt x="51" y="462"/>
                  </a:lnTo>
                  <a:lnTo>
                    <a:pt x="48" y="462"/>
                  </a:lnTo>
                  <a:lnTo>
                    <a:pt x="48" y="459"/>
                  </a:lnTo>
                  <a:lnTo>
                    <a:pt x="48" y="456"/>
                  </a:lnTo>
                  <a:lnTo>
                    <a:pt x="45" y="453"/>
                  </a:lnTo>
                  <a:lnTo>
                    <a:pt x="45" y="450"/>
                  </a:lnTo>
                  <a:lnTo>
                    <a:pt x="45" y="447"/>
                  </a:lnTo>
                  <a:lnTo>
                    <a:pt x="45" y="444"/>
                  </a:lnTo>
                  <a:lnTo>
                    <a:pt x="42" y="441"/>
                  </a:lnTo>
                  <a:lnTo>
                    <a:pt x="42" y="438"/>
                  </a:lnTo>
                  <a:lnTo>
                    <a:pt x="42" y="435"/>
                  </a:lnTo>
                  <a:lnTo>
                    <a:pt x="39" y="432"/>
                  </a:lnTo>
                  <a:lnTo>
                    <a:pt x="39" y="429"/>
                  </a:lnTo>
                  <a:lnTo>
                    <a:pt x="36" y="429"/>
                  </a:lnTo>
                  <a:lnTo>
                    <a:pt x="36" y="426"/>
                  </a:lnTo>
                  <a:lnTo>
                    <a:pt x="36" y="423"/>
                  </a:lnTo>
                  <a:lnTo>
                    <a:pt x="33" y="420"/>
                  </a:lnTo>
                  <a:lnTo>
                    <a:pt x="33" y="417"/>
                  </a:lnTo>
                  <a:lnTo>
                    <a:pt x="33" y="414"/>
                  </a:lnTo>
                  <a:lnTo>
                    <a:pt x="30" y="411"/>
                  </a:lnTo>
                  <a:lnTo>
                    <a:pt x="30" y="408"/>
                  </a:lnTo>
                  <a:lnTo>
                    <a:pt x="30" y="405"/>
                  </a:lnTo>
                  <a:lnTo>
                    <a:pt x="27" y="405"/>
                  </a:lnTo>
                  <a:lnTo>
                    <a:pt x="27" y="402"/>
                  </a:lnTo>
                  <a:lnTo>
                    <a:pt x="24" y="402"/>
                  </a:lnTo>
                  <a:lnTo>
                    <a:pt x="24" y="399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18" y="390"/>
                  </a:lnTo>
                  <a:lnTo>
                    <a:pt x="18" y="387"/>
                  </a:lnTo>
                  <a:lnTo>
                    <a:pt x="15" y="387"/>
                  </a:lnTo>
                  <a:lnTo>
                    <a:pt x="12" y="387"/>
                  </a:lnTo>
                  <a:lnTo>
                    <a:pt x="12" y="384"/>
                  </a:lnTo>
                  <a:lnTo>
                    <a:pt x="12" y="381"/>
                  </a:lnTo>
                  <a:lnTo>
                    <a:pt x="12" y="378"/>
                  </a:lnTo>
                  <a:lnTo>
                    <a:pt x="9" y="378"/>
                  </a:lnTo>
                  <a:lnTo>
                    <a:pt x="9" y="375"/>
                  </a:lnTo>
                  <a:lnTo>
                    <a:pt x="9" y="372"/>
                  </a:lnTo>
                  <a:lnTo>
                    <a:pt x="9" y="369"/>
                  </a:lnTo>
                  <a:lnTo>
                    <a:pt x="6" y="369"/>
                  </a:lnTo>
                  <a:lnTo>
                    <a:pt x="3" y="366"/>
                  </a:lnTo>
                  <a:lnTo>
                    <a:pt x="3" y="363"/>
                  </a:lnTo>
                  <a:lnTo>
                    <a:pt x="0" y="363"/>
                  </a:lnTo>
                  <a:lnTo>
                    <a:pt x="0" y="360"/>
                  </a:lnTo>
                  <a:lnTo>
                    <a:pt x="0" y="357"/>
                  </a:lnTo>
                  <a:lnTo>
                    <a:pt x="3" y="357"/>
                  </a:lnTo>
                  <a:lnTo>
                    <a:pt x="3" y="354"/>
                  </a:lnTo>
                  <a:lnTo>
                    <a:pt x="6" y="354"/>
                  </a:lnTo>
                  <a:lnTo>
                    <a:pt x="9" y="354"/>
                  </a:lnTo>
                  <a:lnTo>
                    <a:pt x="12" y="354"/>
                  </a:lnTo>
                  <a:lnTo>
                    <a:pt x="12" y="351"/>
                  </a:lnTo>
                  <a:lnTo>
                    <a:pt x="15" y="351"/>
                  </a:lnTo>
                  <a:lnTo>
                    <a:pt x="15" y="348"/>
                  </a:lnTo>
                  <a:lnTo>
                    <a:pt x="18" y="348"/>
                  </a:lnTo>
                  <a:lnTo>
                    <a:pt x="21" y="348"/>
                  </a:lnTo>
                  <a:lnTo>
                    <a:pt x="24" y="348"/>
                  </a:lnTo>
                  <a:lnTo>
                    <a:pt x="24" y="345"/>
                  </a:lnTo>
                  <a:lnTo>
                    <a:pt x="27" y="345"/>
                  </a:lnTo>
                  <a:lnTo>
                    <a:pt x="27" y="342"/>
                  </a:lnTo>
                  <a:lnTo>
                    <a:pt x="27" y="339"/>
                  </a:lnTo>
                  <a:lnTo>
                    <a:pt x="30" y="336"/>
                  </a:lnTo>
                  <a:lnTo>
                    <a:pt x="27" y="336"/>
                  </a:lnTo>
                  <a:lnTo>
                    <a:pt x="27" y="333"/>
                  </a:lnTo>
                  <a:lnTo>
                    <a:pt x="24" y="330"/>
                  </a:lnTo>
                  <a:lnTo>
                    <a:pt x="24" y="327"/>
                  </a:lnTo>
                  <a:lnTo>
                    <a:pt x="27" y="327"/>
                  </a:lnTo>
                  <a:lnTo>
                    <a:pt x="30" y="327"/>
                  </a:lnTo>
                  <a:lnTo>
                    <a:pt x="30" y="324"/>
                  </a:lnTo>
                  <a:lnTo>
                    <a:pt x="30" y="321"/>
                  </a:lnTo>
                  <a:lnTo>
                    <a:pt x="30" y="324"/>
                  </a:lnTo>
                  <a:lnTo>
                    <a:pt x="33" y="324"/>
                  </a:lnTo>
                  <a:lnTo>
                    <a:pt x="33" y="321"/>
                  </a:lnTo>
                  <a:lnTo>
                    <a:pt x="30" y="318"/>
                  </a:lnTo>
                  <a:lnTo>
                    <a:pt x="33" y="318"/>
                  </a:lnTo>
                  <a:lnTo>
                    <a:pt x="36" y="318"/>
                  </a:lnTo>
                  <a:lnTo>
                    <a:pt x="36" y="315"/>
                  </a:lnTo>
                  <a:lnTo>
                    <a:pt x="36" y="312"/>
                  </a:lnTo>
                  <a:lnTo>
                    <a:pt x="36" y="309"/>
                  </a:lnTo>
                  <a:lnTo>
                    <a:pt x="39" y="309"/>
                  </a:lnTo>
                  <a:lnTo>
                    <a:pt x="42" y="309"/>
                  </a:lnTo>
                  <a:lnTo>
                    <a:pt x="45" y="309"/>
                  </a:lnTo>
                  <a:lnTo>
                    <a:pt x="48" y="309"/>
                  </a:lnTo>
                  <a:lnTo>
                    <a:pt x="48" y="306"/>
                  </a:lnTo>
                  <a:lnTo>
                    <a:pt x="51" y="306"/>
                  </a:lnTo>
                  <a:lnTo>
                    <a:pt x="54" y="306"/>
                  </a:lnTo>
                  <a:lnTo>
                    <a:pt x="54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60" y="312"/>
                  </a:lnTo>
                  <a:lnTo>
                    <a:pt x="63" y="312"/>
                  </a:lnTo>
                  <a:lnTo>
                    <a:pt x="63" y="315"/>
                  </a:lnTo>
                  <a:lnTo>
                    <a:pt x="60" y="318"/>
                  </a:lnTo>
                  <a:lnTo>
                    <a:pt x="60" y="321"/>
                  </a:lnTo>
                  <a:lnTo>
                    <a:pt x="60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6" y="327"/>
                  </a:lnTo>
                  <a:lnTo>
                    <a:pt x="66" y="324"/>
                  </a:lnTo>
                  <a:lnTo>
                    <a:pt x="69" y="324"/>
                  </a:lnTo>
                  <a:lnTo>
                    <a:pt x="72" y="324"/>
                  </a:lnTo>
                  <a:lnTo>
                    <a:pt x="75" y="324"/>
                  </a:lnTo>
                  <a:lnTo>
                    <a:pt x="75" y="327"/>
                  </a:lnTo>
                  <a:lnTo>
                    <a:pt x="75" y="330"/>
                  </a:lnTo>
                  <a:lnTo>
                    <a:pt x="78" y="330"/>
                  </a:lnTo>
                  <a:lnTo>
                    <a:pt x="78" y="333"/>
                  </a:lnTo>
                  <a:lnTo>
                    <a:pt x="78" y="336"/>
                  </a:lnTo>
                  <a:lnTo>
                    <a:pt x="81" y="336"/>
                  </a:lnTo>
                  <a:lnTo>
                    <a:pt x="81" y="339"/>
                  </a:lnTo>
                  <a:lnTo>
                    <a:pt x="78" y="339"/>
                  </a:lnTo>
                  <a:lnTo>
                    <a:pt x="78" y="342"/>
                  </a:lnTo>
                  <a:lnTo>
                    <a:pt x="75" y="345"/>
                  </a:lnTo>
                  <a:lnTo>
                    <a:pt x="72" y="348"/>
                  </a:lnTo>
                  <a:lnTo>
                    <a:pt x="75" y="351"/>
                  </a:lnTo>
                  <a:lnTo>
                    <a:pt x="78" y="354"/>
                  </a:lnTo>
                  <a:lnTo>
                    <a:pt x="78" y="357"/>
                  </a:lnTo>
                  <a:lnTo>
                    <a:pt x="81" y="357"/>
                  </a:lnTo>
                  <a:lnTo>
                    <a:pt x="81" y="360"/>
                  </a:lnTo>
                  <a:lnTo>
                    <a:pt x="81" y="363"/>
                  </a:lnTo>
                  <a:lnTo>
                    <a:pt x="81" y="366"/>
                  </a:lnTo>
                  <a:lnTo>
                    <a:pt x="81" y="369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84" y="369"/>
                  </a:lnTo>
                  <a:lnTo>
                    <a:pt x="87" y="369"/>
                  </a:lnTo>
                  <a:lnTo>
                    <a:pt x="90" y="369"/>
                  </a:lnTo>
                  <a:lnTo>
                    <a:pt x="93" y="366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72"/>
                  </a:lnTo>
                  <a:lnTo>
                    <a:pt x="96" y="375"/>
                  </a:lnTo>
                  <a:lnTo>
                    <a:pt x="99" y="375"/>
                  </a:lnTo>
                  <a:lnTo>
                    <a:pt x="102" y="375"/>
                  </a:lnTo>
                  <a:lnTo>
                    <a:pt x="105" y="372"/>
                  </a:lnTo>
                  <a:lnTo>
                    <a:pt x="105" y="375"/>
                  </a:lnTo>
                  <a:lnTo>
                    <a:pt x="108" y="375"/>
                  </a:lnTo>
                  <a:lnTo>
                    <a:pt x="108" y="372"/>
                  </a:lnTo>
                  <a:lnTo>
                    <a:pt x="111" y="375"/>
                  </a:lnTo>
                  <a:lnTo>
                    <a:pt x="114" y="375"/>
                  </a:lnTo>
                  <a:lnTo>
                    <a:pt x="117" y="375"/>
                  </a:lnTo>
                  <a:lnTo>
                    <a:pt x="120" y="375"/>
                  </a:lnTo>
                  <a:lnTo>
                    <a:pt x="123" y="375"/>
                  </a:lnTo>
                  <a:lnTo>
                    <a:pt x="123" y="378"/>
                  </a:lnTo>
                  <a:lnTo>
                    <a:pt x="126" y="378"/>
                  </a:lnTo>
                  <a:lnTo>
                    <a:pt x="129" y="378"/>
                  </a:lnTo>
                  <a:lnTo>
                    <a:pt x="129" y="381"/>
                  </a:lnTo>
                  <a:lnTo>
                    <a:pt x="132" y="381"/>
                  </a:lnTo>
                  <a:lnTo>
                    <a:pt x="132" y="384"/>
                  </a:lnTo>
                  <a:lnTo>
                    <a:pt x="135" y="387"/>
                  </a:lnTo>
                  <a:lnTo>
                    <a:pt x="135" y="384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41" y="387"/>
                  </a:lnTo>
                  <a:lnTo>
                    <a:pt x="144" y="387"/>
                  </a:lnTo>
                  <a:lnTo>
                    <a:pt x="144" y="390"/>
                  </a:lnTo>
                  <a:lnTo>
                    <a:pt x="147" y="390"/>
                  </a:lnTo>
                  <a:lnTo>
                    <a:pt x="147" y="387"/>
                  </a:lnTo>
                  <a:lnTo>
                    <a:pt x="150" y="387"/>
                  </a:lnTo>
                  <a:lnTo>
                    <a:pt x="153" y="387"/>
                  </a:lnTo>
                  <a:lnTo>
                    <a:pt x="156" y="387"/>
                  </a:lnTo>
                  <a:lnTo>
                    <a:pt x="159" y="387"/>
                  </a:lnTo>
                  <a:lnTo>
                    <a:pt x="162" y="387"/>
                  </a:lnTo>
                  <a:lnTo>
                    <a:pt x="165" y="387"/>
                  </a:lnTo>
                  <a:lnTo>
                    <a:pt x="168" y="387"/>
                  </a:lnTo>
                  <a:lnTo>
                    <a:pt x="171" y="387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7" y="384"/>
                  </a:lnTo>
                  <a:lnTo>
                    <a:pt x="180" y="384"/>
                  </a:lnTo>
                  <a:lnTo>
                    <a:pt x="183" y="384"/>
                  </a:lnTo>
                  <a:lnTo>
                    <a:pt x="186" y="384"/>
                  </a:lnTo>
                  <a:lnTo>
                    <a:pt x="189" y="381"/>
                  </a:lnTo>
                  <a:lnTo>
                    <a:pt x="192" y="381"/>
                  </a:lnTo>
                  <a:lnTo>
                    <a:pt x="195" y="384"/>
                  </a:lnTo>
                  <a:lnTo>
                    <a:pt x="198" y="384"/>
                  </a:lnTo>
                  <a:lnTo>
                    <a:pt x="201" y="384"/>
                  </a:lnTo>
                  <a:lnTo>
                    <a:pt x="204" y="384"/>
                  </a:lnTo>
                  <a:lnTo>
                    <a:pt x="207" y="384"/>
                  </a:lnTo>
                  <a:lnTo>
                    <a:pt x="210" y="384"/>
                  </a:lnTo>
                  <a:lnTo>
                    <a:pt x="210" y="387"/>
                  </a:lnTo>
                  <a:lnTo>
                    <a:pt x="213" y="387"/>
                  </a:lnTo>
                  <a:lnTo>
                    <a:pt x="213" y="390"/>
                  </a:lnTo>
                  <a:lnTo>
                    <a:pt x="216" y="390"/>
                  </a:lnTo>
                  <a:lnTo>
                    <a:pt x="216" y="393"/>
                  </a:lnTo>
                  <a:lnTo>
                    <a:pt x="219" y="393"/>
                  </a:lnTo>
                  <a:lnTo>
                    <a:pt x="222" y="393"/>
                  </a:lnTo>
                  <a:lnTo>
                    <a:pt x="222" y="396"/>
                  </a:lnTo>
                  <a:lnTo>
                    <a:pt x="225" y="396"/>
                  </a:lnTo>
                  <a:lnTo>
                    <a:pt x="225" y="393"/>
                  </a:lnTo>
                  <a:lnTo>
                    <a:pt x="228" y="393"/>
                  </a:lnTo>
                  <a:lnTo>
                    <a:pt x="231" y="393"/>
                  </a:lnTo>
                  <a:lnTo>
                    <a:pt x="231" y="390"/>
                  </a:lnTo>
                  <a:lnTo>
                    <a:pt x="234" y="390"/>
                  </a:lnTo>
                  <a:lnTo>
                    <a:pt x="237" y="390"/>
                  </a:lnTo>
                  <a:lnTo>
                    <a:pt x="237" y="387"/>
                  </a:lnTo>
                  <a:lnTo>
                    <a:pt x="234" y="384"/>
                  </a:lnTo>
                  <a:lnTo>
                    <a:pt x="234" y="381"/>
                  </a:lnTo>
                  <a:lnTo>
                    <a:pt x="234" y="378"/>
                  </a:lnTo>
                  <a:lnTo>
                    <a:pt x="234" y="375"/>
                  </a:lnTo>
                  <a:lnTo>
                    <a:pt x="237" y="372"/>
                  </a:lnTo>
                  <a:lnTo>
                    <a:pt x="240" y="372"/>
                  </a:lnTo>
                  <a:lnTo>
                    <a:pt x="243" y="372"/>
                  </a:lnTo>
                  <a:lnTo>
                    <a:pt x="243" y="375"/>
                  </a:lnTo>
                  <a:lnTo>
                    <a:pt x="243" y="372"/>
                  </a:lnTo>
                  <a:lnTo>
                    <a:pt x="246" y="372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52" y="369"/>
                  </a:lnTo>
                  <a:lnTo>
                    <a:pt x="255" y="369"/>
                  </a:lnTo>
                  <a:lnTo>
                    <a:pt x="255" y="366"/>
                  </a:lnTo>
                  <a:lnTo>
                    <a:pt x="255" y="363"/>
                  </a:lnTo>
                  <a:lnTo>
                    <a:pt x="255" y="360"/>
                  </a:lnTo>
                  <a:lnTo>
                    <a:pt x="258" y="360"/>
                  </a:lnTo>
                  <a:lnTo>
                    <a:pt x="258" y="357"/>
                  </a:lnTo>
                  <a:lnTo>
                    <a:pt x="258" y="354"/>
                  </a:lnTo>
                  <a:lnTo>
                    <a:pt x="261" y="354"/>
                  </a:lnTo>
                  <a:lnTo>
                    <a:pt x="261" y="351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70" y="354"/>
                  </a:lnTo>
                  <a:lnTo>
                    <a:pt x="270" y="351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6" y="348"/>
                  </a:lnTo>
                  <a:lnTo>
                    <a:pt x="276" y="351"/>
                  </a:lnTo>
                  <a:lnTo>
                    <a:pt x="279" y="351"/>
                  </a:lnTo>
                  <a:lnTo>
                    <a:pt x="282" y="351"/>
                  </a:lnTo>
                  <a:lnTo>
                    <a:pt x="282" y="348"/>
                  </a:lnTo>
                  <a:lnTo>
                    <a:pt x="285" y="345"/>
                  </a:lnTo>
                  <a:lnTo>
                    <a:pt x="288" y="345"/>
                  </a:lnTo>
                  <a:lnTo>
                    <a:pt x="291" y="345"/>
                  </a:lnTo>
                  <a:lnTo>
                    <a:pt x="294" y="345"/>
                  </a:lnTo>
                  <a:lnTo>
                    <a:pt x="294" y="342"/>
                  </a:lnTo>
                  <a:lnTo>
                    <a:pt x="297" y="342"/>
                  </a:lnTo>
                  <a:lnTo>
                    <a:pt x="297" y="0"/>
                  </a:lnTo>
                  <a:lnTo>
                    <a:pt x="300" y="3"/>
                  </a:lnTo>
                  <a:lnTo>
                    <a:pt x="300" y="6"/>
                  </a:lnTo>
                  <a:lnTo>
                    <a:pt x="303" y="6"/>
                  </a:lnTo>
                  <a:lnTo>
                    <a:pt x="306" y="6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2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4" y="21"/>
                  </a:lnTo>
                  <a:lnTo>
                    <a:pt x="324" y="24"/>
                  </a:lnTo>
                  <a:lnTo>
                    <a:pt x="327" y="24"/>
                  </a:lnTo>
                  <a:lnTo>
                    <a:pt x="330" y="24"/>
                  </a:lnTo>
                  <a:lnTo>
                    <a:pt x="330" y="27"/>
                  </a:lnTo>
                  <a:lnTo>
                    <a:pt x="330" y="30"/>
                  </a:lnTo>
                  <a:lnTo>
                    <a:pt x="333" y="30"/>
                  </a:lnTo>
                  <a:lnTo>
                    <a:pt x="333" y="33"/>
                  </a:lnTo>
                  <a:lnTo>
                    <a:pt x="333" y="36"/>
                  </a:lnTo>
                  <a:lnTo>
                    <a:pt x="336" y="36"/>
                  </a:lnTo>
                  <a:lnTo>
                    <a:pt x="336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6" y="42"/>
                  </a:lnTo>
                  <a:lnTo>
                    <a:pt x="339" y="42"/>
                  </a:lnTo>
                  <a:lnTo>
                    <a:pt x="339" y="45"/>
                  </a:lnTo>
                  <a:lnTo>
                    <a:pt x="339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42" y="51"/>
                  </a:lnTo>
                </a:path>
              </a:pathLst>
            </a:custGeom>
            <a:solidFill>
              <a:srgbClr val="FF0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7" name="Freeform 32">
              <a:extLst>
                <a:ext uri="{FF2B5EF4-FFF2-40B4-BE49-F238E27FC236}">
                  <a16:creationId xmlns:a16="http://schemas.microsoft.com/office/drawing/2014/main" id="{172360CD-C462-435D-9AE8-072D2ABEA18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21063" y="2778125"/>
              <a:ext cx="347662" cy="288925"/>
            </a:xfrm>
            <a:custGeom>
              <a:avLst/>
              <a:gdLst>
                <a:gd name="T0" fmla="*/ 0 w 177"/>
                <a:gd name="T1" fmla="*/ 11793 h 147"/>
                <a:gd name="T2" fmla="*/ 5893 w 177"/>
                <a:gd name="T3" fmla="*/ 11793 h 147"/>
                <a:gd name="T4" fmla="*/ 11785 w 177"/>
                <a:gd name="T5" fmla="*/ 23586 h 147"/>
                <a:gd name="T6" fmla="*/ 11785 w 177"/>
                <a:gd name="T7" fmla="*/ 23586 h 147"/>
                <a:gd name="T8" fmla="*/ 17678 w 177"/>
                <a:gd name="T9" fmla="*/ 23586 h 147"/>
                <a:gd name="T10" fmla="*/ 17678 w 177"/>
                <a:gd name="T11" fmla="*/ 29482 h 147"/>
                <a:gd name="T12" fmla="*/ 23570 w 177"/>
                <a:gd name="T13" fmla="*/ 41275 h 147"/>
                <a:gd name="T14" fmla="*/ 23570 w 177"/>
                <a:gd name="T15" fmla="*/ 53068 h 147"/>
                <a:gd name="T16" fmla="*/ 23570 w 177"/>
                <a:gd name="T17" fmla="*/ 58964 h 147"/>
                <a:gd name="T18" fmla="*/ 29463 w 177"/>
                <a:gd name="T19" fmla="*/ 70757 h 147"/>
                <a:gd name="T20" fmla="*/ 35355 w 177"/>
                <a:gd name="T21" fmla="*/ 82550 h 147"/>
                <a:gd name="T22" fmla="*/ 41248 w 177"/>
                <a:gd name="T23" fmla="*/ 88446 h 147"/>
                <a:gd name="T24" fmla="*/ 47141 w 177"/>
                <a:gd name="T25" fmla="*/ 100239 h 147"/>
                <a:gd name="T26" fmla="*/ 41248 w 177"/>
                <a:gd name="T27" fmla="*/ 112032 h 147"/>
                <a:gd name="T28" fmla="*/ 47141 w 177"/>
                <a:gd name="T29" fmla="*/ 123825 h 147"/>
                <a:gd name="T30" fmla="*/ 47141 w 177"/>
                <a:gd name="T31" fmla="*/ 141514 h 147"/>
                <a:gd name="T32" fmla="*/ 53033 w 177"/>
                <a:gd name="T33" fmla="*/ 153307 h 147"/>
                <a:gd name="T34" fmla="*/ 47141 w 177"/>
                <a:gd name="T35" fmla="*/ 165100 h 147"/>
                <a:gd name="T36" fmla="*/ 35355 w 177"/>
                <a:gd name="T37" fmla="*/ 176893 h 147"/>
                <a:gd name="T38" fmla="*/ 29463 w 177"/>
                <a:gd name="T39" fmla="*/ 188686 h 147"/>
                <a:gd name="T40" fmla="*/ 23570 w 177"/>
                <a:gd name="T41" fmla="*/ 200479 h 147"/>
                <a:gd name="T42" fmla="*/ 11785 w 177"/>
                <a:gd name="T43" fmla="*/ 212271 h 147"/>
                <a:gd name="T44" fmla="*/ 11785 w 177"/>
                <a:gd name="T45" fmla="*/ 229961 h 147"/>
                <a:gd name="T46" fmla="*/ 17678 w 177"/>
                <a:gd name="T47" fmla="*/ 241754 h 147"/>
                <a:gd name="T48" fmla="*/ 11785 w 177"/>
                <a:gd name="T49" fmla="*/ 253546 h 147"/>
                <a:gd name="T50" fmla="*/ 11785 w 177"/>
                <a:gd name="T51" fmla="*/ 265339 h 147"/>
                <a:gd name="T52" fmla="*/ 23570 w 177"/>
                <a:gd name="T53" fmla="*/ 277132 h 147"/>
                <a:gd name="T54" fmla="*/ 29463 w 177"/>
                <a:gd name="T55" fmla="*/ 288925 h 147"/>
                <a:gd name="T56" fmla="*/ 41248 w 177"/>
                <a:gd name="T57" fmla="*/ 283029 h 147"/>
                <a:gd name="T58" fmla="*/ 47141 w 177"/>
                <a:gd name="T59" fmla="*/ 271236 h 147"/>
                <a:gd name="T60" fmla="*/ 64818 w 177"/>
                <a:gd name="T61" fmla="*/ 271236 h 147"/>
                <a:gd name="T62" fmla="*/ 82496 w 177"/>
                <a:gd name="T63" fmla="*/ 277132 h 147"/>
                <a:gd name="T64" fmla="*/ 94281 w 177"/>
                <a:gd name="T65" fmla="*/ 283029 h 147"/>
                <a:gd name="T66" fmla="*/ 111959 w 177"/>
                <a:gd name="T67" fmla="*/ 277132 h 147"/>
                <a:gd name="T68" fmla="*/ 129637 w 177"/>
                <a:gd name="T69" fmla="*/ 277132 h 147"/>
                <a:gd name="T70" fmla="*/ 147314 w 177"/>
                <a:gd name="T71" fmla="*/ 277132 h 147"/>
                <a:gd name="T72" fmla="*/ 159100 w 177"/>
                <a:gd name="T73" fmla="*/ 283029 h 147"/>
                <a:gd name="T74" fmla="*/ 170885 w 177"/>
                <a:gd name="T75" fmla="*/ 277132 h 147"/>
                <a:gd name="T76" fmla="*/ 182670 w 177"/>
                <a:gd name="T77" fmla="*/ 283029 h 147"/>
                <a:gd name="T78" fmla="*/ 194455 w 177"/>
                <a:gd name="T79" fmla="*/ 277132 h 147"/>
                <a:gd name="T80" fmla="*/ 206240 w 177"/>
                <a:gd name="T81" fmla="*/ 271236 h 147"/>
                <a:gd name="T82" fmla="*/ 206240 w 177"/>
                <a:gd name="T83" fmla="*/ 253546 h 147"/>
                <a:gd name="T84" fmla="*/ 212133 w 177"/>
                <a:gd name="T85" fmla="*/ 247650 h 147"/>
                <a:gd name="T86" fmla="*/ 218025 w 177"/>
                <a:gd name="T87" fmla="*/ 247650 h 147"/>
                <a:gd name="T88" fmla="*/ 235703 w 177"/>
                <a:gd name="T89" fmla="*/ 247650 h 147"/>
                <a:gd name="T90" fmla="*/ 247488 w 177"/>
                <a:gd name="T91" fmla="*/ 241754 h 147"/>
                <a:gd name="T92" fmla="*/ 259273 w 177"/>
                <a:gd name="T93" fmla="*/ 229961 h 147"/>
                <a:gd name="T94" fmla="*/ 265166 w 177"/>
                <a:gd name="T95" fmla="*/ 218168 h 147"/>
                <a:gd name="T96" fmla="*/ 271059 w 177"/>
                <a:gd name="T97" fmla="*/ 212271 h 147"/>
                <a:gd name="T98" fmla="*/ 271059 w 177"/>
                <a:gd name="T99" fmla="*/ 194582 h 147"/>
                <a:gd name="T100" fmla="*/ 288736 w 177"/>
                <a:gd name="T101" fmla="*/ 188686 h 147"/>
                <a:gd name="T102" fmla="*/ 294629 w 177"/>
                <a:gd name="T103" fmla="*/ 188686 h 147"/>
                <a:gd name="T104" fmla="*/ 300521 w 177"/>
                <a:gd name="T105" fmla="*/ 176893 h 147"/>
                <a:gd name="T106" fmla="*/ 306414 w 177"/>
                <a:gd name="T107" fmla="*/ 165100 h 147"/>
                <a:gd name="T108" fmla="*/ 318199 w 177"/>
                <a:gd name="T109" fmla="*/ 159204 h 147"/>
                <a:gd name="T110" fmla="*/ 335877 w 177"/>
                <a:gd name="T111" fmla="*/ 165100 h 147"/>
                <a:gd name="T112" fmla="*/ 335877 w 177"/>
                <a:gd name="T113" fmla="*/ 147411 h 147"/>
                <a:gd name="T114" fmla="*/ 347662 w 177"/>
                <a:gd name="T115" fmla="*/ 147411 h 1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77" h="147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9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9" y="15"/>
                  </a:lnTo>
                  <a:lnTo>
                    <a:pt x="9" y="18"/>
                  </a:lnTo>
                  <a:lnTo>
                    <a:pt x="9" y="21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5" y="27"/>
                  </a:lnTo>
                  <a:lnTo>
                    <a:pt x="12" y="27"/>
                  </a:lnTo>
                  <a:lnTo>
                    <a:pt x="9" y="27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2" y="36"/>
                  </a:lnTo>
                  <a:lnTo>
                    <a:pt x="15" y="36"/>
                  </a:lnTo>
                  <a:lnTo>
                    <a:pt x="15" y="39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1" y="51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1" y="54"/>
                  </a:lnTo>
                  <a:lnTo>
                    <a:pt x="21" y="57"/>
                  </a:lnTo>
                  <a:lnTo>
                    <a:pt x="24" y="57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69"/>
                  </a:lnTo>
                  <a:lnTo>
                    <a:pt x="24" y="72"/>
                  </a:lnTo>
                  <a:lnTo>
                    <a:pt x="24" y="75"/>
                  </a:lnTo>
                  <a:lnTo>
                    <a:pt x="27" y="75"/>
                  </a:lnTo>
                  <a:lnTo>
                    <a:pt x="27" y="78"/>
                  </a:lnTo>
                  <a:lnTo>
                    <a:pt x="24" y="78"/>
                  </a:lnTo>
                  <a:lnTo>
                    <a:pt x="24" y="81"/>
                  </a:lnTo>
                  <a:lnTo>
                    <a:pt x="24" y="84"/>
                  </a:lnTo>
                  <a:lnTo>
                    <a:pt x="21" y="84"/>
                  </a:lnTo>
                  <a:lnTo>
                    <a:pt x="21" y="87"/>
                  </a:lnTo>
                  <a:lnTo>
                    <a:pt x="18" y="90"/>
                  </a:lnTo>
                  <a:lnTo>
                    <a:pt x="18" y="93"/>
                  </a:lnTo>
                  <a:lnTo>
                    <a:pt x="15" y="93"/>
                  </a:lnTo>
                  <a:lnTo>
                    <a:pt x="15" y="96"/>
                  </a:lnTo>
                  <a:lnTo>
                    <a:pt x="15" y="99"/>
                  </a:lnTo>
                  <a:lnTo>
                    <a:pt x="12" y="99"/>
                  </a:lnTo>
                  <a:lnTo>
                    <a:pt x="12" y="102"/>
                  </a:lnTo>
                  <a:lnTo>
                    <a:pt x="9" y="102"/>
                  </a:lnTo>
                  <a:lnTo>
                    <a:pt x="6" y="105"/>
                  </a:lnTo>
                  <a:lnTo>
                    <a:pt x="6" y="108"/>
                  </a:lnTo>
                  <a:lnTo>
                    <a:pt x="6" y="111"/>
                  </a:lnTo>
                  <a:lnTo>
                    <a:pt x="6" y="114"/>
                  </a:lnTo>
                  <a:lnTo>
                    <a:pt x="6" y="117"/>
                  </a:lnTo>
                  <a:lnTo>
                    <a:pt x="9" y="117"/>
                  </a:lnTo>
                  <a:lnTo>
                    <a:pt x="9" y="120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6" y="126"/>
                  </a:lnTo>
                  <a:lnTo>
                    <a:pt x="6" y="129"/>
                  </a:lnTo>
                  <a:lnTo>
                    <a:pt x="9" y="132"/>
                  </a:lnTo>
                  <a:lnTo>
                    <a:pt x="9" y="135"/>
                  </a:lnTo>
                  <a:lnTo>
                    <a:pt x="6" y="135"/>
                  </a:lnTo>
                  <a:lnTo>
                    <a:pt x="9" y="138"/>
                  </a:lnTo>
                  <a:lnTo>
                    <a:pt x="9" y="141"/>
                  </a:lnTo>
                  <a:lnTo>
                    <a:pt x="12" y="141"/>
                  </a:lnTo>
                  <a:lnTo>
                    <a:pt x="12" y="144"/>
                  </a:lnTo>
                  <a:lnTo>
                    <a:pt x="12" y="147"/>
                  </a:lnTo>
                  <a:lnTo>
                    <a:pt x="15" y="147"/>
                  </a:lnTo>
                  <a:lnTo>
                    <a:pt x="15" y="144"/>
                  </a:lnTo>
                  <a:lnTo>
                    <a:pt x="18" y="144"/>
                  </a:lnTo>
                  <a:lnTo>
                    <a:pt x="21" y="144"/>
                  </a:lnTo>
                  <a:lnTo>
                    <a:pt x="21" y="141"/>
                  </a:lnTo>
                  <a:lnTo>
                    <a:pt x="24" y="141"/>
                  </a:lnTo>
                  <a:lnTo>
                    <a:pt x="24" y="138"/>
                  </a:lnTo>
                  <a:lnTo>
                    <a:pt x="27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6" y="138"/>
                  </a:lnTo>
                  <a:lnTo>
                    <a:pt x="39" y="141"/>
                  </a:lnTo>
                  <a:lnTo>
                    <a:pt x="42" y="141"/>
                  </a:lnTo>
                  <a:lnTo>
                    <a:pt x="45" y="144"/>
                  </a:lnTo>
                  <a:lnTo>
                    <a:pt x="45" y="141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4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3" y="141"/>
                  </a:lnTo>
                  <a:lnTo>
                    <a:pt x="66" y="141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8" y="141"/>
                  </a:lnTo>
                  <a:lnTo>
                    <a:pt x="81" y="141"/>
                  </a:lnTo>
                  <a:lnTo>
                    <a:pt x="81" y="144"/>
                  </a:lnTo>
                  <a:lnTo>
                    <a:pt x="84" y="144"/>
                  </a:lnTo>
                  <a:lnTo>
                    <a:pt x="84" y="141"/>
                  </a:lnTo>
                  <a:lnTo>
                    <a:pt x="87" y="141"/>
                  </a:lnTo>
                  <a:lnTo>
                    <a:pt x="90" y="141"/>
                  </a:lnTo>
                  <a:lnTo>
                    <a:pt x="90" y="144"/>
                  </a:lnTo>
                  <a:lnTo>
                    <a:pt x="93" y="144"/>
                  </a:lnTo>
                  <a:lnTo>
                    <a:pt x="96" y="144"/>
                  </a:lnTo>
                  <a:lnTo>
                    <a:pt x="99" y="144"/>
                  </a:lnTo>
                  <a:lnTo>
                    <a:pt x="99" y="141"/>
                  </a:lnTo>
                  <a:lnTo>
                    <a:pt x="102" y="141"/>
                  </a:lnTo>
                  <a:lnTo>
                    <a:pt x="102" y="138"/>
                  </a:lnTo>
                  <a:lnTo>
                    <a:pt x="105" y="138"/>
                  </a:lnTo>
                  <a:lnTo>
                    <a:pt x="105" y="135"/>
                  </a:lnTo>
                  <a:lnTo>
                    <a:pt x="105" y="132"/>
                  </a:lnTo>
                  <a:lnTo>
                    <a:pt x="105" y="129"/>
                  </a:lnTo>
                  <a:lnTo>
                    <a:pt x="102" y="129"/>
                  </a:lnTo>
                  <a:lnTo>
                    <a:pt x="105" y="126"/>
                  </a:lnTo>
                  <a:lnTo>
                    <a:pt x="108" y="126"/>
                  </a:lnTo>
                  <a:lnTo>
                    <a:pt x="108" y="123"/>
                  </a:lnTo>
                  <a:lnTo>
                    <a:pt x="108" y="126"/>
                  </a:lnTo>
                  <a:lnTo>
                    <a:pt x="111" y="126"/>
                  </a:lnTo>
                  <a:lnTo>
                    <a:pt x="114" y="126"/>
                  </a:lnTo>
                  <a:lnTo>
                    <a:pt x="117" y="126"/>
                  </a:lnTo>
                  <a:lnTo>
                    <a:pt x="120" y="126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0"/>
                  </a:lnTo>
                  <a:lnTo>
                    <a:pt x="129" y="117"/>
                  </a:lnTo>
                  <a:lnTo>
                    <a:pt x="132" y="117"/>
                  </a:lnTo>
                  <a:lnTo>
                    <a:pt x="132" y="114"/>
                  </a:lnTo>
                  <a:lnTo>
                    <a:pt x="135" y="114"/>
                  </a:lnTo>
                  <a:lnTo>
                    <a:pt x="135" y="111"/>
                  </a:lnTo>
                  <a:lnTo>
                    <a:pt x="138" y="111"/>
                  </a:lnTo>
                  <a:lnTo>
                    <a:pt x="135" y="108"/>
                  </a:lnTo>
                  <a:lnTo>
                    <a:pt x="138" y="108"/>
                  </a:lnTo>
                  <a:lnTo>
                    <a:pt x="138" y="105"/>
                  </a:lnTo>
                  <a:lnTo>
                    <a:pt x="138" y="102"/>
                  </a:lnTo>
                  <a:lnTo>
                    <a:pt x="138" y="99"/>
                  </a:lnTo>
                  <a:lnTo>
                    <a:pt x="141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3"/>
                  </a:lnTo>
                  <a:lnTo>
                    <a:pt x="147" y="96"/>
                  </a:lnTo>
                  <a:lnTo>
                    <a:pt x="150" y="96"/>
                  </a:lnTo>
                  <a:lnTo>
                    <a:pt x="150" y="93"/>
                  </a:lnTo>
                  <a:lnTo>
                    <a:pt x="153" y="93"/>
                  </a:lnTo>
                  <a:lnTo>
                    <a:pt x="153" y="90"/>
                  </a:lnTo>
                  <a:lnTo>
                    <a:pt x="156" y="90"/>
                  </a:lnTo>
                  <a:lnTo>
                    <a:pt x="156" y="87"/>
                  </a:lnTo>
                  <a:lnTo>
                    <a:pt x="156" y="84"/>
                  </a:lnTo>
                  <a:lnTo>
                    <a:pt x="159" y="84"/>
                  </a:lnTo>
                  <a:lnTo>
                    <a:pt x="162" y="84"/>
                  </a:lnTo>
                  <a:lnTo>
                    <a:pt x="162" y="81"/>
                  </a:lnTo>
                  <a:lnTo>
                    <a:pt x="165" y="84"/>
                  </a:lnTo>
                  <a:lnTo>
                    <a:pt x="168" y="84"/>
                  </a:lnTo>
                  <a:lnTo>
                    <a:pt x="171" y="84"/>
                  </a:lnTo>
                  <a:lnTo>
                    <a:pt x="171" y="81"/>
                  </a:lnTo>
                  <a:lnTo>
                    <a:pt x="171" y="78"/>
                  </a:lnTo>
                  <a:lnTo>
                    <a:pt x="171" y="75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5"/>
                  </a:lnTo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48" name="Freeform 33">
              <a:extLst>
                <a:ext uri="{FF2B5EF4-FFF2-40B4-BE49-F238E27FC236}">
                  <a16:creationId xmlns:a16="http://schemas.microsoft.com/office/drawing/2014/main" id="{71AA05FE-8A05-4241-AAD1-9987C347EAB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1200" y="2736850"/>
              <a:ext cx="334963" cy="336550"/>
            </a:xfrm>
            <a:custGeom>
              <a:avLst/>
              <a:gdLst>
                <a:gd name="T0" fmla="*/ 270321 w 171"/>
                <a:gd name="T1" fmla="*/ 5904 h 171"/>
                <a:gd name="T2" fmla="*/ 282074 w 171"/>
                <a:gd name="T3" fmla="*/ 11809 h 171"/>
                <a:gd name="T4" fmla="*/ 276198 w 171"/>
                <a:gd name="T5" fmla="*/ 23618 h 171"/>
                <a:gd name="T6" fmla="*/ 258568 w 171"/>
                <a:gd name="T7" fmla="*/ 53139 h 171"/>
                <a:gd name="T8" fmla="*/ 276198 w 171"/>
                <a:gd name="T9" fmla="*/ 64948 h 171"/>
                <a:gd name="T10" fmla="*/ 293827 w 171"/>
                <a:gd name="T11" fmla="*/ 53139 h 171"/>
                <a:gd name="T12" fmla="*/ 323210 w 171"/>
                <a:gd name="T13" fmla="*/ 35426 h 171"/>
                <a:gd name="T14" fmla="*/ 329086 w 171"/>
                <a:gd name="T15" fmla="*/ 59044 h 171"/>
                <a:gd name="T16" fmla="*/ 317333 w 171"/>
                <a:gd name="T17" fmla="*/ 70853 h 171"/>
                <a:gd name="T18" fmla="*/ 299704 w 171"/>
                <a:gd name="T19" fmla="*/ 82661 h 171"/>
                <a:gd name="T20" fmla="*/ 293827 w 171"/>
                <a:gd name="T21" fmla="*/ 106279 h 171"/>
                <a:gd name="T22" fmla="*/ 287951 w 171"/>
                <a:gd name="T23" fmla="*/ 135801 h 171"/>
                <a:gd name="T24" fmla="*/ 276198 w 171"/>
                <a:gd name="T25" fmla="*/ 165323 h 171"/>
                <a:gd name="T26" fmla="*/ 258568 w 171"/>
                <a:gd name="T27" fmla="*/ 165323 h 171"/>
                <a:gd name="T28" fmla="*/ 223309 w 171"/>
                <a:gd name="T29" fmla="*/ 171227 h 171"/>
                <a:gd name="T30" fmla="*/ 217432 w 171"/>
                <a:gd name="T31" fmla="*/ 188940 h 171"/>
                <a:gd name="T32" fmla="*/ 235062 w 171"/>
                <a:gd name="T33" fmla="*/ 212558 h 171"/>
                <a:gd name="T34" fmla="*/ 258568 w 171"/>
                <a:gd name="T35" fmla="*/ 224367 h 171"/>
                <a:gd name="T36" fmla="*/ 270321 w 171"/>
                <a:gd name="T37" fmla="*/ 242080 h 171"/>
                <a:gd name="T38" fmla="*/ 258568 w 171"/>
                <a:gd name="T39" fmla="*/ 247984 h 171"/>
                <a:gd name="T40" fmla="*/ 240938 w 171"/>
                <a:gd name="T41" fmla="*/ 259793 h 171"/>
                <a:gd name="T42" fmla="*/ 223309 w 171"/>
                <a:gd name="T43" fmla="*/ 259793 h 171"/>
                <a:gd name="T44" fmla="*/ 217432 w 171"/>
                <a:gd name="T45" fmla="*/ 277506 h 171"/>
                <a:gd name="T46" fmla="*/ 193926 w 171"/>
                <a:gd name="T47" fmla="*/ 295219 h 171"/>
                <a:gd name="T48" fmla="*/ 188049 w 171"/>
                <a:gd name="T49" fmla="*/ 307028 h 171"/>
                <a:gd name="T50" fmla="*/ 188049 w 171"/>
                <a:gd name="T51" fmla="*/ 318837 h 171"/>
                <a:gd name="T52" fmla="*/ 170420 w 171"/>
                <a:gd name="T53" fmla="*/ 324741 h 171"/>
                <a:gd name="T54" fmla="*/ 170420 w 171"/>
                <a:gd name="T55" fmla="*/ 330646 h 171"/>
                <a:gd name="T56" fmla="*/ 158667 w 171"/>
                <a:gd name="T57" fmla="*/ 324741 h 171"/>
                <a:gd name="T58" fmla="*/ 152790 w 171"/>
                <a:gd name="T59" fmla="*/ 324741 h 171"/>
                <a:gd name="T60" fmla="*/ 135161 w 171"/>
                <a:gd name="T61" fmla="*/ 312932 h 171"/>
                <a:gd name="T62" fmla="*/ 135161 w 171"/>
                <a:gd name="T63" fmla="*/ 295219 h 171"/>
                <a:gd name="T64" fmla="*/ 117531 w 171"/>
                <a:gd name="T65" fmla="*/ 301124 h 171"/>
                <a:gd name="T66" fmla="*/ 94025 w 171"/>
                <a:gd name="T67" fmla="*/ 307028 h 171"/>
                <a:gd name="T68" fmla="*/ 76395 w 171"/>
                <a:gd name="T69" fmla="*/ 307028 h 171"/>
                <a:gd name="T70" fmla="*/ 64642 w 171"/>
                <a:gd name="T71" fmla="*/ 295219 h 171"/>
                <a:gd name="T72" fmla="*/ 58765 w 171"/>
                <a:gd name="T73" fmla="*/ 271602 h 171"/>
                <a:gd name="T74" fmla="*/ 70519 w 171"/>
                <a:gd name="T75" fmla="*/ 253889 h 171"/>
                <a:gd name="T76" fmla="*/ 58765 w 171"/>
                <a:gd name="T77" fmla="*/ 242080 h 171"/>
                <a:gd name="T78" fmla="*/ 35259 w 171"/>
                <a:gd name="T79" fmla="*/ 242080 h 171"/>
                <a:gd name="T80" fmla="*/ 11753 w 171"/>
                <a:gd name="T81" fmla="*/ 253889 h 171"/>
                <a:gd name="T82" fmla="*/ 5877 w 171"/>
                <a:gd name="T83" fmla="*/ 224367 h 171"/>
                <a:gd name="T84" fmla="*/ 17630 w 171"/>
                <a:gd name="T85" fmla="*/ 194845 h 171"/>
                <a:gd name="T86" fmla="*/ 35259 w 171"/>
                <a:gd name="T87" fmla="*/ 183036 h 171"/>
                <a:gd name="T88" fmla="*/ 47012 w 171"/>
                <a:gd name="T89" fmla="*/ 147610 h 171"/>
                <a:gd name="T90" fmla="*/ 64642 w 171"/>
                <a:gd name="T91" fmla="*/ 135801 h 171"/>
                <a:gd name="T92" fmla="*/ 82272 w 171"/>
                <a:gd name="T93" fmla="*/ 141705 h 171"/>
                <a:gd name="T94" fmla="*/ 99901 w 171"/>
                <a:gd name="T95" fmla="*/ 141705 h 171"/>
                <a:gd name="T96" fmla="*/ 117531 w 171"/>
                <a:gd name="T97" fmla="*/ 141705 h 171"/>
                <a:gd name="T98" fmla="*/ 123407 w 171"/>
                <a:gd name="T99" fmla="*/ 123992 h 171"/>
                <a:gd name="T100" fmla="*/ 123407 w 171"/>
                <a:gd name="T101" fmla="*/ 100375 h 171"/>
                <a:gd name="T102" fmla="*/ 141037 w 171"/>
                <a:gd name="T103" fmla="*/ 88566 h 171"/>
                <a:gd name="T104" fmla="*/ 146914 w 171"/>
                <a:gd name="T105" fmla="*/ 64948 h 171"/>
                <a:gd name="T106" fmla="*/ 152790 w 171"/>
                <a:gd name="T107" fmla="*/ 53139 h 171"/>
                <a:gd name="T108" fmla="*/ 152790 w 171"/>
                <a:gd name="T109" fmla="*/ 64948 h 171"/>
                <a:gd name="T110" fmla="*/ 176296 w 171"/>
                <a:gd name="T111" fmla="*/ 53139 h 171"/>
                <a:gd name="T112" fmla="*/ 193926 w 171"/>
                <a:gd name="T113" fmla="*/ 35426 h 171"/>
                <a:gd name="T114" fmla="*/ 217432 w 171"/>
                <a:gd name="T115" fmla="*/ 29522 h 171"/>
                <a:gd name="T116" fmla="*/ 240938 w 171"/>
                <a:gd name="T117" fmla="*/ 23618 h 171"/>
                <a:gd name="T118" fmla="*/ 246815 w 171"/>
                <a:gd name="T119" fmla="*/ 23618 h 171"/>
                <a:gd name="T120" fmla="*/ 240938 w 171"/>
                <a:gd name="T121" fmla="*/ 5904 h 1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1" h="171">
                  <a:moveTo>
                    <a:pt x="123" y="3"/>
                  </a:moveTo>
                  <a:lnTo>
                    <a:pt x="126" y="3"/>
                  </a:lnTo>
                  <a:lnTo>
                    <a:pt x="132" y="0"/>
                  </a:lnTo>
                  <a:lnTo>
                    <a:pt x="135" y="0"/>
                  </a:lnTo>
                  <a:lnTo>
                    <a:pt x="138" y="3"/>
                  </a:lnTo>
                  <a:lnTo>
                    <a:pt x="138" y="6"/>
                  </a:lnTo>
                  <a:lnTo>
                    <a:pt x="141" y="6"/>
                  </a:lnTo>
                  <a:lnTo>
                    <a:pt x="144" y="3"/>
                  </a:lnTo>
                  <a:lnTo>
                    <a:pt x="141" y="6"/>
                  </a:lnTo>
                  <a:lnTo>
                    <a:pt x="144" y="6"/>
                  </a:lnTo>
                  <a:lnTo>
                    <a:pt x="141" y="9"/>
                  </a:lnTo>
                  <a:lnTo>
                    <a:pt x="138" y="6"/>
                  </a:lnTo>
                  <a:lnTo>
                    <a:pt x="138" y="9"/>
                  </a:lnTo>
                  <a:lnTo>
                    <a:pt x="141" y="9"/>
                  </a:lnTo>
                  <a:lnTo>
                    <a:pt x="141" y="12"/>
                  </a:lnTo>
                  <a:lnTo>
                    <a:pt x="141" y="15"/>
                  </a:lnTo>
                  <a:lnTo>
                    <a:pt x="138" y="18"/>
                  </a:lnTo>
                  <a:lnTo>
                    <a:pt x="135" y="21"/>
                  </a:lnTo>
                  <a:lnTo>
                    <a:pt x="132" y="24"/>
                  </a:lnTo>
                  <a:lnTo>
                    <a:pt x="132" y="27"/>
                  </a:lnTo>
                  <a:lnTo>
                    <a:pt x="135" y="27"/>
                  </a:lnTo>
                  <a:lnTo>
                    <a:pt x="135" y="30"/>
                  </a:lnTo>
                  <a:lnTo>
                    <a:pt x="135" y="33"/>
                  </a:lnTo>
                  <a:lnTo>
                    <a:pt x="138" y="33"/>
                  </a:lnTo>
                  <a:lnTo>
                    <a:pt x="141" y="33"/>
                  </a:lnTo>
                  <a:lnTo>
                    <a:pt x="141" y="30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50" y="27"/>
                  </a:lnTo>
                  <a:lnTo>
                    <a:pt x="150" y="24"/>
                  </a:lnTo>
                  <a:lnTo>
                    <a:pt x="153" y="24"/>
                  </a:lnTo>
                  <a:lnTo>
                    <a:pt x="156" y="21"/>
                  </a:lnTo>
                  <a:lnTo>
                    <a:pt x="162" y="21"/>
                  </a:lnTo>
                  <a:lnTo>
                    <a:pt x="165" y="18"/>
                  </a:lnTo>
                  <a:lnTo>
                    <a:pt x="165" y="21"/>
                  </a:lnTo>
                  <a:lnTo>
                    <a:pt x="168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2" y="33"/>
                  </a:lnTo>
                  <a:lnTo>
                    <a:pt x="165" y="36"/>
                  </a:lnTo>
                  <a:lnTo>
                    <a:pt x="162" y="36"/>
                  </a:lnTo>
                  <a:lnTo>
                    <a:pt x="159" y="36"/>
                  </a:lnTo>
                  <a:lnTo>
                    <a:pt x="159" y="39"/>
                  </a:lnTo>
                  <a:lnTo>
                    <a:pt x="159" y="42"/>
                  </a:lnTo>
                  <a:lnTo>
                    <a:pt x="156" y="42"/>
                  </a:lnTo>
                  <a:lnTo>
                    <a:pt x="153" y="42"/>
                  </a:lnTo>
                  <a:lnTo>
                    <a:pt x="156" y="45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53" y="51"/>
                  </a:lnTo>
                  <a:lnTo>
                    <a:pt x="150" y="54"/>
                  </a:lnTo>
                  <a:lnTo>
                    <a:pt x="147" y="57"/>
                  </a:lnTo>
                  <a:lnTo>
                    <a:pt x="150" y="60"/>
                  </a:lnTo>
                  <a:lnTo>
                    <a:pt x="147" y="63"/>
                  </a:lnTo>
                  <a:lnTo>
                    <a:pt x="147" y="66"/>
                  </a:lnTo>
                  <a:lnTo>
                    <a:pt x="147" y="69"/>
                  </a:lnTo>
                  <a:lnTo>
                    <a:pt x="147" y="72"/>
                  </a:lnTo>
                  <a:lnTo>
                    <a:pt x="141" y="72"/>
                  </a:lnTo>
                  <a:lnTo>
                    <a:pt x="141" y="78"/>
                  </a:lnTo>
                  <a:lnTo>
                    <a:pt x="141" y="81"/>
                  </a:lnTo>
                  <a:lnTo>
                    <a:pt x="141" y="84"/>
                  </a:lnTo>
                  <a:lnTo>
                    <a:pt x="138" y="84"/>
                  </a:lnTo>
                  <a:lnTo>
                    <a:pt x="135" y="84"/>
                  </a:lnTo>
                  <a:lnTo>
                    <a:pt x="132" y="84"/>
                  </a:lnTo>
                  <a:lnTo>
                    <a:pt x="132" y="81"/>
                  </a:lnTo>
                  <a:lnTo>
                    <a:pt x="132" y="84"/>
                  </a:lnTo>
                  <a:lnTo>
                    <a:pt x="126" y="84"/>
                  </a:lnTo>
                  <a:lnTo>
                    <a:pt x="120" y="81"/>
                  </a:lnTo>
                  <a:lnTo>
                    <a:pt x="117" y="84"/>
                  </a:lnTo>
                  <a:lnTo>
                    <a:pt x="117" y="90"/>
                  </a:lnTo>
                  <a:lnTo>
                    <a:pt x="114" y="87"/>
                  </a:lnTo>
                  <a:lnTo>
                    <a:pt x="111" y="90"/>
                  </a:lnTo>
                  <a:lnTo>
                    <a:pt x="108" y="90"/>
                  </a:lnTo>
                  <a:lnTo>
                    <a:pt x="108" y="93"/>
                  </a:lnTo>
                  <a:lnTo>
                    <a:pt x="108" y="96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17" y="105"/>
                  </a:lnTo>
                  <a:lnTo>
                    <a:pt x="120" y="108"/>
                  </a:lnTo>
                  <a:lnTo>
                    <a:pt x="120" y="111"/>
                  </a:lnTo>
                  <a:lnTo>
                    <a:pt x="123" y="114"/>
                  </a:lnTo>
                  <a:lnTo>
                    <a:pt x="126" y="117"/>
                  </a:lnTo>
                  <a:lnTo>
                    <a:pt x="129" y="114"/>
                  </a:lnTo>
                  <a:lnTo>
                    <a:pt x="132" y="114"/>
                  </a:lnTo>
                  <a:lnTo>
                    <a:pt x="135" y="111"/>
                  </a:lnTo>
                  <a:lnTo>
                    <a:pt x="135" y="117"/>
                  </a:lnTo>
                  <a:lnTo>
                    <a:pt x="138" y="117"/>
                  </a:lnTo>
                  <a:lnTo>
                    <a:pt x="141" y="120"/>
                  </a:lnTo>
                  <a:lnTo>
                    <a:pt x="138" y="123"/>
                  </a:lnTo>
                  <a:lnTo>
                    <a:pt x="135" y="123"/>
                  </a:lnTo>
                  <a:lnTo>
                    <a:pt x="132" y="123"/>
                  </a:lnTo>
                  <a:lnTo>
                    <a:pt x="132" y="126"/>
                  </a:lnTo>
                  <a:lnTo>
                    <a:pt x="135" y="126"/>
                  </a:lnTo>
                  <a:lnTo>
                    <a:pt x="132" y="126"/>
                  </a:lnTo>
                  <a:lnTo>
                    <a:pt x="132" y="129"/>
                  </a:lnTo>
                  <a:lnTo>
                    <a:pt x="132" y="132"/>
                  </a:lnTo>
                  <a:lnTo>
                    <a:pt x="129" y="132"/>
                  </a:lnTo>
                  <a:lnTo>
                    <a:pt x="126" y="132"/>
                  </a:lnTo>
                  <a:lnTo>
                    <a:pt x="123" y="132"/>
                  </a:lnTo>
                  <a:lnTo>
                    <a:pt x="120" y="132"/>
                  </a:lnTo>
                  <a:lnTo>
                    <a:pt x="120" y="135"/>
                  </a:lnTo>
                  <a:lnTo>
                    <a:pt x="117" y="135"/>
                  </a:lnTo>
                  <a:lnTo>
                    <a:pt x="117" y="132"/>
                  </a:lnTo>
                  <a:lnTo>
                    <a:pt x="114" y="132"/>
                  </a:lnTo>
                  <a:lnTo>
                    <a:pt x="117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11" y="141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05" y="144"/>
                  </a:lnTo>
                  <a:lnTo>
                    <a:pt x="102" y="144"/>
                  </a:lnTo>
                  <a:lnTo>
                    <a:pt x="99" y="150"/>
                  </a:lnTo>
                  <a:lnTo>
                    <a:pt x="102" y="150"/>
                  </a:lnTo>
                  <a:lnTo>
                    <a:pt x="102" y="153"/>
                  </a:lnTo>
                  <a:lnTo>
                    <a:pt x="102" y="156"/>
                  </a:lnTo>
                  <a:lnTo>
                    <a:pt x="99" y="156"/>
                  </a:lnTo>
                  <a:lnTo>
                    <a:pt x="96" y="156"/>
                  </a:lnTo>
                  <a:lnTo>
                    <a:pt x="93" y="159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2"/>
                  </a:lnTo>
                  <a:lnTo>
                    <a:pt x="96" y="162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93" y="165"/>
                  </a:lnTo>
                  <a:lnTo>
                    <a:pt x="90" y="165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65"/>
                  </a:lnTo>
                  <a:lnTo>
                    <a:pt x="87" y="168"/>
                  </a:lnTo>
                  <a:lnTo>
                    <a:pt x="87" y="171"/>
                  </a:lnTo>
                  <a:lnTo>
                    <a:pt x="87" y="168"/>
                  </a:lnTo>
                  <a:lnTo>
                    <a:pt x="84" y="168"/>
                  </a:lnTo>
                  <a:lnTo>
                    <a:pt x="84" y="165"/>
                  </a:lnTo>
                  <a:lnTo>
                    <a:pt x="84" y="162"/>
                  </a:lnTo>
                  <a:lnTo>
                    <a:pt x="81" y="162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1" y="168"/>
                  </a:lnTo>
                  <a:lnTo>
                    <a:pt x="78" y="168"/>
                  </a:lnTo>
                  <a:lnTo>
                    <a:pt x="78" y="165"/>
                  </a:lnTo>
                  <a:lnTo>
                    <a:pt x="78" y="162"/>
                  </a:lnTo>
                  <a:lnTo>
                    <a:pt x="75" y="162"/>
                  </a:lnTo>
                  <a:lnTo>
                    <a:pt x="72" y="162"/>
                  </a:lnTo>
                  <a:lnTo>
                    <a:pt x="72" y="159"/>
                  </a:lnTo>
                  <a:lnTo>
                    <a:pt x="69" y="159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6" y="153"/>
                  </a:lnTo>
                  <a:lnTo>
                    <a:pt x="66" y="150"/>
                  </a:lnTo>
                  <a:lnTo>
                    <a:pt x="69" y="150"/>
                  </a:lnTo>
                  <a:lnTo>
                    <a:pt x="66" y="147"/>
                  </a:lnTo>
                  <a:lnTo>
                    <a:pt x="63" y="147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60" y="153"/>
                  </a:lnTo>
                  <a:lnTo>
                    <a:pt x="57" y="153"/>
                  </a:lnTo>
                  <a:lnTo>
                    <a:pt x="54" y="153"/>
                  </a:lnTo>
                  <a:lnTo>
                    <a:pt x="51" y="153"/>
                  </a:lnTo>
                  <a:lnTo>
                    <a:pt x="48" y="153"/>
                  </a:lnTo>
                  <a:lnTo>
                    <a:pt x="48" y="156"/>
                  </a:lnTo>
                  <a:lnTo>
                    <a:pt x="48" y="159"/>
                  </a:lnTo>
                  <a:lnTo>
                    <a:pt x="48" y="156"/>
                  </a:lnTo>
                  <a:lnTo>
                    <a:pt x="45" y="156"/>
                  </a:lnTo>
                  <a:lnTo>
                    <a:pt x="42" y="156"/>
                  </a:lnTo>
                  <a:lnTo>
                    <a:pt x="39" y="156"/>
                  </a:lnTo>
                  <a:lnTo>
                    <a:pt x="36" y="156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47"/>
                  </a:lnTo>
                  <a:lnTo>
                    <a:pt x="33" y="150"/>
                  </a:lnTo>
                  <a:lnTo>
                    <a:pt x="33" y="147"/>
                  </a:lnTo>
                  <a:lnTo>
                    <a:pt x="30" y="144"/>
                  </a:lnTo>
                  <a:lnTo>
                    <a:pt x="33" y="141"/>
                  </a:lnTo>
                  <a:lnTo>
                    <a:pt x="33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3" y="135"/>
                  </a:lnTo>
                  <a:lnTo>
                    <a:pt x="36" y="135"/>
                  </a:lnTo>
                  <a:lnTo>
                    <a:pt x="33" y="132"/>
                  </a:lnTo>
                  <a:lnTo>
                    <a:pt x="36" y="129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6"/>
                  </a:lnTo>
                  <a:lnTo>
                    <a:pt x="30" y="126"/>
                  </a:lnTo>
                  <a:lnTo>
                    <a:pt x="3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9" y="129"/>
                  </a:lnTo>
                  <a:lnTo>
                    <a:pt x="6" y="129"/>
                  </a:lnTo>
                  <a:lnTo>
                    <a:pt x="3" y="132"/>
                  </a:lnTo>
                  <a:lnTo>
                    <a:pt x="3" y="126"/>
                  </a:lnTo>
                  <a:lnTo>
                    <a:pt x="0" y="120"/>
                  </a:lnTo>
                  <a:lnTo>
                    <a:pt x="3" y="117"/>
                  </a:lnTo>
                  <a:lnTo>
                    <a:pt x="3" y="114"/>
                  </a:lnTo>
                  <a:lnTo>
                    <a:pt x="6" y="114"/>
                  </a:lnTo>
                  <a:lnTo>
                    <a:pt x="9" y="111"/>
                  </a:lnTo>
                  <a:lnTo>
                    <a:pt x="12" y="111"/>
                  </a:lnTo>
                  <a:lnTo>
                    <a:pt x="9" y="105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5" y="99"/>
                  </a:lnTo>
                  <a:lnTo>
                    <a:pt x="15" y="96"/>
                  </a:lnTo>
                  <a:lnTo>
                    <a:pt x="18" y="96"/>
                  </a:lnTo>
                  <a:lnTo>
                    <a:pt x="18" y="93"/>
                  </a:lnTo>
                  <a:lnTo>
                    <a:pt x="21" y="87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75"/>
                  </a:lnTo>
                  <a:lnTo>
                    <a:pt x="24" y="75"/>
                  </a:lnTo>
                  <a:lnTo>
                    <a:pt x="21" y="72"/>
                  </a:lnTo>
                  <a:lnTo>
                    <a:pt x="24" y="72"/>
                  </a:lnTo>
                  <a:lnTo>
                    <a:pt x="27" y="72"/>
                  </a:lnTo>
                  <a:lnTo>
                    <a:pt x="30" y="69"/>
                  </a:lnTo>
                  <a:lnTo>
                    <a:pt x="33" y="69"/>
                  </a:lnTo>
                  <a:lnTo>
                    <a:pt x="33" y="66"/>
                  </a:lnTo>
                  <a:lnTo>
                    <a:pt x="36" y="66"/>
                  </a:lnTo>
                  <a:lnTo>
                    <a:pt x="39" y="66"/>
                  </a:lnTo>
                  <a:lnTo>
                    <a:pt x="39" y="69"/>
                  </a:lnTo>
                  <a:lnTo>
                    <a:pt x="42" y="72"/>
                  </a:lnTo>
                  <a:lnTo>
                    <a:pt x="45" y="69"/>
                  </a:lnTo>
                  <a:lnTo>
                    <a:pt x="45" y="72"/>
                  </a:lnTo>
                  <a:lnTo>
                    <a:pt x="45" y="75"/>
                  </a:lnTo>
                  <a:lnTo>
                    <a:pt x="48" y="75"/>
                  </a:lnTo>
                  <a:lnTo>
                    <a:pt x="51" y="72"/>
                  </a:lnTo>
                  <a:lnTo>
                    <a:pt x="54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60" y="69"/>
                  </a:lnTo>
                  <a:lnTo>
                    <a:pt x="60" y="72"/>
                  </a:lnTo>
                  <a:lnTo>
                    <a:pt x="60" y="69"/>
                  </a:lnTo>
                  <a:lnTo>
                    <a:pt x="63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3" y="63"/>
                  </a:lnTo>
                  <a:lnTo>
                    <a:pt x="63" y="60"/>
                  </a:lnTo>
                  <a:lnTo>
                    <a:pt x="66" y="60"/>
                  </a:lnTo>
                  <a:lnTo>
                    <a:pt x="66" y="57"/>
                  </a:lnTo>
                  <a:lnTo>
                    <a:pt x="63" y="54"/>
                  </a:lnTo>
                  <a:lnTo>
                    <a:pt x="63" y="51"/>
                  </a:lnTo>
                  <a:lnTo>
                    <a:pt x="66" y="51"/>
                  </a:lnTo>
                  <a:lnTo>
                    <a:pt x="66" y="48"/>
                  </a:lnTo>
                  <a:lnTo>
                    <a:pt x="69" y="48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2"/>
                  </a:lnTo>
                  <a:lnTo>
                    <a:pt x="75" y="42"/>
                  </a:lnTo>
                  <a:lnTo>
                    <a:pt x="75" y="39"/>
                  </a:lnTo>
                  <a:lnTo>
                    <a:pt x="75" y="36"/>
                  </a:lnTo>
                  <a:lnTo>
                    <a:pt x="75" y="33"/>
                  </a:lnTo>
                  <a:lnTo>
                    <a:pt x="72" y="30"/>
                  </a:lnTo>
                  <a:lnTo>
                    <a:pt x="72" y="27"/>
                  </a:lnTo>
                  <a:lnTo>
                    <a:pt x="75" y="27"/>
                  </a:lnTo>
                  <a:lnTo>
                    <a:pt x="78" y="24"/>
                  </a:lnTo>
                  <a:lnTo>
                    <a:pt x="78" y="27"/>
                  </a:lnTo>
                  <a:lnTo>
                    <a:pt x="81" y="24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8" y="30"/>
                  </a:lnTo>
                  <a:lnTo>
                    <a:pt x="78" y="33"/>
                  </a:lnTo>
                  <a:lnTo>
                    <a:pt x="81" y="30"/>
                  </a:lnTo>
                  <a:lnTo>
                    <a:pt x="84" y="30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3" y="27"/>
                  </a:lnTo>
                  <a:lnTo>
                    <a:pt x="93" y="21"/>
                  </a:lnTo>
                  <a:lnTo>
                    <a:pt x="93" y="18"/>
                  </a:lnTo>
                  <a:lnTo>
                    <a:pt x="96" y="18"/>
                  </a:lnTo>
                  <a:lnTo>
                    <a:pt x="99" y="18"/>
                  </a:lnTo>
                  <a:lnTo>
                    <a:pt x="99" y="21"/>
                  </a:lnTo>
                  <a:lnTo>
                    <a:pt x="105" y="21"/>
                  </a:lnTo>
                  <a:lnTo>
                    <a:pt x="105" y="18"/>
                  </a:lnTo>
                  <a:lnTo>
                    <a:pt x="111" y="18"/>
                  </a:lnTo>
                  <a:lnTo>
                    <a:pt x="111" y="15"/>
                  </a:lnTo>
                  <a:lnTo>
                    <a:pt x="114" y="15"/>
                  </a:lnTo>
                  <a:lnTo>
                    <a:pt x="117" y="15"/>
                  </a:lnTo>
                  <a:lnTo>
                    <a:pt x="120" y="18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3" y="15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3" y="12"/>
                  </a:lnTo>
                  <a:lnTo>
                    <a:pt x="126" y="12"/>
                  </a:lnTo>
                  <a:lnTo>
                    <a:pt x="126" y="9"/>
                  </a:lnTo>
                  <a:lnTo>
                    <a:pt x="123" y="12"/>
                  </a:lnTo>
                  <a:lnTo>
                    <a:pt x="120" y="9"/>
                  </a:lnTo>
                  <a:lnTo>
                    <a:pt x="120" y="6"/>
                  </a:lnTo>
                  <a:lnTo>
                    <a:pt x="123" y="3"/>
                  </a:lnTo>
                  <a:close/>
                </a:path>
              </a:pathLst>
            </a:custGeom>
            <a:solidFill>
              <a:srgbClr val="FFC000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49" name="Freeform 34">
              <a:extLst>
                <a:ext uri="{FF2B5EF4-FFF2-40B4-BE49-F238E27FC236}">
                  <a16:creationId xmlns:a16="http://schemas.microsoft.com/office/drawing/2014/main" id="{78D8CF96-5D0C-4CA9-BBB5-A9006D994D1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16513" y="2849563"/>
              <a:ext cx="217487" cy="295275"/>
            </a:xfrm>
            <a:custGeom>
              <a:avLst/>
              <a:gdLst>
                <a:gd name="T0" fmla="*/ 193975 w 111"/>
                <a:gd name="T1" fmla="*/ 47244 h 150"/>
                <a:gd name="T2" fmla="*/ 211609 w 111"/>
                <a:gd name="T3" fmla="*/ 53150 h 150"/>
                <a:gd name="T4" fmla="*/ 211609 w 111"/>
                <a:gd name="T5" fmla="*/ 70866 h 150"/>
                <a:gd name="T6" fmla="*/ 211609 w 111"/>
                <a:gd name="T7" fmla="*/ 88583 h 150"/>
                <a:gd name="T8" fmla="*/ 211609 w 111"/>
                <a:gd name="T9" fmla="*/ 106299 h 150"/>
                <a:gd name="T10" fmla="*/ 211609 w 111"/>
                <a:gd name="T11" fmla="*/ 124016 h 150"/>
                <a:gd name="T12" fmla="*/ 217487 w 111"/>
                <a:gd name="T13" fmla="*/ 141732 h 150"/>
                <a:gd name="T14" fmla="*/ 217487 w 111"/>
                <a:gd name="T15" fmla="*/ 165354 h 150"/>
                <a:gd name="T16" fmla="*/ 217487 w 111"/>
                <a:gd name="T17" fmla="*/ 183071 h 150"/>
                <a:gd name="T18" fmla="*/ 217487 w 111"/>
                <a:gd name="T19" fmla="*/ 200787 h 150"/>
                <a:gd name="T20" fmla="*/ 211609 w 111"/>
                <a:gd name="T21" fmla="*/ 200787 h 150"/>
                <a:gd name="T22" fmla="*/ 199853 w 111"/>
                <a:gd name="T23" fmla="*/ 206693 h 150"/>
                <a:gd name="T24" fmla="*/ 193975 w 111"/>
                <a:gd name="T25" fmla="*/ 230315 h 150"/>
                <a:gd name="T26" fmla="*/ 193975 w 111"/>
                <a:gd name="T27" fmla="*/ 248031 h 150"/>
                <a:gd name="T28" fmla="*/ 193975 w 111"/>
                <a:gd name="T29" fmla="*/ 265748 h 150"/>
                <a:gd name="T30" fmla="*/ 193975 w 111"/>
                <a:gd name="T31" fmla="*/ 283464 h 150"/>
                <a:gd name="T32" fmla="*/ 182219 w 111"/>
                <a:gd name="T33" fmla="*/ 295275 h 150"/>
                <a:gd name="T34" fmla="*/ 158707 w 111"/>
                <a:gd name="T35" fmla="*/ 295275 h 150"/>
                <a:gd name="T36" fmla="*/ 141073 w 111"/>
                <a:gd name="T37" fmla="*/ 295275 h 150"/>
                <a:gd name="T38" fmla="*/ 123439 w 111"/>
                <a:gd name="T39" fmla="*/ 295275 h 150"/>
                <a:gd name="T40" fmla="*/ 105804 w 111"/>
                <a:gd name="T41" fmla="*/ 295275 h 150"/>
                <a:gd name="T42" fmla="*/ 82292 w 111"/>
                <a:gd name="T43" fmla="*/ 283464 h 150"/>
                <a:gd name="T44" fmla="*/ 64658 w 111"/>
                <a:gd name="T45" fmla="*/ 277559 h 150"/>
                <a:gd name="T46" fmla="*/ 52902 w 111"/>
                <a:gd name="T47" fmla="*/ 271653 h 150"/>
                <a:gd name="T48" fmla="*/ 47024 w 111"/>
                <a:gd name="T49" fmla="*/ 259842 h 150"/>
                <a:gd name="T50" fmla="*/ 35268 w 111"/>
                <a:gd name="T51" fmla="*/ 253937 h 150"/>
                <a:gd name="T52" fmla="*/ 29390 w 111"/>
                <a:gd name="T53" fmla="*/ 242126 h 150"/>
                <a:gd name="T54" fmla="*/ 29390 w 111"/>
                <a:gd name="T55" fmla="*/ 224409 h 150"/>
                <a:gd name="T56" fmla="*/ 23512 w 111"/>
                <a:gd name="T57" fmla="*/ 212598 h 150"/>
                <a:gd name="T58" fmla="*/ 11756 w 111"/>
                <a:gd name="T59" fmla="*/ 200787 h 150"/>
                <a:gd name="T60" fmla="*/ 5878 w 111"/>
                <a:gd name="T61" fmla="*/ 200787 h 150"/>
                <a:gd name="T62" fmla="*/ 0 w 111"/>
                <a:gd name="T63" fmla="*/ 200787 h 150"/>
                <a:gd name="T64" fmla="*/ 0 w 111"/>
                <a:gd name="T65" fmla="*/ 183071 h 150"/>
                <a:gd name="T66" fmla="*/ 0 w 111"/>
                <a:gd name="T67" fmla="*/ 159449 h 150"/>
                <a:gd name="T68" fmla="*/ 0 w 111"/>
                <a:gd name="T69" fmla="*/ 135827 h 150"/>
                <a:gd name="T70" fmla="*/ 11756 w 111"/>
                <a:gd name="T71" fmla="*/ 112205 h 150"/>
                <a:gd name="T72" fmla="*/ 29390 w 111"/>
                <a:gd name="T73" fmla="*/ 100394 h 150"/>
                <a:gd name="T74" fmla="*/ 35268 w 111"/>
                <a:gd name="T75" fmla="*/ 88583 h 150"/>
                <a:gd name="T76" fmla="*/ 41146 w 111"/>
                <a:gd name="T77" fmla="*/ 76772 h 150"/>
                <a:gd name="T78" fmla="*/ 47024 w 111"/>
                <a:gd name="T79" fmla="*/ 64961 h 150"/>
                <a:gd name="T80" fmla="*/ 52902 w 111"/>
                <a:gd name="T81" fmla="*/ 47244 h 150"/>
                <a:gd name="T82" fmla="*/ 76414 w 111"/>
                <a:gd name="T83" fmla="*/ 17717 h 150"/>
                <a:gd name="T84" fmla="*/ 105804 w 111"/>
                <a:gd name="T85" fmla="*/ 5906 h 150"/>
                <a:gd name="T86" fmla="*/ 141073 w 111"/>
                <a:gd name="T87" fmla="*/ 29528 h 150"/>
                <a:gd name="T88" fmla="*/ 158707 w 111"/>
                <a:gd name="T89" fmla="*/ 41339 h 150"/>
                <a:gd name="T90" fmla="*/ 188097 w 111"/>
                <a:gd name="T91" fmla="*/ 47244 h 1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11" h="150">
                  <a:moveTo>
                    <a:pt x="96" y="24"/>
                  </a:moveTo>
                  <a:lnTo>
                    <a:pt x="99" y="21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105" y="27"/>
                  </a:lnTo>
                  <a:lnTo>
                    <a:pt x="108" y="27"/>
                  </a:lnTo>
                  <a:lnTo>
                    <a:pt x="108" y="30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08" y="39"/>
                  </a:lnTo>
                  <a:lnTo>
                    <a:pt x="108" y="42"/>
                  </a:lnTo>
                  <a:lnTo>
                    <a:pt x="108" y="45"/>
                  </a:lnTo>
                  <a:lnTo>
                    <a:pt x="108" y="48"/>
                  </a:lnTo>
                  <a:lnTo>
                    <a:pt x="108" y="51"/>
                  </a:lnTo>
                  <a:lnTo>
                    <a:pt x="108" y="54"/>
                  </a:lnTo>
                  <a:lnTo>
                    <a:pt x="108" y="57"/>
                  </a:lnTo>
                  <a:lnTo>
                    <a:pt x="108" y="60"/>
                  </a:lnTo>
                  <a:lnTo>
                    <a:pt x="108" y="63"/>
                  </a:lnTo>
                  <a:lnTo>
                    <a:pt x="108" y="66"/>
                  </a:lnTo>
                  <a:lnTo>
                    <a:pt x="108" y="69"/>
                  </a:lnTo>
                  <a:lnTo>
                    <a:pt x="111" y="72"/>
                  </a:lnTo>
                  <a:lnTo>
                    <a:pt x="111" y="75"/>
                  </a:lnTo>
                  <a:lnTo>
                    <a:pt x="111" y="81"/>
                  </a:lnTo>
                  <a:lnTo>
                    <a:pt x="111" y="84"/>
                  </a:lnTo>
                  <a:lnTo>
                    <a:pt x="111" y="87"/>
                  </a:lnTo>
                  <a:lnTo>
                    <a:pt x="111" y="90"/>
                  </a:lnTo>
                  <a:lnTo>
                    <a:pt x="111" y="93"/>
                  </a:lnTo>
                  <a:lnTo>
                    <a:pt x="111" y="96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1" y="105"/>
                  </a:lnTo>
                  <a:lnTo>
                    <a:pt x="108" y="105"/>
                  </a:lnTo>
                  <a:lnTo>
                    <a:pt x="108" y="102"/>
                  </a:lnTo>
                  <a:lnTo>
                    <a:pt x="105" y="102"/>
                  </a:lnTo>
                  <a:lnTo>
                    <a:pt x="102" y="102"/>
                  </a:lnTo>
                  <a:lnTo>
                    <a:pt x="102" y="105"/>
                  </a:lnTo>
                  <a:lnTo>
                    <a:pt x="102" y="108"/>
                  </a:lnTo>
                  <a:lnTo>
                    <a:pt x="99" y="114"/>
                  </a:lnTo>
                  <a:lnTo>
                    <a:pt x="99" y="117"/>
                  </a:lnTo>
                  <a:lnTo>
                    <a:pt x="99" y="120"/>
                  </a:lnTo>
                  <a:lnTo>
                    <a:pt x="99" y="123"/>
                  </a:lnTo>
                  <a:lnTo>
                    <a:pt x="99" y="126"/>
                  </a:lnTo>
                  <a:lnTo>
                    <a:pt x="99" y="129"/>
                  </a:lnTo>
                  <a:lnTo>
                    <a:pt x="99" y="132"/>
                  </a:lnTo>
                  <a:lnTo>
                    <a:pt x="99" y="135"/>
                  </a:lnTo>
                  <a:lnTo>
                    <a:pt x="99" y="138"/>
                  </a:lnTo>
                  <a:lnTo>
                    <a:pt x="99" y="141"/>
                  </a:lnTo>
                  <a:lnTo>
                    <a:pt x="99" y="144"/>
                  </a:lnTo>
                  <a:lnTo>
                    <a:pt x="99" y="147"/>
                  </a:lnTo>
                  <a:lnTo>
                    <a:pt x="99" y="150"/>
                  </a:lnTo>
                  <a:lnTo>
                    <a:pt x="93" y="150"/>
                  </a:lnTo>
                  <a:lnTo>
                    <a:pt x="87" y="150"/>
                  </a:lnTo>
                  <a:lnTo>
                    <a:pt x="84" y="150"/>
                  </a:lnTo>
                  <a:lnTo>
                    <a:pt x="81" y="150"/>
                  </a:lnTo>
                  <a:lnTo>
                    <a:pt x="78" y="150"/>
                  </a:lnTo>
                  <a:lnTo>
                    <a:pt x="75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6" y="150"/>
                  </a:lnTo>
                  <a:lnTo>
                    <a:pt x="63" y="150"/>
                  </a:lnTo>
                  <a:lnTo>
                    <a:pt x="60" y="150"/>
                  </a:lnTo>
                  <a:lnTo>
                    <a:pt x="57" y="150"/>
                  </a:lnTo>
                  <a:lnTo>
                    <a:pt x="54" y="150"/>
                  </a:lnTo>
                  <a:lnTo>
                    <a:pt x="48" y="147"/>
                  </a:lnTo>
                  <a:lnTo>
                    <a:pt x="45" y="147"/>
                  </a:lnTo>
                  <a:lnTo>
                    <a:pt x="42" y="144"/>
                  </a:lnTo>
                  <a:lnTo>
                    <a:pt x="39" y="144"/>
                  </a:lnTo>
                  <a:lnTo>
                    <a:pt x="36" y="141"/>
                  </a:lnTo>
                  <a:lnTo>
                    <a:pt x="33" y="141"/>
                  </a:lnTo>
                  <a:lnTo>
                    <a:pt x="30" y="141"/>
                  </a:lnTo>
                  <a:lnTo>
                    <a:pt x="30" y="138"/>
                  </a:lnTo>
                  <a:lnTo>
                    <a:pt x="27" y="138"/>
                  </a:lnTo>
                  <a:lnTo>
                    <a:pt x="27" y="135"/>
                  </a:lnTo>
                  <a:lnTo>
                    <a:pt x="24" y="135"/>
                  </a:lnTo>
                  <a:lnTo>
                    <a:pt x="24" y="132"/>
                  </a:lnTo>
                  <a:lnTo>
                    <a:pt x="21" y="132"/>
                  </a:lnTo>
                  <a:lnTo>
                    <a:pt x="21" y="129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6"/>
                  </a:lnTo>
                  <a:lnTo>
                    <a:pt x="15" y="123"/>
                  </a:lnTo>
                  <a:lnTo>
                    <a:pt x="12" y="120"/>
                  </a:lnTo>
                  <a:lnTo>
                    <a:pt x="15" y="117"/>
                  </a:lnTo>
                  <a:lnTo>
                    <a:pt x="15" y="114"/>
                  </a:lnTo>
                  <a:lnTo>
                    <a:pt x="15" y="111"/>
                  </a:lnTo>
                  <a:lnTo>
                    <a:pt x="12" y="111"/>
                  </a:lnTo>
                  <a:lnTo>
                    <a:pt x="12" y="108"/>
                  </a:lnTo>
                  <a:lnTo>
                    <a:pt x="9" y="108"/>
                  </a:lnTo>
                  <a:lnTo>
                    <a:pt x="9" y="105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6" y="102"/>
                  </a:lnTo>
                  <a:lnTo>
                    <a:pt x="3" y="102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3" y="66"/>
                  </a:lnTo>
                  <a:lnTo>
                    <a:pt x="3" y="63"/>
                  </a:lnTo>
                  <a:lnTo>
                    <a:pt x="6" y="57"/>
                  </a:lnTo>
                  <a:lnTo>
                    <a:pt x="9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5" y="45"/>
                  </a:lnTo>
                  <a:lnTo>
                    <a:pt x="18" y="45"/>
                  </a:lnTo>
                  <a:lnTo>
                    <a:pt x="18" y="42"/>
                  </a:lnTo>
                  <a:lnTo>
                    <a:pt x="18" y="39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1" y="33"/>
                  </a:lnTo>
                  <a:lnTo>
                    <a:pt x="24" y="33"/>
                  </a:lnTo>
                  <a:lnTo>
                    <a:pt x="24" y="30"/>
                  </a:lnTo>
                  <a:lnTo>
                    <a:pt x="24" y="27"/>
                  </a:lnTo>
                  <a:lnTo>
                    <a:pt x="27" y="24"/>
                  </a:lnTo>
                  <a:lnTo>
                    <a:pt x="27" y="18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42" y="3"/>
                  </a:lnTo>
                  <a:lnTo>
                    <a:pt x="51" y="0"/>
                  </a:lnTo>
                  <a:lnTo>
                    <a:pt x="54" y="3"/>
                  </a:lnTo>
                  <a:lnTo>
                    <a:pt x="57" y="6"/>
                  </a:lnTo>
                  <a:lnTo>
                    <a:pt x="63" y="9"/>
                  </a:lnTo>
                  <a:lnTo>
                    <a:pt x="72" y="15"/>
                  </a:lnTo>
                  <a:lnTo>
                    <a:pt x="75" y="15"/>
                  </a:lnTo>
                  <a:lnTo>
                    <a:pt x="78" y="21"/>
                  </a:lnTo>
                  <a:lnTo>
                    <a:pt x="81" y="21"/>
                  </a:lnTo>
                  <a:lnTo>
                    <a:pt x="87" y="24"/>
                  </a:lnTo>
                  <a:lnTo>
                    <a:pt x="90" y="27"/>
                  </a:lnTo>
                  <a:lnTo>
                    <a:pt x="96" y="24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50" name="Freeform 35">
              <a:extLst>
                <a:ext uri="{FF2B5EF4-FFF2-40B4-BE49-F238E27FC236}">
                  <a16:creationId xmlns:a16="http://schemas.microsoft.com/office/drawing/2014/main" id="{B9776A1D-1AEE-4DA2-B3B2-195A10952F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48125" y="3025775"/>
              <a:ext cx="895350" cy="755650"/>
            </a:xfrm>
            <a:custGeom>
              <a:avLst/>
              <a:gdLst>
                <a:gd name="T0" fmla="*/ 583156 w 456"/>
                <a:gd name="T1" fmla="*/ 11807 h 384"/>
                <a:gd name="T2" fmla="*/ 612608 w 456"/>
                <a:gd name="T3" fmla="*/ 29518 h 384"/>
                <a:gd name="T4" fmla="*/ 642060 w 456"/>
                <a:gd name="T5" fmla="*/ 41325 h 384"/>
                <a:gd name="T6" fmla="*/ 671513 w 456"/>
                <a:gd name="T7" fmla="*/ 59035 h 384"/>
                <a:gd name="T8" fmla="*/ 695074 w 456"/>
                <a:gd name="T9" fmla="*/ 70842 h 384"/>
                <a:gd name="T10" fmla="*/ 718636 w 456"/>
                <a:gd name="T11" fmla="*/ 53132 h 384"/>
                <a:gd name="T12" fmla="*/ 748088 w 456"/>
                <a:gd name="T13" fmla="*/ 64939 h 384"/>
                <a:gd name="T14" fmla="*/ 777541 w 456"/>
                <a:gd name="T15" fmla="*/ 76746 h 384"/>
                <a:gd name="T16" fmla="*/ 812884 w 456"/>
                <a:gd name="T17" fmla="*/ 94456 h 384"/>
                <a:gd name="T18" fmla="*/ 854117 w 456"/>
                <a:gd name="T19" fmla="*/ 129877 h 384"/>
                <a:gd name="T20" fmla="*/ 883569 w 456"/>
                <a:gd name="T21" fmla="*/ 141684 h 384"/>
                <a:gd name="T22" fmla="*/ 889460 w 456"/>
                <a:gd name="T23" fmla="*/ 177105 h 384"/>
                <a:gd name="T24" fmla="*/ 883569 w 456"/>
                <a:gd name="T25" fmla="*/ 218430 h 384"/>
                <a:gd name="T26" fmla="*/ 871788 w 456"/>
                <a:gd name="T27" fmla="*/ 283369 h 384"/>
                <a:gd name="T28" fmla="*/ 830555 w 456"/>
                <a:gd name="T29" fmla="*/ 312886 h 384"/>
                <a:gd name="T30" fmla="*/ 801103 w 456"/>
                <a:gd name="T31" fmla="*/ 348307 h 384"/>
                <a:gd name="T32" fmla="*/ 759869 w 456"/>
                <a:gd name="T33" fmla="*/ 360114 h 384"/>
                <a:gd name="T34" fmla="*/ 724527 w 456"/>
                <a:gd name="T35" fmla="*/ 377825 h 384"/>
                <a:gd name="T36" fmla="*/ 671513 w 456"/>
                <a:gd name="T37" fmla="*/ 366018 h 384"/>
                <a:gd name="T38" fmla="*/ 624389 w 456"/>
                <a:gd name="T39" fmla="*/ 389632 h 384"/>
                <a:gd name="T40" fmla="*/ 600827 w 456"/>
                <a:gd name="T41" fmla="*/ 407343 h 384"/>
                <a:gd name="T42" fmla="*/ 577265 w 456"/>
                <a:gd name="T43" fmla="*/ 413246 h 384"/>
                <a:gd name="T44" fmla="*/ 553703 w 456"/>
                <a:gd name="T45" fmla="*/ 430957 h 384"/>
                <a:gd name="T46" fmla="*/ 541922 w 456"/>
                <a:gd name="T47" fmla="*/ 460474 h 384"/>
                <a:gd name="T48" fmla="*/ 518361 w 456"/>
                <a:gd name="T49" fmla="*/ 489992 h 384"/>
                <a:gd name="T50" fmla="*/ 488908 w 456"/>
                <a:gd name="T51" fmla="*/ 525413 h 384"/>
                <a:gd name="T52" fmla="*/ 459456 w 456"/>
                <a:gd name="T53" fmla="*/ 549027 h 384"/>
                <a:gd name="T54" fmla="*/ 453565 w 456"/>
                <a:gd name="T55" fmla="*/ 572641 h 384"/>
                <a:gd name="T56" fmla="*/ 488908 w 456"/>
                <a:gd name="T57" fmla="*/ 631676 h 384"/>
                <a:gd name="T58" fmla="*/ 500689 w 456"/>
                <a:gd name="T59" fmla="*/ 673001 h 384"/>
                <a:gd name="T60" fmla="*/ 500689 w 456"/>
                <a:gd name="T61" fmla="*/ 690711 h 384"/>
                <a:gd name="T62" fmla="*/ 500689 w 456"/>
                <a:gd name="T63" fmla="*/ 708422 h 384"/>
                <a:gd name="T64" fmla="*/ 471237 w 456"/>
                <a:gd name="T65" fmla="*/ 720229 h 384"/>
                <a:gd name="T66" fmla="*/ 447675 w 456"/>
                <a:gd name="T67" fmla="*/ 737939 h 384"/>
                <a:gd name="T68" fmla="*/ 394661 w 456"/>
                <a:gd name="T69" fmla="*/ 749746 h 384"/>
                <a:gd name="T70" fmla="*/ 353428 w 456"/>
                <a:gd name="T71" fmla="*/ 732036 h 384"/>
                <a:gd name="T72" fmla="*/ 318085 w 456"/>
                <a:gd name="T73" fmla="*/ 726132 h 384"/>
                <a:gd name="T74" fmla="*/ 282742 w 456"/>
                <a:gd name="T75" fmla="*/ 720229 h 384"/>
                <a:gd name="T76" fmla="*/ 253290 w 456"/>
                <a:gd name="T77" fmla="*/ 743843 h 384"/>
                <a:gd name="T78" fmla="*/ 212057 w 456"/>
                <a:gd name="T79" fmla="*/ 743843 h 384"/>
                <a:gd name="T80" fmla="*/ 159042 w 456"/>
                <a:gd name="T81" fmla="*/ 726132 h 384"/>
                <a:gd name="T82" fmla="*/ 117809 w 456"/>
                <a:gd name="T83" fmla="*/ 690711 h 384"/>
                <a:gd name="T84" fmla="*/ 88357 w 456"/>
                <a:gd name="T85" fmla="*/ 655290 h 384"/>
                <a:gd name="T86" fmla="*/ 53014 w 456"/>
                <a:gd name="T87" fmla="*/ 608062 h 384"/>
                <a:gd name="T88" fmla="*/ 17671 w 456"/>
                <a:gd name="T89" fmla="*/ 590352 h 384"/>
                <a:gd name="T90" fmla="*/ 29452 w 456"/>
                <a:gd name="T91" fmla="*/ 501799 h 384"/>
                <a:gd name="T92" fmla="*/ 70686 w 456"/>
                <a:gd name="T93" fmla="*/ 413246 h 384"/>
                <a:gd name="T94" fmla="*/ 82466 w 456"/>
                <a:gd name="T95" fmla="*/ 342404 h 384"/>
                <a:gd name="T96" fmla="*/ 106028 w 456"/>
                <a:gd name="T97" fmla="*/ 295176 h 384"/>
                <a:gd name="T98" fmla="*/ 135481 w 456"/>
                <a:gd name="T99" fmla="*/ 230237 h 384"/>
                <a:gd name="T100" fmla="*/ 170823 w 456"/>
                <a:gd name="T101" fmla="*/ 200720 h 384"/>
                <a:gd name="T102" fmla="*/ 223838 w 456"/>
                <a:gd name="T103" fmla="*/ 177105 h 384"/>
                <a:gd name="T104" fmla="*/ 276852 w 456"/>
                <a:gd name="T105" fmla="*/ 177105 h 384"/>
                <a:gd name="T106" fmla="*/ 294523 w 456"/>
                <a:gd name="T107" fmla="*/ 165298 h 384"/>
                <a:gd name="T108" fmla="*/ 329866 w 456"/>
                <a:gd name="T109" fmla="*/ 135781 h 384"/>
                <a:gd name="T110" fmla="*/ 347537 w 456"/>
                <a:gd name="T111" fmla="*/ 118070 h 384"/>
                <a:gd name="T112" fmla="*/ 353428 w 456"/>
                <a:gd name="T113" fmla="*/ 82649 h 384"/>
                <a:gd name="T114" fmla="*/ 394661 w 456"/>
                <a:gd name="T115" fmla="*/ 53132 h 384"/>
                <a:gd name="T116" fmla="*/ 430004 w 456"/>
                <a:gd name="T117" fmla="*/ 47228 h 384"/>
                <a:gd name="T118" fmla="*/ 471237 w 456"/>
                <a:gd name="T119" fmla="*/ 47228 h 384"/>
                <a:gd name="T120" fmla="*/ 500689 w 456"/>
                <a:gd name="T121" fmla="*/ 41325 h 384"/>
                <a:gd name="T122" fmla="*/ 536032 w 456"/>
                <a:gd name="T123" fmla="*/ 11807 h 38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6" h="384">
                  <a:moveTo>
                    <a:pt x="273" y="6"/>
                  </a:moveTo>
                  <a:lnTo>
                    <a:pt x="276" y="6"/>
                  </a:lnTo>
                  <a:lnTo>
                    <a:pt x="276" y="9"/>
                  </a:lnTo>
                  <a:lnTo>
                    <a:pt x="279" y="9"/>
                  </a:lnTo>
                  <a:lnTo>
                    <a:pt x="282" y="9"/>
                  </a:lnTo>
                  <a:lnTo>
                    <a:pt x="285" y="9"/>
                  </a:lnTo>
                  <a:lnTo>
                    <a:pt x="288" y="9"/>
                  </a:lnTo>
                  <a:lnTo>
                    <a:pt x="288" y="12"/>
                  </a:lnTo>
                  <a:lnTo>
                    <a:pt x="288" y="9"/>
                  </a:lnTo>
                  <a:lnTo>
                    <a:pt x="288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0" y="3"/>
                  </a:lnTo>
                  <a:lnTo>
                    <a:pt x="303" y="3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9" y="3"/>
                  </a:lnTo>
                  <a:lnTo>
                    <a:pt x="306" y="3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09" y="9"/>
                  </a:lnTo>
                  <a:lnTo>
                    <a:pt x="309" y="12"/>
                  </a:lnTo>
                  <a:lnTo>
                    <a:pt x="312" y="12"/>
                  </a:lnTo>
                  <a:lnTo>
                    <a:pt x="312" y="15"/>
                  </a:lnTo>
                  <a:lnTo>
                    <a:pt x="315" y="15"/>
                  </a:lnTo>
                  <a:lnTo>
                    <a:pt x="318" y="15"/>
                  </a:lnTo>
                  <a:lnTo>
                    <a:pt x="318" y="18"/>
                  </a:lnTo>
                  <a:lnTo>
                    <a:pt x="318" y="21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21"/>
                  </a:lnTo>
                  <a:lnTo>
                    <a:pt x="321" y="18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4" y="18"/>
                  </a:lnTo>
                  <a:lnTo>
                    <a:pt x="324" y="21"/>
                  </a:lnTo>
                  <a:lnTo>
                    <a:pt x="327" y="21"/>
                  </a:lnTo>
                  <a:lnTo>
                    <a:pt x="327" y="24"/>
                  </a:lnTo>
                  <a:lnTo>
                    <a:pt x="327" y="21"/>
                  </a:lnTo>
                  <a:lnTo>
                    <a:pt x="327" y="18"/>
                  </a:lnTo>
                  <a:lnTo>
                    <a:pt x="327" y="21"/>
                  </a:lnTo>
                  <a:lnTo>
                    <a:pt x="330" y="21"/>
                  </a:lnTo>
                  <a:lnTo>
                    <a:pt x="333" y="24"/>
                  </a:lnTo>
                  <a:lnTo>
                    <a:pt x="336" y="24"/>
                  </a:lnTo>
                  <a:lnTo>
                    <a:pt x="336" y="27"/>
                  </a:lnTo>
                  <a:lnTo>
                    <a:pt x="336" y="24"/>
                  </a:lnTo>
                  <a:lnTo>
                    <a:pt x="339" y="24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42" y="30"/>
                  </a:lnTo>
                  <a:lnTo>
                    <a:pt x="345" y="30"/>
                  </a:lnTo>
                  <a:lnTo>
                    <a:pt x="345" y="27"/>
                  </a:lnTo>
                  <a:lnTo>
                    <a:pt x="348" y="30"/>
                  </a:lnTo>
                  <a:lnTo>
                    <a:pt x="348" y="27"/>
                  </a:lnTo>
                  <a:lnTo>
                    <a:pt x="351" y="27"/>
                  </a:lnTo>
                  <a:lnTo>
                    <a:pt x="351" y="30"/>
                  </a:lnTo>
                  <a:lnTo>
                    <a:pt x="351" y="33"/>
                  </a:lnTo>
                  <a:lnTo>
                    <a:pt x="354" y="33"/>
                  </a:lnTo>
                  <a:lnTo>
                    <a:pt x="354" y="36"/>
                  </a:lnTo>
                  <a:lnTo>
                    <a:pt x="351" y="36"/>
                  </a:lnTo>
                  <a:lnTo>
                    <a:pt x="354" y="36"/>
                  </a:lnTo>
                  <a:lnTo>
                    <a:pt x="354" y="33"/>
                  </a:lnTo>
                  <a:lnTo>
                    <a:pt x="357" y="33"/>
                  </a:lnTo>
                  <a:lnTo>
                    <a:pt x="360" y="33"/>
                  </a:lnTo>
                  <a:lnTo>
                    <a:pt x="360" y="30"/>
                  </a:lnTo>
                  <a:lnTo>
                    <a:pt x="360" y="33"/>
                  </a:lnTo>
                  <a:lnTo>
                    <a:pt x="363" y="33"/>
                  </a:lnTo>
                  <a:lnTo>
                    <a:pt x="363" y="30"/>
                  </a:lnTo>
                  <a:lnTo>
                    <a:pt x="360" y="30"/>
                  </a:lnTo>
                  <a:lnTo>
                    <a:pt x="360" y="27"/>
                  </a:lnTo>
                  <a:lnTo>
                    <a:pt x="363" y="27"/>
                  </a:lnTo>
                  <a:lnTo>
                    <a:pt x="366" y="27"/>
                  </a:lnTo>
                  <a:lnTo>
                    <a:pt x="369" y="27"/>
                  </a:lnTo>
                  <a:lnTo>
                    <a:pt x="369" y="30"/>
                  </a:lnTo>
                  <a:lnTo>
                    <a:pt x="372" y="30"/>
                  </a:lnTo>
                  <a:lnTo>
                    <a:pt x="372" y="33"/>
                  </a:lnTo>
                  <a:lnTo>
                    <a:pt x="375" y="33"/>
                  </a:lnTo>
                  <a:lnTo>
                    <a:pt x="375" y="30"/>
                  </a:lnTo>
                  <a:lnTo>
                    <a:pt x="375" y="33"/>
                  </a:lnTo>
                  <a:lnTo>
                    <a:pt x="378" y="33"/>
                  </a:lnTo>
                  <a:lnTo>
                    <a:pt x="381" y="33"/>
                  </a:lnTo>
                  <a:lnTo>
                    <a:pt x="381" y="36"/>
                  </a:lnTo>
                  <a:lnTo>
                    <a:pt x="384" y="36"/>
                  </a:lnTo>
                  <a:lnTo>
                    <a:pt x="384" y="33"/>
                  </a:lnTo>
                  <a:lnTo>
                    <a:pt x="381" y="33"/>
                  </a:lnTo>
                  <a:lnTo>
                    <a:pt x="384" y="33"/>
                  </a:lnTo>
                  <a:lnTo>
                    <a:pt x="387" y="33"/>
                  </a:lnTo>
                  <a:lnTo>
                    <a:pt x="387" y="30"/>
                  </a:lnTo>
                  <a:lnTo>
                    <a:pt x="390" y="30"/>
                  </a:lnTo>
                  <a:lnTo>
                    <a:pt x="393" y="30"/>
                  </a:lnTo>
                  <a:lnTo>
                    <a:pt x="393" y="33"/>
                  </a:lnTo>
                  <a:lnTo>
                    <a:pt x="396" y="33"/>
                  </a:lnTo>
                  <a:lnTo>
                    <a:pt x="396" y="30"/>
                  </a:lnTo>
                  <a:lnTo>
                    <a:pt x="396" y="33"/>
                  </a:lnTo>
                  <a:lnTo>
                    <a:pt x="396" y="36"/>
                  </a:lnTo>
                  <a:lnTo>
                    <a:pt x="399" y="36"/>
                  </a:lnTo>
                  <a:lnTo>
                    <a:pt x="396" y="36"/>
                  </a:lnTo>
                  <a:lnTo>
                    <a:pt x="396" y="39"/>
                  </a:lnTo>
                  <a:lnTo>
                    <a:pt x="399" y="39"/>
                  </a:lnTo>
                  <a:lnTo>
                    <a:pt x="399" y="42"/>
                  </a:lnTo>
                  <a:lnTo>
                    <a:pt x="399" y="45"/>
                  </a:lnTo>
                  <a:lnTo>
                    <a:pt x="402" y="45"/>
                  </a:lnTo>
                  <a:lnTo>
                    <a:pt x="402" y="48"/>
                  </a:lnTo>
                  <a:lnTo>
                    <a:pt x="402" y="45"/>
                  </a:lnTo>
                  <a:lnTo>
                    <a:pt x="405" y="45"/>
                  </a:lnTo>
                  <a:lnTo>
                    <a:pt x="408" y="45"/>
                  </a:lnTo>
                  <a:lnTo>
                    <a:pt x="408" y="42"/>
                  </a:lnTo>
                  <a:lnTo>
                    <a:pt x="408" y="45"/>
                  </a:lnTo>
                  <a:lnTo>
                    <a:pt x="411" y="45"/>
                  </a:lnTo>
                  <a:lnTo>
                    <a:pt x="411" y="48"/>
                  </a:lnTo>
                  <a:lnTo>
                    <a:pt x="414" y="48"/>
                  </a:lnTo>
                  <a:lnTo>
                    <a:pt x="417" y="48"/>
                  </a:lnTo>
                  <a:lnTo>
                    <a:pt x="417" y="51"/>
                  </a:lnTo>
                  <a:lnTo>
                    <a:pt x="420" y="51"/>
                  </a:lnTo>
                  <a:lnTo>
                    <a:pt x="420" y="54"/>
                  </a:lnTo>
                  <a:lnTo>
                    <a:pt x="423" y="54"/>
                  </a:lnTo>
                  <a:lnTo>
                    <a:pt x="426" y="54"/>
                  </a:lnTo>
                  <a:lnTo>
                    <a:pt x="429" y="54"/>
                  </a:lnTo>
                  <a:lnTo>
                    <a:pt x="429" y="57"/>
                  </a:lnTo>
                  <a:lnTo>
                    <a:pt x="432" y="57"/>
                  </a:lnTo>
                  <a:lnTo>
                    <a:pt x="432" y="60"/>
                  </a:lnTo>
                  <a:lnTo>
                    <a:pt x="432" y="63"/>
                  </a:lnTo>
                  <a:lnTo>
                    <a:pt x="435" y="63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35" y="66"/>
                  </a:lnTo>
                  <a:lnTo>
                    <a:pt x="438" y="66"/>
                  </a:lnTo>
                  <a:lnTo>
                    <a:pt x="438" y="69"/>
                  </a:lnTo>
                  <a:lnTo>
                    <a:pt x="438" y="72"/>
                  </a:lnTo>
                  <a:lnTo>
                    <a:pt x="441" y="72"/>
                  </a:lnTo>
                  <a:lnTo>
                    <a:pt x="441" y="75"/>
                  </a:lnTo>
                  <a:lnTo>
                    <a:pt x="441" y="78"/>
                  </a:lnTo>
                  <a:lnTo>
                    <a:pt x="444" y="78"/>
                  </a:lnTo>
                  <a:lnTo>
                    <a:pt x="447" y="78"/>
                  </a:lnTo>
                  <a:lnTo>
                    <a:pt x="450" y="78"/>
                  </a:lnTo>
                  <a:lnTo>
                    <a:pt x="450" y="75"/>
                  </a:lnTo>
                  <a:lnTo>
                    <a:pt x="450" y="72"/>
                  </a:lnTo>
                  <a:lnTo>
                    <a:pt x="453" y="72"/>
                  </a:lnTo>
                  <a:lnTo>
                    <a:pt x="456" y="72"/>
                  </a:lnTo>
                  <a:lnTo>
                    <a:pt x="453" y="72"/>
                  </a:lnTo>
                  <a:lnTo>
                    <a:pt x="453" y="75"/>
                  </a:lnTo>
                  <a:lnTo>
                    <a:pt x="450" y="75"/>
                  </a:lnTo>
                  <a:lnTo>
                    <a:pt x="453" y="75"/>
                  </a:lnTo>
                  <a:lnTo>
                    <a:pt x="450" y="78"/>
                  </a:lnTo>
                  <a:lnTo>
                    <a:pt x="453" y="81"/>
                  </a:lnTo>
                  <a:lnTo>
                    <a:pt x="456" y="81"/>
                  </a:lnTo>
                  <a:lnTo>
                    <a:pt x="456" y="84"/>
                  </a:lnTo>
                  <a:lnTo>
                    <a:pt x="456" y="87"/>
                  </a:lnTo>
                  <a:lnTo>
                    <a:pt x="453" y="87"/>
                  </a:lnTo>
                  <a:lnTo>
                    <a:pt x="453" y="90"/>
                  </a:lnTo>
                  <a:lnTo>
                    <a:pt x="450" y="90"/>
                  </a:lnTo>
                  <a:lnTo>
                    <a:pt x="447" y="90"/>
                  </a:lnTo>
                  <a:lnTo>
                    <a:pt x="447" y="93"/>
                  </a:lnTo>
                  <a:lnTo>
                    <a:pt x="450" y="96"/>
                  </a:lnTo>
                  <a:lnTo>
                    <a:pt x="450" y="99"/>
                  </a:lnTo>
                  <a:lnTo>
                    <a:pt x="450" y="102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0" y="105"/>
                  </a:lnTo>
                  <a:lnTo>
                    <a:pt x="453" y="105"/>
                  </a:lnTo>
                  <a:lnTo>
                    <a:pt x="453" y="108"/>
                  </a:lnTo>
                  <a:lnTo>
                    <a:pt x="450" y="108"/>
                  </a:lnTo>
                  <a:lnTo>
                    <a:pt x="450" y="111"/>
                  </a:lnTo>
                  <a:lnTo>
                    <a:pt x="450" y="114"/>
                  </a:lnTo>
                  <a:lnTo>
                    <a:pt x="450" y="117"/>
                  </a:lnTo>
                  <a:lnTo>
                    <a:pt x="447" y="117"/>
                  </a:lnTo>
                  <a:lnTo>
                    <a:pt x="447" y="120"/>
                  </a:lnTo>
                  <a:lnTo>
                    <a:pt x="447" y="123"/>
                  </a:lnTo>
                  <a:lnTo>
                    <a:pt x="444" y="123"/>
                  </a:lnTo>
                  <a:lnTo>
                    <a:pt x="444" y="126"/>
                  </a:lnTo>
                  <a:lnTo>
                    <a:pt x="444" y="129"/>
                  </a:lnTo>
                  <a:lnTo>
                    <a:pt x="447" y="132"/>
                  </a:lnTo>
                  <a:lnTo>
                    <a:pt x="447" y="135"/>
                  </a:lnTo>
                  <a:lnTo>
                    <a:pt x="447" y="138"/>
                  </a:lnTo>
                  <a:lnTo>
                    <a:pt x="447" y="141"/>
                  </a:lnTo>
                  <a:lnTo>
                    <a:pt x="444" y="144"/>
                  </a:lnTo>
                  <a:lnTo>
                    <a:pt x="444" y="147"/>
                  </a:lnTo>
                  <a:lnTo>
                    <a:pt x="441" y="147"/>
                  </a:lnTo>
                  <a:lnTo>
                    <a:pt x="441" y="150"/>
                  </a:lnTo>
                  <a:lnTo>
                    <a:pt x="438" y="150"/>
                  </a:lnTo>
                  <a:lnTo>
                    <a:pt x="435" y="150"/>
                  </a:lnTo>
                  <a:lnTo>
                    <a:pt x="432" y="150"/>
                  </a:lnTo>
                  <a:lnTo>
                    <a:pt x="432" y="153"/>
                  </a:lnTo>
                  <a:lnTo>
                    <a:pt x="429" y="153"/>
                  </a:lnTo>
                  <a:lnTo>
                    <a:pt x="429" y="156"/>
                  </a:lnTo>
                  <a:lnTo>
                    <a:pt x="426" y="156"/>
                  </a:lnTo>
                  <a:lnTo>
                    <a:pt x="426" y="159"/>
                  </a:lnTo>
                  <a:lnTo>
                    <a:pt x="426" y="162"/>
                  </a:lnTo>
                  <a:lnTo>
                    <a:pt x="423" y="159"/>
                  </a:lnTo>
                  <a:lnTo>
                    <a:pt x="423" y="162"/>
                  </a:lnTo>
                  <a:lnTo>
                    <a:pt x="420" y="162"/>
                  </a:lnTo>
                  <a:lnTo>
                    <a:pt x="417" y="165"/>
                  </a:lnTo>
                  <a:lnTo>
                    <a:pt x="420" y="165"/>
                  </a:lnTo>
                  <a:lnTo>
                    <a:pt x="417" y="165"/>
                  </a:lnTo>
                  <a:lnTo>
                    <a:pt x="417" y="168"/>
                  </a:lnTo>
                  <a:lnTo>
                    <a:pt x="414" y="165"/>
                  </a:lnTo>
                  <a:lnTo>
                    <a:pt x="411" y="165"/>
                  </a:lnTo>
                  <a:lnTo>
                    <a:pt x="411" y="168"/>
                  </a:lnTo>
                  <a:lnTo>
                    <a:pt x="408" y="171"/>
                  </a:lnTo>
                  <a:lnTo>
                    <a:pt x="408" y="174"/>
                  </a:lnTo>
                  <a:lnTo>
                    <a:pt x="411" y="174"/>
                  </a:lnTo>
                  <a:lnTo>
                    <a:pt x="408" y="177"/>
                  </a:lnTo>
                  <a:lnTo>
                    <a:pt x="405" y="177"/>
                  </a:lnTo>
                  <a:lnTo>
                    <a:pt x="405" y="174"/>
                  </a:lnTo>
                  <a:lnTo>
                    <a:pt x="405" y="177"/>
                  </a:lnTo>
                  <a:lnTo>
                    <a:pt x="402" y="180"/>
                  </a:lnTo>
                  <a:lnTo>
                    <a:pt x="402" y="177"/>
                  </a:lnTo>
                  <a:lnTo>
                    <a:pt x="399" y="177"/>
                  </a:lnTo>
                  <a:lnTo>
                    <a:pt x="396" y="177"/>
                  </a:lnTo>
                  <a:lnTo>
                    <a:pt x="393" y="177"/>
                  </a:lnTo>
                  <a:lnTo>
                    <a:pt x="393" y="180"/>
                  </a:lnTo>
                  <a:lnTo>
                    <a:pt x="390" y="180"/>
                  </a:lnTo>
                  <a:lnTo>
                    <a:pt x="387" y="183"/>
                  </a:lnTo>
                  <a:lnTo>
                    <a:pt x="390" y="183"/>
                  </a:lnTo>
                  <a:lnTo>
                    <a:pt x="387" y="183"/>
                  </a:lnTo>
                  <a:lnTo>
                    <a:pt x="387" y="186"/>
                  </a:lnTo>
                  <a:lnTo>
                    <a:pt x="384" y="189"/>
                  </a:lnTo>
                  <a:lnTo>
                    <a:pt x="384" y="192"/>
                  </a:lnTo>
                  <a:lnTo>
                    <a:pt x="381" y="195"/>
                  </a:lnTo>
                  <a:lnTo>
                    <a:pt x="381" y="198"/>
                  </a:lnTo>
                  <a:lnTo>
                    <a:pt x="378" y="198"/>
                  </a:lnTo>
                  <a:lnTo>
                    <a:pt x="375" y="198"/>
                  </a:lnTo>
                  <a:lnTo>
                    <a:pt x="375" y="195"/>
                  </a:lnTo>
                  <a:lnTo>
                    <a:pt x="375" y="192"/>
                  </a:lnTo>
                  <a:lnTo>
                    <a:pt x="372" y="192"/>
                  </a:lnTo>
                  <a:lnTo>
                    <a:pt x="372" y="189"/>
                  </a:lnTo>
                  <a:lnTo>
                    <a:pt x="369" y="189"/>
                  </a:lnTo>
                  <a:lnTo>
                    <a:pt x="369" y="192"/>
                  </a:lnTo>
                  <a:lnTo>
                    <a:pt x="369" y="189"/>
                  </a:lnTo>
                  <a:lnTo>
                    <a:pt x="366" y="189"/>
                  </a:lnTo>
                  <a:lnTo>
                    <a:pt x="366" y="186"/>
                  </a:lnTo>
                  <a:lnTo>
                    <a:pt x="366" y="183"/>
                  </a:lnTo>
                  <a:lnTo>
                    <a:pt x="366" y="180"/>
                  </a:lnTo>
                  <a:lnTo>
                    <a:pt x="363" y="180"/>
                  </a:lnTo>
                  <a:lnTo>
                    <a:pt x="360" y="180"/>
                  </a:lnTo>
                  <a:lnTo>
                    <a:pt x="360" y="183"/>
                  </a:lnTo>
                  <a:lnTo>
                    <a:pt x="357" y="183"/>
                  </a:lnTo>
                  <a:lnTo>
                    <a:pt x="354" y="183"/>
                  </a:lnTo>
                  <a:lnTo>
                    <a:pt x="351" y="183"/>
                  </a:lnTo>
                  <a:lnTo>
                    <a:pt x="348" y="183"/>
                  </a:lnTo>
                  <a:lnTo>
                    <a:pt x="342" y="186"/>
                  </a:lnTo>
                  <a:lnTo>
                    <a:pt x="342" y="183"/>
                  </a:lnTo>
                  <a:lnTo>
                    <a:pt x="342" y="186"/>
                  </a:lnTo>
                  <a:lnTo>
                    <a:pt x="339" y="186"/>
                  </a:lnTo>
                  <a:lnTo>
                    <a:pt x="339" y="189"/>
                  </a:lnTo>
                  <a:lnTo>
                    <a:pt x="336" y="192"/>
                  </a:lnTo>
                  <a:lnTo>
                    <a:pt x="333" y="192"/>
                  </a:lnTo>
                  <a:lnTo>
                    <a:pt x="330" y="192"/>
                  </a:lnTo>
                  <a:lnTo>
                    <a:pt x="327" y="192"/>
                  </a:lnTo>
                  <a:lnTo>
                    <a:pt x="324" y="192"/>
                  </a:lnTo>
                  <a:lnTo>
                    <a:pt x="321" y="192"/>
                  </a:lnTo>
                  <a:lnTo>
                    <a:pt x="321" y="195"/>
                  </a:lnTo>
                  <a:lnTo>
                    <a:pt x="318" y="195"/>
                  </a:lnTo>
                  <a:lnTo>
                    <a:pt x="318" y="198"/>
                  </a:lnTo>
                  <a:lnTo>
                    <a:pt x="315" y="198"/>
                  </a:lnTo>
                  <a:lnTo>
                    <a:pt x="315" y="201"/>
                  </a:lnTo>
                  <a:lnTo>
                    <a:pt x="315" y="204"/>
                  </a:lnTo>
                  <a:lnTo>
                    <a:pt x="312" y="204"/>
                  </a:lnTo>
                  <a:lnTo>
                    <a:pt x="312" y="207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9" y="210"/>
                  </a:lnTo>
                  <a:lnTo>
                    <a:pt x="309" y="207"/>
                  </a:lnTo>
                  <a:lnTo>
                    <a:pt x="306" y="207"/>
                  </a:lnTo>
                  <a:lnTo>
                    <a:pt x="306" y="210"/>
                  </a:lnTo>
                  <a:lnTo>
                    <a:pt x="306" y="207"/>
                  </a:lnTo>
                  <a:lnTo>
                    <a:pt x="303" y="207"/>
                  </a:lnTo>
                  <a:lnTo>
                    <a:pt x="300" y="207"/>
                  </a:lnTo>
                  <a:lnTo>
                    <a:pt x="300" y="210"/>
                  </a:lnTo>
                  <a:lnTo>
                    <a:pt x="297" y="210"/>
                  </a:lnTo>
                  <a:lnTo>
                    <a:pt x="300" y="210"/>
                  </a:lnTo>
                  <a:lnTo>
                    <a:pt x="300" y="213"/>
                  </a:lnTo>
                  <a:lnTo>
                    <a:pt x="297" y="213"/>
                  </a:lnTo>
                  <a:lnTo>
                    <a:pt x="297" y="210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4" y="210"/>
                  </a:lnTo>
                  <a:lnTo>
                    <a:pt x="294" y="213"/>
                  </a:lnTo>
                  <a:lnTo>
                    <a:pt x="291" y="213"/>
                  </a:lnTo>
                  <a:lnTo>
                    <a:pt x="291" y="210"/>
                  </a:lnTo>
                  <a:lnTo>
                    <a:pt x="288" y="210"/>
                  </a:lnTo>
                  <a:lnTo>
                    <a:pt x="288" y="213"/>
                  </a:lnTo>
                  <a:lnTo>
                    <a:pt x="288" y="216"/>
                  </a:lnTo>
                  <a:lnTo>
                    <a:pt x="288" y="213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3"/>
                  </a:lnTo>
                  <a:lnTo>
                    <a:pt x="285" y="216"/>
                  </a:lnTo>
                  <a:lnTo>
                    <a:pt x="285" y="219"/>
                  </a:lnTo>
                  <a:lnTo>
                    <a:pt x="282" y="219"/>
                  </a:lnTo>
                  <a:lnTo>
                    <a:pt x="285" y="219"/>
                  </a:lnTo>
                  <a:lnTo>
                    <a:pt x="285" y="222"/>
                  </a:lnTo>
                  <a:lnTo>
                    <a:pt x="282" y="222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9" y="228"/>
                  </a:lnTo>
                  <a:lnTo>
                    <a:pt x="282" y="228"/>
                  </a:lnTo>
                  <a:lnTo>
                    <a:pt x="279" y="228"/>
                  </a:lnTo>
                  <a:lnTo>
                    <a:pt x="276" y="228"/>
                  </a:lnTo>
                  <a:lnTo>
                    <a:pt x="279" y="228"/>
                  </a:lnTo>
                  <a:lnTo>
                    <a:pt x="279" y="231"/>
                  </a:lnTo>
                  <a:lnTo>
                    <a:pt x="276" y="231"/>
                  </a:lnTo>
                  <a:lnTo>
                    <a:pt x="276" y="234"/>
                  </a:lnTo>
                  <a:lnTo>
                    <a:pt x="273" y="234"/>
                  </a:lnTo>
                  <a:lnTo>
                    <a:pt x="276" y="234"/>
                  </a:lnTo>
                  <a:lnTo>
                    <a:pt x="276" y="237"/>
                  </a:lnTo>
                  <a:lnTo>
                    <a:pt x="273" y="237"/>
                  </a:lnTo>
                  <a:lnTo>
                    <a:pt x="270" y="237"/>
                  </a:lnTo>
                  <a:lnTo>
                    <a:pt x="270" y="240"/>
                  </a:lnTo>
                  <a:lnTo>
                    <a:pt x="267" y="240"/>
                  </a:lnTo>
                  <a:lnTo>
                    <a:pt x="267" y="243"/>
                  </a:lnTo>
                  <a:lnTo>
                    <a:pt x="270" y="243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1" y="249"/>
                  </a:lnTo>
                  <a:lnTo>
                    <a:pt x="264" y="249"/>
                  </a:lnTo>
                  <a:lnTo>
                    <a:pt x="264" y="252"/>
                  </a:lnTo>
                  <a:lnTo>
                    <a:pt x="261" y="252"/>
                  </a:lnTo>
                  <a:lnTo>
                    <a:pt x="261" y="255"/>
                  </a:lnTo>
                  <a:lnTo>
                    <a:pt x="258" y="255"/>
                  </a:lnTo>
                  <a:lnTo>
                    <a:pt x="258" y="258"/>
                  </a:lnTo>
                  <a:lnTo>
                    <a:pt x="258" y="261"/>
                  </a:lnTo>
                  <a:lnTo>
                    <a:pt x="255" y="261"/>
                  </a:lnTo>
                  <a:lnTo>
                    <a:pt x="255" y="264"/>
                  </a:lnTo>
                  <a:lnTo>
                    <a:pt x="255" y="267"/>
                  </a:lnTo>
                  <a:lnTo>
                    <a:pt x="252" y="267"/>
                  </a:lnTo>
                  <a:lnTo>
                    <a:pt x="249" y="267"/>
                  </a:lnTo>
                  <a:lnTo>
                    <a:pt x="249" y="270"/>
                  </a:lnTo>
                  <a:lnTo>
                    <a:pt x="249" y="273"/>
                  </a:lnTo>
                  <a:lnTo>
                    <a:pt x="249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6"/>
                  </a:lnTo>
                  <a:lnTo>
                    <a:pt x="237" y="276"/>
                  </a:lnTo>
                  <a:lnTo>
                    <a:pt x="237" y="273"/>
                  </a:lnTo>
                  <a:lnTo>
                    <a:pt x="237" y="276"/>
                  </a:lnTo>
                  <a:lnTo>
                    <a:pt x="234" y="276"/>
                  </a:lnTo>
                  <a:lnTo>
                    <a:pt x="234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31" y="279"/>
                  </a:lnTo>
                  <a:lnTo>
                    <a:pt x="228" y="279"/>
                  </a:lnTo>
                  <a:lnTo>
                    <a:pt x="228" y="282"/>
                  </a:lnTo>
                  <a:lnTo>
                    <a:pt x="228" y="279"/>
                  </a:lnTo>
                  <a:lnTo>
                    <a:pt x="225" y="279"/>
                  </a:lnTo>
                  <a:lnTo>
                    <a:pt x="225" y="282"/>
                  </a:lnTo>
                  <a:lnTo>
                    <a:pt x="225" y="285"/>
                  </a:lnTo>
                  <a:lnTo>
                    <a:pt x="228" y="285"/>
                  </a:lnTo>
                  <a:lnTo>
                    <a:pt x="228" y="288"/>
                  </a:lnTo>
                  <a:lnTo>
                    <a:pt x="231" y="288"/>
                  </a:lnTo>
                  <a:lnTo>
                    <a:pt x="231" y="291"/>
                  </a:lnTo>
                  <a:lnTo>
                    <a:pt x="234" y="294"/>
                  </a:lnTo>
                  <a:lnTo>
                    <a:pt x="234" y="300"/>
                  </a:lnTo>
                  <a:lnTo>
                    <a:pt x="237" y="300"/>
                  </a:lnTo>
                  <a:lnTo>
                    <a:pt x="237" y="303"/>
                  </a:lnTo>
                  <a:lnTo>
                    <a:pt x="237" y="306"/>
                  </a:lnTo>
                  <a:lnTo>
                    <a:pt x="240" y="306"/>
                  </a:lnTo>
                  <a:lnTo>
                    <a:pt x="240" y="309"/>
                  </a:lnTo>
                  <a:lnTo>
                    <a:pt x="240" y="312"/>
                  </a:lnTo>
                  <a:lnTo>
                    <a:pt x="243" y="315"/>
                  </a:lnTo>
                  <a:lnTo>
                    <a:pt x="243" y="318"/>
                  </a:lnTo>
                  <a:lnTo>
                    <a:pt x="246" y="318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4"/>
                  </a:lnTo>
                  <a:lnTo>
                    <a:pt x="249" y="327"/>
                  </a:lnTo>
                  <a:lnTo>
                    <a:pt x="249" y="330"/>
                  </a:lnTo>
                  <a:lnTo>
                    <a:pt x="252" y="330"/>
                  </a:lnTo>
                  <a:lnTo>
                    <a:pt x="255" y="330"/>
                  </a:lnTo>
                  <a:lnTo>
                    <a:pt x="258" y="330"/>
                  </a:lnTo>
                  <a:lnTo>
                    <a:pt x="258" y="333"/>
                  </a:lnTo>
                  <a:lnTo>
                    <a:pt x="255" y="333"/>
                  </a:lnTo>
                  <a:lnTo>
                    <a:pt x="255" y="336"/>
                  </a:lnTo>
                  <a:lnTo>
                    <a:pt x="255" y="339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5" y="342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5" y="345"/>
                  </a:lnTo>
                  <a:lnTo>
                    <a:pt x="258" y="345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8" y="348"/>
                  </a:lnTo>
                  <a:lnTo>
                    <a:pt x="255" y="348"/>
                  </a:lnTo>
                  <a:lnTo>
                    <a:pt x="252" y="348"/>
                  </a:lnTo>
                  <a:lnTo>
                    <a:pt x="255" y="348"/>
                  </a:lnTo>
                  <a:lnTo>
                    <a:pt x="255" y="351"/>
                  </a:lnTo>
                  <a:lnTo>
                    <a:pt x="255" y="354"/>
                  </a:lnTo>
                  <a:lnTo>
                    <a:pt x="255" y="351"/>
                  </a:lnTo>
                  <a:lnTo>
                    <a:pt x="258" y="351"/>
                  </a:lnTo>
                  <a:lnTo>
                    <a:pt x="258" y="354"/>
                  </a:lnTo>
                  <a:lnTo>
                    <a:pt x="255" y="354"/>
                  </a:lnTo>
                  <a:lnTo>
                    <a:pt x="255" y="357"/>
                  </a:lnTo>
                  <a:lnTo>
                    <a:pt x="252" y="357"/>
                  </a:lnTo>
                  <a:lnTo>
                    <a:pt x="252" y="354"/>
                  </a:lnTo>
                  <a:lnTo>
                    <a:pt x="252" y="357"/>
                  </a:lnTo>
                  <a:lnTo>
                    <a:pt x="252" y="360"/>
                  </a:lnTo>
                  <a:lnTo>
                    <a:pt x="252" y="357"/>
                  </a:lnTo>
                  <a:lnTo>
                    <a:pt x="255" y="357"/>
                  </a:lnTo>
                  <a:lnTo>
                    <a:pt x="255" y="360"/>
                  </a:lnTo>
                  <a:lnTo>
                    <a:pt x="252" y="360"/>
                  </a:lnTo>
                  <a:lnTo>
                    <a:pt x="249" y="360"/>
                  </a:lnTo>
                  <a:lnTo>
                    <a:pt x="249" y="363"/>
                  </a:lnTo>
                  <a:lnTo>
                    <a:pt x="252" y="363"/>
                  </a:lnTo>
                  <a:lnTo>
                    <a:pt x="249" y="363"/>
                  </a:lnTo>
                  <a:lnTo>
                    <a:pt x="249" y="366"/>
                  </a:lnTo>
                  <a:lnTo>
                    <a:pt x="246" y="366"/>
                  </a:lnTo>
                  <a:lnTo>
                    <a:pt x="246" y="363"/>
                  </a:lnTo>
                  <a:lnTo>
                    <a:pt x="243" y="363"/>
                  </a:lnTo>
                  <a:lnTo>
                    <a:pt x="243" y="366"/>
                  </a:lnTo>
                  <a:lnTo>
                    <a:pt x="243" y="363"/>
                  </a:lnTo>
                  <a:lnTo>
                    <a:pt x="240" y="363"/>
                  </a:lnTo>
                  <a:lnTo>
                    <a:pt x="240" y="366"/>
                  </a:lnTo>
                  <a:lnTo>
                    <a:pt x="240" y="369"/>
                  </a:lnTo>
                  <a:lnTo>
                    <a:pt x="240" y="366"/>
                  </a:lnTo>
                  <a:lnTo>
                    <a:pt x="237" y="366"/>
                  </a:lnTo>
                  <a:lnTo>
                    <a:pt x="234" y="366"/>
                  </a:lnTo>
                  <a:lnTo>
                    <a:pt x="234" y="369"/>
                  </a:lnTo>
                  <a:lnTo>
                    <a:pt x="234" y="372"/>
                  </a:lnTo>
                  <a:lnTo>
                    <a:pt x="231" y="372"/>
                  </a:lnTo>
                  <a:lnTo>
                    <a:pt x="231" y="369"/>
                  </a:lnTo>
                  <a:lnTo>
                    <a:pt x="228" y="369"/>
                  </a:lnTo>
                  <a:lnTo>
                    <a:pt x="225" y="369"/>
                  </a:lnTo>
                  <a:lnTo>
                    <a:pt x="225" y="372"/>
                  </a:lnTo>
                  <a:lnTo>
                    <a:pt x="228" y="372"/>
                  </a:lnTo>
                  <a:lnTo>
                    <a:pt x="228" y="375"/>
                  </a:lnTo>
                  <a:lnTo>
                    <a:pt x="225" y="375"/>
                  </a:lnTo>
                  <a:lnTo>
                    <a:pt x="222" y="375"/>
                  </a:lnTo>
                  <a:lnTo>
                    <a:pt x="219" y="375"/>
                  </a:lnTo>
                  <a:lnTo>
                    <a:pt x="219" y="378"/>
                  </a:lnTo>
                  <a:lnTo>
                    <a:pt x="219" y="381"/>
                  </a:lnTo>
                  <a:lnTo>
                    <a:pt x="216" y="381"/>
                  </a:lnTo>
                  <a:lnTo>
                    <a:pt x="213" y="381"/>
                  </a:lnTo>
                  <a:lnTo>
                    <a:pt x="213" y="384"/>
                  </a:lnTo>
                  <a:lnTo>
                    <a:pt x="210" y="384"/>
                  </a:lnTo>
                  <a:lnTo>
                    <a:pt x="210" y="381"/>
                  </a:lnTo>
                  <a:lnTo>
                    <a:pt x="207" y="378"/>
                  </a:lnTo>
                  <a:lnTo>
                    <a:pt x="204" y="381"/>
                  </a:lnTo>
                  <a:lnTo>
                    <a:pt x="201" y="381"/>
                  </a:lnTo>
                  <a:lnTo>
                    <a:pt x="201" y="384"/>
                  </a:lnTo>
                  <a:lnTo>
                    <a:pt x="198" y="384"/>
                  </a:lnTo>
                  <a:lnTo>
                    <a:pt x="198" y="381"/>
                  </a:lnTo>
                  <a:lnTo>
                    <a:pt x="195" y="381"/>
                  </a:lnTo>
                  <a:lnTo>
                    <a:pt x="195" y="384"/>
                  </a:lnTo>
                  <a:lnTo>
                    <a:pt x="192" y="384"/>
                  </a:lnTo>
                  <a:lnTo>
                    <a:pt x="192" y="381"/>
                  </a:lnTo>
                  <a:lnTo>
                    <a:pt x="189" y="381"/>
                  </a:lnTo>
                  <a:lnTo>
                    <a:pt x="186" y="381"/>
                  </a:lnTo>
                  <a:lnTo>
                    <a:pt x="183" y="378"/>
                  </a:lnTo>
                  <a:lnTo>
                    <a:pt x="180" y="378"/>
                  </a:lnTo>
                  <a:lnTo>
                    <a:pt x="180" y="375"/>
                  </a:lnTo>
                  <a:lnTo>
                    <a:pt x="180" y="372"/>
                  </a:lnTo>
                  <a:lnTo>
                    <a:pt x="177" y="372"/>
                  </a:lnTo>
                  <a:lnTo>
                    <a:pt x="174" y="372"/>
                  </a:lnTo>
                  <a:lnTo>
                    <a:pt x="171" y="372"/>
                  </a:lnTo>
                  <a:lnTo>
                    <a:pt x="171" y="375"/>
                  </a:lnTo>
                  <a:lnTo>
                    <a:pt x="168" y="375"/>
                  </a:lnTo>
                  <a:lnTo>
                    <a:pt x="168" y="372"/>
                  </a:lnTo>
                  <a:lnTo>
                    <a:pt x="165" y="372"/>
                  </a:lnTo>
                  <a:lnTo>
                    <a:pt x="165" y="375"/>
                  </a:lnTo>
                  <a:lnTo>
                    <a:pt x="162" y="375"/>
                  </a:lnTo>
                  <a:lnTo>
                    <a:pt x="162" y="372"/>
                  </a:lnTo>
                  <a:lnTo>
                    <a:pt x="165" y="372"/>
                  </a:lnTo>
                  <a:lnTo>
                    <a:pt x="162" y="372"/>
                  </a:lnTo>
                  <a:lnTo>
                    <a:pt x="162" y="369"/>
                  </a:lnTo>
                  <a:lnTo>
                    <a:pt x="159" y="369"/>
                  </a:lnTo>
                  <a:lnTo>
                    <a:pt x="156" y="369"/>
                  </a:lnTo>
                  <a:lnTo>
                    <a:pt x="156" y="366"/>
                  </a:lnTo>
                  <a:lnTo>
                    <a:pt x="156" y="363"/>
                  </a:lnTo>
                  <a:lnTo>
                    <a:pt x="153" y="363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53" y="366"/>
                  </a:lnTo>
                  <a:lnTo>
                    <a:pt x="153" y="369"/>
                  </a:lnTo>
                  <a:lnTo>
                    <a:pt x="150" y="369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4" y="366"/>
                  </a:lnTo>
                  <a:lnTo>
                    <a:pt x="144" y="369"/>
                  </a:lnTo>
                  <a:lnTo>
                    <a:pt x="141" y="369"/>
                  </a:lnTo>
                  <a:lnTo>
                    <a:pt x="138" y="369"/>
                  </a:lnTo>
                  <a:lnTo>
                    <a:pt x="135" y="369"/>
                  </a:lnTo>
                  <a:lnTo>
                    <a:pt x="135" y="372"/>
                  </a:lnTo>
                  <a:lnTo>
                    <a:pt x="132" y="372"/>
                  </a:lnTo>
                  <a:lnTo>
                    <a:pt x="132" y="369"/>
                  </a:lnTo>
                  <a:lnTo>
                    <a:pt x="129" y="369"/>
                  </a:lnTo>
                  <a:lnTo>
                    <a:pt x="129" y="372"/>
                  </a:lnTo>
                  <a:lnTo>
                    <a:pt x="129" y="375"/>
                  </a:lnTo>
                  <a:lnTo>
                    <a:pt x="132" y="375"/>
                  </a:lnTo>
                  <a:lnTo>
                    <a:pt x="129" y="375"/>
                  </a:lnTo>
                  <a:lnTo>
                    <a:pt x="129" y="378"/>
                  </a:lnTo>
                  <a:lnTo>
                    <a:pt x="126" y="378"/>
                  </a:lnTo>
                  <a:lnTo>
                    <a:pt x="123" y="378"/>
                  </a:lnTo>
                  <a:lnTo>
                    <a:pt x="123" y="381"/>
                  </a:lnTo>
                  <a:lnTo>
                    <a:pt x="120" y="381"/>
                  </a:lnTo>
                  <a:lnTo>
                    <a:pt x="120" y="384"/>
                  </a:lnTo>
                  <a:lnTo>
                    <a:pt x="117" y="384"/>
                  </a:lnTo>
                  <a:lnTo>
                    <a:pt x="114" y="384"/>
                  </a:lnTo>
                  <a:lnTo>
                    <a:pt x="114" y="381"/>
                  </a:lnTo>
                  <a:lnTo>
                    <a:pt x="114" y="378"/>
                  </a:lnTo>
                  <a:lnTo>
                    <a:pt x="111" y="378"/>
                  </a:lnTo>
                  <a:lnTo>
                    <a:pt x="111" y="381"/>
                  </a:lnTo>
                  <a:lnTo>
                    <a:pt x="108" y="381"/>
                  </a:lnTo>
                  <a:lnTo>
                    <a:pt x="108" y="378"/>
                  </a:lnTo>
                  <a:lnTo>
                    <a:pt x="108" y="375"/>
                  </a:lnTo>
                  <a:lnTo>
                    <a:pt x="105" y="375"/>
                  </a:lnTo>
                  <a:lnTo>
                    <a:pt x="102" y="375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75"/>
                  </a:lnTo>
                  <a:lnTo>
                    <a:pt x="93" y="375"/>
                  </a:lnTo>
                  <a:lnTo>
                    <a:pt x="90" y="375"/>
                  </a:lnTo>
                  <a:lnTo>
                    <a:pt x="90" y="372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1" y="372"/>
                  </a:lnTo>
                  <a:lnTo>
                    <a:pt x="81" y="369"/>
                  </a:lnTo>
                  <a:lnTo>
                    <a:pt x="78" y="369"/>
                  </a:lnTo>
                  <a:lnTo>
                    <a:pt x="78" y="366"/>
                  </a:lnTo>
                  <a:lnTo>
                    <a:pt x="75" y="366"/>
                  </a:lnTo>
                  <a:lnTo>
                    <a:pt x="72" y="366"/>
                  </a:lnTo>
                  <a:lnTo>
                    <a:pt x="72" y="363"/>
                  </a:lnTo>
                  <a:lnTo>
                    <a:pt x="69" y="363"/>
                  </a:lnTo>
                  <a:lnTo>
                    <a:pt x="69" y="360"/>
                  </a:lnTo>
                  <a:lnTo>
                    <a:pt x="69" y="357"/>
                  </a:lnTo>
                  <a:lnTo>
                    <a:pt x="66" y="357"/>
                  </a:lnTo>
                  <a:lnTo>
                    <a:pt x="66" y="354"/>
                  </a:lnTo>
                  <a:lnTo>
                    <a:pt x="63" y="354"/>
                  </a:lnTo>
                  <a:lnTo>
                    <a:pt x="63" y="351"/>
                  </a:lnTo>
                  <a:lnTo>
                    <a:pt x="60" y="351"/>
                  </a:lnTo>
                  <a:lnTo>
                    <a:pt x="60" y="348"/>
                  </a:lnTo>
                  <a:lnTo>
                    <a:pt x="60" y="345"/>
                  </a:lnTo>
                  <a:lnTo>
                    <a:pt x="57" y="345"/>
                  </a:lnTo>
                  <a:lnTo>
                    <a:pt x="54" y="345"/>
                  </a:lnTo>
                  <a:lnTo>
                    <a:pt x="54" y="342"/>
                  </a:lnTo>
                  <a:lnTo>
                    <a:pt x="51" y="342"/>
                  </a:lnTo>
                  <a:lnTo>
                    <a:pt x="51" y="339"/>
                  </a:lnTo>
                  <a:lnTo>
                    <a:pt x="54" y="339"/>
                  </a:lnTo>
                  <a:lnTo>
                    <a:pt x="51" y="339"/>
                  </a:lnTo>
                  <a:lnTo>
                    <a:pt x="51" y="336"/>
                  </a:lnTo>
                  <a:lnTo>
                    <a:pt x="48" y="336"/>
                  </a:lnTo>
                  <a:lnTo>
                    <a:pt x="48" y="333"/>
                  </a:lnTo>
                  <a:lnTo>
                    <a:pt x="45" y="333"/>
                  </a:lnTo>
                  <a:lnTo>
                    <a:pt x="45" y="330"/>
                  </a:lnTo>
                  <a:lnTo>
                    <a:pt x="42" y="330"/>
                  </a:lnTo>
                  <a:lnTo>
                    <a:pt x="42" y="327"/>
                  </a:lnTo>
                  <a:lnTo>
                    <a:pt x="42" y="324"/>
                  </a:lnTo>
                  <a:lnTo>
                    <a:pt x="39" y="324"/>
                  </a:lnTo>
                  <a:lnTo>
                    <a:pt x="39" y="321"/>
                  </a:lnTo>
                  <a:lnTo>
                    <a:pt x="39" y="318"/>
                  </a:lnTo>
                  <a:lnTo>
                    <a:pt x="39" y="315"/>
                  </a:lnTo>
                  <a:lnTo>
                    <a:pt x="36" y="315"/>
                  </a:lnTo>
                  <a:lnTo>
                    <a:pt x="33" y="315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7" y="306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1" y="306"/>
                  </a:lnTo>
                  <a:lnTo>
                    <a:pt x="18" y="303"/>
                  </a:lnTo>
                  <a:lnTo>
                    <a:pt x="18" y="300"/>
                  </a:lnTo>
                  <a:lnTo>
                    <a:pt x="18" y="303"/>
                  </a:lnTo>
                  <a:lnTo>
                    <a:pt x="15" y="303"/>
                  </a:lnTo>
                  <a:lnTo>
                    <a:pt x="15" y="300"/>
                  </a:lnTo>
                  <a:lnTo>
                    <a:pt x="12" y="300"/>
                  </a:lnTo>
                  <a:lnTo>
                    <a:pt x="12" y="297"/>
                  </a:lnTo>
                  <a:lnTo>
                    <a:pt x="9" y="297"/>
                  </a:lnTo>
                  <a:lnTo>
                    <a:pt x="9" y="300"/>
                  </a:lnTo>
                  <a:lnTo>
                    <a:pt x="9" y="297"/>
                  </a:lnTo>
                  <a:lnTo>
                    <a:pt x="6" y="297"/>
                  </a:lnTo>
                  <a:lnTo>
                    <a:pt x="6" y="294"/>
                  </a:lnTo>
                  <a:lnTo>
                    <a:pt x="6" y="291"/>
                  </a:lnTo>
                  <a:lnTo>
                    <a:pt x="3" y="291"/>
                  </a:lnTo>
                  <a:lnTo>
                    <a:pt x="3" y="288"/>
                  </a:lnTo>
                  <a:lnTo>
                    <a:pt x="3" y="285"/>
                  </a:lnTo>
                  <a:lnTo>
                    <a:pt x="0" y="282"/>
                  </a:lnTo>
                  <a:lnTo>
                    <a:pt x="3" y="279"/>
                  </a:lnTo>
                  <a:lnTo>
                    <a:pt x="6" y="273"/>
                  </a:lnTo>
                  <a:lnTo>
                    <a:pt x="12" y="261"/>
                  </a:lnTo>
                  <a:lnTo>
                    <a:pt x="15" y="258"/>
                  </a:lnTo>
                  <a:lnTo>
                    <a:pt x="15" y="255"/>
                  </a:lnTo>
                  <a:lnTo>
                    <a:pt x="15" y="252"/>
                  </a:lnTo>
                  <a:lnTo>
                    <a:pt x="18" y="249"/>
                  </a:lnTo>
                  <a:lnTo>
                    <a:pt x="18" y="246"/>
                  </a:lnTo>
                  <a:lnTo>
                    <a:pt x="21" y="243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7" y="228"/>
                  </a:lnTo>
                  <a:lnTo>
                    <a:pt x="30" y="225"/>
                  </a:lnTo>
                  <a:lnTo>
                    <a:pt x="30" y="222"/>
                  </a:lnTo>
                  <a:lnTo>
                    <a:pt x="33" y="219"/>
                  </a:lnTo>
                  <a:lnTo>
                    <a:pt x="33" y="216"/>
                  </a:lnTo>
                  <a:lnTo>
                    <a:pt x="36" y="213"/>
                  </a:lnTo>
                  <a:lnTo>
                    <a:pt x="36" y="210"/>
                  </a:lnTo>
                  <a:lnTo>
                    <a:pt x="39" y="207"/>
                  </a:lnTo>
                  <a:lnTo>
                    <a:pt x="39" y="204"/>
                  </a:lnTo>
                  <a:lnTo>
                    <a:pt x="39" y="201"/>
                  </a:lnTo>
                  <a:lnTo>
                    <a:pt x="42" y="198"/>
                  </a:lnTo>
                  <a:lnTo>
                    <a:pt x="45" y="195"/>
                  </a:lnTo>
                  <a:lnTo>
                    <a:pt x="45" y="192"/>
                  </a:lnTo>
                  <a:lnTo>
                    <a:pt x="45" y="189"/>
                  </a:lnTo>
                  <a:lnTo>
                    <a:pt x="48" y="189"/>
                  </a:lnTo>
                  <a:lnTo>
                    <a:pt x="48" y="186"/>
                  </a:lnTo>
                  <a:lnTo>
                    <a:pt x="42" y="186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2" y="174"/>
                  </a:lnTo>
                  <a:lnTo>
                    <a:pt x="45" y="171"/>
                  </a:lnTo>
                  <a:lnTo>
                    <a:pt x="45" y="168"/>
                  </a:lnTo>
                  <a:lnTo>
                    <a:pt x="48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51" y="159"/>
                  </a:lnTo>
                  <a:lnTo>
                    <a:pt x="51" y="156"/>
                  </a:lnTo>
                  <a:lnTo>
                    <a:pt x="48" y="153"/>
                  </a:lnTo>
                  <a:lnTo>
                    <a:pt x="45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7" y="141"/>
                  </a:lnTo>
                  <a:lnTo>
                    <a:pt x="57" y="132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29"/>
                  </a:lnTo>
                  <a:lnTo>
                    <a:pt x="63" y="126"/>
                  </a:lnTo>
                  <a:lnTo>
                    <a:pt x="66" y="126"/>
                  </a:lnTo>
                  <a:lnTo>
                    <a:pt x="63" y="123"/>
                  </a:lnTo>
                  <a:lnTo>
                    <a:pt x="66" y="123"/>
                  </a:lnTo>
                  <a:lnTo>
                    <a:pt x="66" y="120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5" y="114"/>
                  </a:lnTo>
                  <a:lnTo>
                    <a:pt x="78" y="114"/>
                  </a:lnTo>
                  <a:lnTo>
                    <a:pt x="78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8" y="108"/>
                  </a:lnTo>
                  <a:lnTo>
                    <a:pt x="78" y="105"/>
                  </a:lnTo>
                  <a:lnTo>
                    <a:pt x="81" y="105"/>
                  </a:lnTo>
                  <a:lnTo>
                    <a:pt x="84" y="105"/>
                  </a:lnTo>
                  <a:lnTo>
                    <a:pt x="84" y="102"/>
                  </a:lnTo>
                  <a:lnTo>
                    <a:pt x="87" y="102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3" y="99"/>
                  </a:lnTo>
                  <a:lnTo>
                    <a:pt x="96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5" y="96"/>
                  </a:lnTo>
                  <a:lnTo>
                    <a:pt x="105" y="93"/>
                  </a:lnTo>
                  <a:lnTo>
                    <a:pt x="108" y="93"/>
                  </a:lnTo>
                  <a:lnTo>
                    <a:pt x="111" y="96"/>
                  </a:lnTo>
                  <a:lnTo>
                    <a:pt x="114" y="96"/>
                  </a:lnTo>
                  <a:lnTo>
                    <a:pt x="114" y="93"/>
                  </a:lnTo>
                  <a:lnTo>
                    <a:pt x="114" y="90"/>
                  </a:lnTo>
                  <a:lnTo>
                    <a:pt x="117" y="90"/>
                  </a:lnTo>
                  <a:lnTo>
                    <a:pt x="117" y="87"/>
                  </a:lnTo>
                  <a:lnTo>
                    <a:pt x="120" y="87"/>
                  </a:lnTo>
                  <a:lnTo>
                    <a:pt x="123" y="84"/>
                  </a:lnTo>
                  <a:lnTo>
                    <a:pt x="126" y="84"/>
                  </a:lnTo>
                  <a:lnTo>
                    <a:pt x="126" y="87"/>
                  </a:lnTo>
                  <a:lnTo>
                    <a:pt x="129" y="90"/>
                  </a:lnTo>
                  <a:lnTo>
                    <a:pt x="132" y="90"/>
                  </a:lnTo>
                  <a:lnTo>
                    <a:pt x="132" y="87"/>
                  </a:lnTo>
                  <a:lnTo>
                    <a:pt x="135" y="87"/>
                  </a:lnTo>
                  <a:lnTo>
                    <a:pt x="135" y="90"/>
                  </a:lnTo>
                  <a:lnTo>
                    <a:pt x="138" y="90"/>
                  </a:lnTo>
                  <a:lnTo>
                    <a:pt x="141" y="90"/>
                  </a:lnTo>
                  <a:lnTo>
                    <a:pt x="141" y="93"/>
                  </a:lnTo>
                  <a:lnTo>
                    <a:pt x="141" y="96"/>
                  </a:lnTo>
                  <a:lnTo>
                    <a:pt x="141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4" y="96"/>
                  </a:lnTo>
                  <a:lnTo>
                    <a:pt x="144" y="93"/>
                  </a:lnTo>
                  <a:lnTo>
                    <a:pt x="147" y="93"/>
                  </a:lnTo>
                  <a:lnTo>
                    <a:pt x="147" y="90"/>
                  </a:lnTo>
                  <a:lnTo>
                    <a:pt x="147" y="87"/>
                  </a:lnTo>
                  <a:lnTo>
                    <a:pt x="150" y="87"/>
                  </a:lnTo>
                  <a:lnTo>
                    <a:pt x="150" y="84"/>
                  </a:lnTo>
                  <a:lnTo>
                    <a:pt x="153" y="84"/>
                  </a:lnTo>
                  <a:lnTo>
                    <a:pt x="153" y="81"/>
                  </a:lnTo>
                  <a:lnTo>
                    <a:pt x="156" y="81"/>
                  </a:lnTo>
                  <a:lnTo>
                    <a:pt x="156" y="78"/>
                  </a:lnTo>
                  <a:lnTo>
                    <a:pt x="159" y="78"/>
                  </a:lnTo>
                  <a:lnTo>
                    <a:pt x="159" y="75"/>
                  </a:lnTo>
                  <a:lnTo>
                    <a:pt x="159" y="72"/>
                  </a:lnTo>
                  <a:lnTo>
                    <a:pt x="162" y="72"/>
                  </a:lnTo>
                  <a:lnTo>
                    <a:pt x="162" y="69"/>
                  </a:lnTo>
                  <a:lnTo>
                    <a:pt x="165" y="69"/>
                  </a:lnTo>
                  <a:lnTo>
                    <a:pt x="168" y="69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6"/>
                  </a:lnTo>
                  <a:lnTo>
                    <a:pt x="171" y="66"/>
                  </a:lnTo>
                  <a:lnTo>
                    <a:pt x="174" y="66"/>
                  </a:lnTo>
                  <a:lnTo>
                    <a:pt x="174" y="69"/>
                  </a:lnTo>
                  <a:lnTo>
                    <a:pt x="177" y="69"/>
                  </a:lnTo>
                  <a:lnTo>
                    <a:pt x="177" y="66"/>
                  </a:lnTo>
                  <a:lnTo>
                    <a:pt x="180" y="66"/>
                  </a:lnTo>
                  <a:lnTo>
                    <a:pt x="183" y="69"/>
                  </a:lnTo>
                  <a:lnTo>
                    <a:pt x="183" y="66"/>
                  </a:lnTo>
                  <a:lnTo>
                    <a:pt x="180" y="66"/>
                  </a:lnTo>
                  <a:lnTo>
                    <a:pt x="177" y="66"/>
                  </a:lnTo>
                  <a:lnTo>
                    <a:pt x="177" y="63"/>
                  </a:lnTo>
                  <a:lnTo>
                    <a:pt x="177" y="60"/>
                  </a:lnTo>
                  <a:lnTo>
                    <a:pt x="180" y="60"/>
                  </a:lnTo>
                  <a:lnTo>
                    <a:pt x="180" y="57"/>
                  </a:lnTo>
                  <a:lnTo>
                    <a:pt x="183" y="57"/>
                  </a:lnTo>
                  <a:lnTo>
                    <a:pt x="183" y="54"/>
                  </a:lnTo>
                  <a:lnTo>
                    <a:pt x="180" y="54"/>
                  </a:lnTo>
                  <a:lnTo>
                    <a:pt x="180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74" y="48"/>
                  </a:lnTo>
                  <a:lnTo>
                    <a:pt x="174" y="45"/>
                  </a:lnTo>
                  <a:lnTo>
                    <a:pt x="177" y="45"/>
                  </a:lnTo>
                  <a:lnTo>
                    <a:pt x="180" y="45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3" y="39"/>
                  </a:lnTo>
                  <a:lnTo>
                    <a:pt x="186" y="39"/>
                  </a:lnTo>
                  <a:lnTo>
                    <a:pt x="189" y="39"/>
                  </a:lnTo>
                  <a:lnTo>
                    <a:pt x="189" y="36"/>
                  </a:lnTo>
                  <a:lnTo>
                    <a:pt x="189" y="33"/>
                  </a:lnTo>
                  <a:lnTo>
                    <a:pt x="192" y="33"/>
                  </a:lnTo>
                  <a:lnTo>
                    <a:pt x="192" y="30"/>
                  </a:lnTo>
                  <a:lnTo>
                    <a:pt x="195" y="30"/>
                  </a:lnTo>
                  <a:lnTo>
                    <a:pt x="198" y="30"/>
                  </a:lnTo>
                  <a:lnTo>
                    <a:pt x="198" y="33"/>
                  </a:lnTo>
                  <a:lnTo>
                    <a:pt x="198" y="30"/>
                  </a:lnTo>
                  <a:lnTo>
                    <a:pt x="201" y="27"/>
                  </a:lnTo>
                  <a:lnTo>
                    <a:pt x="204" y="27"/>
                  </a:lnTo>
                  <a:lnTo>
                    <a:pt x="204" y="24"/>
                  </a:lnTo>
                  <a:lnTo>
                    <a:pt x="207" y="24"/>
                  </a:lnTo>
                  <a:lnTo>
                    <a:pt x="207" y="27"/>
                  </a:lnTo>
                  <a:lnTo>
                    <a:pt x="210" y="27"/>
                  </a:lnTo>
                  <a:lnTo>
                    <a:pt x="210" y="24"/>
                  </a:lnTo>
                  <a:lnTo>
                    <a:pt x="213" y="24"/>
                  </a:lnTo>
                  <a:lnTo>
                    <a:pt x="216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6" y="27"/>
                  </a:lnTo>
                  <a:lnTo>
                    <a:pt x="216" y="24"/>
                  </a:lnTo>
                  <a:lnTo>
                    <a:pt x="219" y="24"/>
                  </a:lnTo>
                  <a:lnTo>
                    <a:pt x="216" y="24"/>
                  </a:lnTo>
                  <a:lnTo>
                    <a:pt x="216" y="21"/>
                  </a:lnTo>
                  <a:lnTo>
                    <a:pt x="219" y="21"/>
                  </a:lnTo>
                  <a:lnTo>
                    <a:pt x="219" y="18"/>
                  </a:lnTo>
                  <a:lnTo>
                    <a:pt x="219" y="21"/>
                  </a:lnTo>
                  <a:lnTo>
                    <a:pt x="222" y="21"/>
                  </a:lnTo>
                  <a:lnTo>
                    <a:pt x="222" y="24"/>
                  </a:lnTo>
                  <a:lnTo>
                    <a:pt x="225" y="24"/>
                  </a:lnTo>
                  <a:lnTo>
                    <a:pt x="228" y="24"/>
                  </a:lnTo>
                  <a:lnTo>
                    <a:pt x="231" y="24"/>
                  </a:lnTo>
                  <a:lnTo>
                    <a:pt x="234" y="24"/>
                  </a:lnTo>
                  <a:lnTo>
                    <a:pt x="237" y="24"/>
                  </a:lnTo>
                  <a:lnTo>
                    <a:pt x="240" y="24"/>
                  </a:lnTo>
                  <a:lnTo>
                    <a:pt x="240" y="27"/>
                  </a:lnTo>
                  <a:lnTo>
                    <a:pt x="237" y="27"/>
                  </a:lnTo>
                  <a:lnTo>
                    <a:pt x="240" y="27"/>
                  </a:lnTo>
                  <a:lnTo>
                    <a:pt x="240" y="30"/>
                  </a:lnTo>
                  <a:lnTo>
                    <a:pt x="240" y="27"/>
                  </a:lnTo>
                  <a:lnTo>
                    <a:pt x="243" y="27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1"/>
                  </a:lnTo>
                  <a:lnTo>
                    <a:pt x="249" y="18"/>
                  </a:lnTo>
                  <a:lnTo>
                    <a:pt x="252" y="18"/>
                  </a:lnTo>
                  <a:lnTo>
                    <a:pt x="255" y="18"/>
                  </a:lnTo>
                  <a:lnTo>
                    <a:pt x="255" y="21"/>
                  </a:lnTo>
                  <a:lnTo>
                    <a:pt x="258" y="21"/>
                  </a:lnTo>
                  <a:lnTo>
                    <a:pt x="258" y="24"/>
                  </a:lnTo>
                  <a:lnTo>
                    <a:pt x="261" y="24"/>
                  </a:lnTo>
                  <a:lnTo>
                    <a:pt x="261" y="21"/>
                  </a:lnTo>
                  <a:lnTo>
                    <a:pt x="264" y="21"/>
                  </a:lnTo>
                  <a:lnTo>
                    <a:pt x="264" y="18"/>
                  </a:lnTo>
                  <a:lnTo>
                    <a:pt x="264" y="15"/>
                  </a:lnTo>
                  <a:lnTo>
                    <a:pt x="267" y="15"/>
                  </a:lnTo>
                  <a:lnTo>
                    <a:pt x="267" y="12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3" y="9"/>
                  </a:lnTo>
                  <a:lnTo>
                    <a:pt x="273" y="6"/>
                  </a:lnTo>
                  <a:close/>
                </a:path>
              </a:pathLst>
            </a:custGeom>
            <a:solidFill>
              <a:srgbClr val="F79646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51" name="Freeform 36">
              <a:extLst>
                <a:ext uri="{FF2B5EF4-FFF2-40B4-BE49-F238E27FC236}">
                  <a16:creationId xmlns:a16="http://schemas.microsoft.com/office/drawing/2014/main" id="{DC656E0F-8612-4B38-8C36-1364110B0B3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778375" y="3049588"/>
              <a:ext cx="679450" cy="808037"/>
            </a:xfrm>
            <a:custGeom>
              <a:avLst/>
              <a:gdLst>
                <a:gd name="T0" fmla="*/ 478569 w 345"/>
                <a:gd name="T1" fmla="*/ 94369 h 411"/>
                <a:gd name="T2" fmla="*/ 531743 w 345"/>
                <a:gd name="T3" fmla="*/ 70777 h 411"/>
                <a:gd name="T4" fmla="*/ 537652 w 345"/>
                <a:gd name="T5" fmla="*/ 0 h 411"/>
                <a:gd name="T6" fmla="*/ 584918 w 345"/>
                <a:gd name="T7" fmla="*/ 11796 h 411"/>
                <a:gd name="T8" fmla="*/ 679450 w 345"/>
                <a:gd name="T9" fmla="*/ 17694 h 411"/>
                <a:gd name="T10" fmla="*/ 667633 w 345"/>
                <a:gd name="T11" fmla="*/ 76675 h 411"/>
                <a:gd name="T12" fmla="*/ 644000 w 345"/>
                <a:gd name="T13" fmla="*/ 129758 h 411"/>
                <a:gd name="T14" fmla="*/ 632184 w 345"/>
                <a:gd name="T15" fmla="*/ 194637 h 411"/>
                <a:gd name="T16" fmla="*/ 620367 w 345"/>
                <a:gd name="T17" fmla="*/ 253617 h 411"/>
                <a:gd name="T18" fmla="*/ 602643 w 345"/>
                <a:gd name="T19" fmla="*/ 306700 h 411"/>
                <a:gd name="T20" fmla="*/ 567193 w 345"/>
                <a:gd name="T21" fmla="*/ 353885 h 411"/>
                <a:gd name="T22" fmla="*/ 543560 w 345"/>
                <a:gd name="T23" fmla="*/ 383375 h 411"/>
                <a:gd name="T24" fmla="*/ 484477 w 345"/>
                <a:gd name="T25" fmla="*/ 412866 h 411"/>
                <a:gd name="T26" fmla="*/ 449028 w 345"/>
                <a:gd name="T27" fmla="*/ 454152 h 411"/>
                <a:gd name="T28" fmla="*/ 407670 w 345"/>
                <a:gd name="T29" fmla="*/ 501337 h 411"/>
                <a:gd name="T30" fmla="*/ 372220 w 345"/>
                <a:gd name="T31" fmla="*/ 566216 h 411"/>
                <a:gd name="T32" fmla="*/ 348587 w 345"/>
                <a:gd name="T33" fmla="*/ 613400 h 411"/>
                <a:gd name="T34" fmla="*/ 324954 w 345"/>
                <a:gd name="T35" fmla="*/ 666483 h 411"/>
                <a:gd name="T36" fmla="*/ 289505 w 345"/>
                <a:gd name="T37" fmla="*/ 719566 h 411"/>
                <a:gd name="T38" fmla="*/ 259963 w 345"/>
                <a:gd name="T39" fmla="*/ 766750 h 411"/>
                <a:gd name="T40" fmla="*/ 236330 w 345"/>
                <a:gd name="T41" fmla="*/ 802139 h 411"/>
                <a:gd name="T42" fmla="*/ 230422 w 345"/>
                <a:gd name="T43" fmla="*/ 778547 h 411"/>
                <a:gd name="T44" fmla="*/ 206789 w 345"/>
                <a:gd name="T45" fmla="*/ 760852 h 411"/>
                <a:gd name="T46" fmla="*/ 189064 w 345"/>
                <a:gd name="T47" fmla="*/ 749056 h 411"/>
                <a:gd name="T48" fmla="*/ 171340 w 345"/>
                <a:gd name="T49" fmla="*/ 737260 h 411"/>
                <a:gd name="T50" fmla="*/ 153615 w 345"/>
                <a:gd name="T51" fmla="*/ 731362 h 411"/>
                <a:gd name="T52" fmla="*/ 106349 w 345"/>
                <a:gd name="T53" fmla="*/ 719566 h 411"/>
                <a:gd name="T54" fmla="*/ 64991 w 345"/>
                <a:gd name="T55" fmla="*/ 713668 h 411"/>
                <a:gd name="T56" fmla="*/ 29541 w 345"/>
                <a:gd name="T57" fmla="*/ 707770 h 411"/>
                <a:gd name="T58" fmla="*/ 0 w 345"/>
                <a:gd name="T59" fmla="*/ 666483 h 411"/>
                <a:gd name="T60" fmla="*/ 35450 w 345"/>
                <a:gd name="T61" fmla="*/ 642891 h 411"/>
                <a:gd name="T62" fmla="*/ 59083 w 345"/>
                <a:gd name="T63" fmla="*/ 619298 h 411"/>
                <a:gd name="T64" fmla="*/ 59083 w 345"/>
                <a:gd name="T65" fmla="*/ 583910 h 411"/>
                <a:gd name="T66" fmla="*/ 59083 w 345"/>
                <a:gd name="T67" fmla="*/ 548521 h 411"/>
                <a:gd name="T68" fmla="*/ 88624 w 345"/>
                <a:gd name="T69" fmla="*/ 519031 h 411"/>
                <a:gd name="T70" fmla="*/ 106349 w 345"/>
                <a:gd name="T71" fmla="*/ 489541 h 411"/>
                <a:gd name="T72" fmla="*/ 94532 w 345"/>
                <a:gd name="T73" fmla="*/ 448254 h 411"/>
                <a:gd name="T74" fmla="*/ 64991 w 345"/>
                <a:gd name="T75" fmla="*/ 412866 h 411"/>
                <a:gd name="T76" fmla="*/ 35450 w 345"/>
                <a:gd name="T77" fmla="*/ 389273 h 411"/>
                <a:gd name="T78" fmla="*/ 23633 w 345"/>
                <a:gd name="T79" fmla="*/ 347987 h 411"/>
                <a:gd name="T80" fmla="*/ 59083 w 345"/>
                <a:gd name="T81" fmla="*/ 330292 h 411"/>
                <a:gd name="T82" fmla="*/ 88624 w 345"/>
                <a:gd name="T83" fmla="*/ 306700 h 411"/>
                <a:gd name="T84" fmla="*/ 112257 w 345"/>
                <a:gd name="T85" fmla="*/ 277210 h 411"/>
                <a:gd name="T86" fmla="*/ 147707 w 345"/>
                <a:gd name="T87" fmla="*/ 241821 h 411"/>
                <a:gd name="T88" fmla="*/ 153615 w 345"/>
                <a:gd name="T89" fmla="*/ 188739 h 411"/>
                <a:gd name="T90" fmla="*/ 153615 w 345"/>
                <a:gd name="T91" fmla="*/ 153350 h 411"/>
                <a:gd name="T92" fmla="*/ 159523 w 345"/>
                <a:gd name="T93" fmla="*/ 117962 h 411"/>
                <a:gd name="T94" fmla="*/ 194973 w 345"/>
                <a:gd name="T95" fmla="*/ 106165 h 411"/>
                <a:gd name="T96" fmla="*/ 242239 w 345"/>
                <a:gd name="T97" fmla="*/ 106165 h 411"/>
                <a:gd name="T98" fmla="*/ 283597 w 345"/>
                <a:gd name="T99" fmla="*/ 94369 h 411"/>
                <a:gd name="T100" fmla="*/ 354496 w 345"/>
                <a:gd name="T101" fmla="*/ 100267 h 411"/>
                <a:gd name="T102" fmla="*/ 384037 w 345"/>
                <a:gd name="T103" fmla="*/ 100267 h 411"/>
                <a:gd name="T104" fmla="*/ 112257 w 345"/>
                <a:gd name="T105" fmla="*/ 601604 h 411"/>
                <a:gd name="T106" fmla="*/ 124073 w 345"/>
                <a:gd name="T107" fmla="*/ 642891 h 411"/>
                <a:gd name="T108" fmla="*/ 141798 w 345"/>
                <a:gd name="T109" fmla="*/ 690075 h 411"/>
                <a:gd name="T110" fmla="*/ 165431 w 345"/>
                <a:gd name="T111" fmla="*/ 695973 h 411"/>
                <a:gd name="T112" fmla="*/ 200881 w 345"/>
                <a:gd name="T113" fmla="*/ 707770 h 411"/>
                <a:gd name="T114" fmla="*/ 224514 w 345"/>
                <a:gd name="T115" fmla="*/ 678279 h 411"/>
                <a:gd name="T116" fmla="*/ 206789 w 345"/>
                <a:gd name="T117" fmla="*/ 666483 h 411"/>
                <a:gd name="T118" fmla="*/ 183156 w 345"/>
                <a:gd name="T119" fmla="*/ 631095 h 411"/>
                <a:gd name="T120" fmla="*/ 159523 w 345"/>
                <a:gd name="T121" fmla="*/ 613400 h 411"/>
                <a:gd name="T122" fmla="*/ 118165 w 345"/>
                <a:gd name="T123" fmla="*/ 589808 h 4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45" h="411">
                  <a:moveTo>
                    <a:pt x="210" y="42"/>
                  </a:moveTo>
                  <a:lnTo>
                    <a:pt x="213" y="42"/>
                  </a:lnTo>
                  <a:lnTo>
                    <a:pt x="216" y="45"/>
                  </a:lnTo>
                  <a:lnTo>
                    <a:pt x="219" y="45"/>
                  </a:lnTo>
                  <a:lnTo>
                    <a:pt x="225" y="48"/>
                  </a:lnTo>
                  <a:lnTo>
                    <a:pt x="228" y="48"/>
                  </a:lnTo>
                  <a:lnTo>
                    <a:pt x="231" y="48"/>
                  </a:lnTo>
                  <a:lnTo>
                    <a:pt x="234" y="48"/>
                  </a:lnTo>
                  <a:lnTo>
                    <a:pt x="237" y="48"/>
                  </a:lnTo>
                  <a:lnTo>
                    <a:pt x="240" y="48"/>
                  </a:lnTo>
                  <a:lnTo>
                    <a:pt x="243" y="48"/>
                  </a:lnTo>
                  <a:lnTo>
                    <a:pt x="246" y="48"/>
                  </a:lnTo>
                  <a:lnTo>
                    <a:pt x="249" y="48"/>
                  </a:lnTo>
                  <a:lnTo>
                    <a:pt x="252" y="48"/>
                  </a:lnTo>
                  <a:lnTo>
                    <a:pt x="255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0" y="45"/>
                  </a:lnTo>
                  <a:lnTo>
                    <a:pt x="270" y="42"/>
                  </a:lnTo>
                  <a:lnTo>
                    <a:pt x="270" y="39"/>
                  </a:lnTo>
                  <a:lnTo>
                    <a:pt x="270" y="36"/>
                  </a:lnTo>
                  <a:lnTo>
                    <a:pt x="270" y="33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70" y="21"/>
                  </a:lnTo>
                  <a:lnTo>
                    <a:pt x="270" y="18"/>
                  </a:lnTo>
                  <a:lnTo>
                    <a:pt x="270" y="15"/>
                  </a:lnTo>
                  <a:lnTo>
                    <a:pt x="270" y="12"/>
                  </a:lnTo>
                  <a:lnTo>
                    <a:pt x="273" y="6"/>
                  </a:lnTo>
                  <a:lnTo>
                    <a:pt x="273" y="3"/>
                  </a:lnTo>
                  <a:lnTo>
                    <a:pt x="273" y="0"/>
                  </a:lnTo>
                  <a:lnTo>
                    <a:pt x="276" y="0"/>
                  </a:lnTo>
                  <a:lnTo>
                    <a:pt x="279" y="0"/>
                  </a:lnTo>
                  <a:lnTo>
                    <a:pt x="279" y="3"/>
                  </a:lnTo>
                  <a:lnTo>
                    <a:pt x="282" y="3"/>
                  </a:lnTo>
                  <a:lnTo>
                    <a:pt x="285" y="6"/>
                  </a:lnTo>
                  <a:lnTo>
                    <a:pt x="288" y="6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4" y="3"/>
                  </a:lnTo>
                  <a:lnTo>
                    <a:pt x="294" y="6"/>
                  </a:lnTo>
                  <a:lnTo>
                    <a:pt x="297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9" y="6"/>
                  </a:lnTo>
                  <a:lnTo>
                    <a:pt x="315" y="6"/>
                  </a:lnTo>
                  <a:lnTo>
                    <a:pt x="321" y="6"/>
                  </a:lnTo>
                  <a:lnTo>
                    <a:pt x="330" y="6"/>
                  </a:lnTo>
                  <a:lnTo>
                    <a:pt x="333" y="6"/>
                  </a:lnTo>
                  <a:lnTo>
                    <a:pt x="339" y="6"/>
                  </a:lnTo>
                  <a:lnTo>
                    <a:pt x="342" y="6"/>
                  </a:lnTo>
                  <a:lnTo>
                    <a:pt x="345" y="6"/>
                  </a:lnTo>
                  <a:lnTo>
                    <a:pt x="345" y="9"/>
                  </a:lnTo>
                  <a:lnTo>
                    <a:pt x="345" y="12"/>
                  </a:lnTo>
                  <a:lnTo>
                    <a:pt x="345" y="15"/>
                  </a:lnTo>
                  <a:lnTo>
                    <a:pt x="345" y="18"/>
                  </a:lnTo>
                  <a:lnTo>
                    <a:pt x="345" y="21"/>
                  </a:lnTo>
                  <a:lnTo>
                    <a:pt x="342" y="24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42" y="33"/>
                  </a:lnTo>
                  <a:lnTo>
                    <a:pt x="339" y="33"/>
                  </a:lnTo>
                  <a:lnTo>
                    <a:pt x="339" y="36"/>
                  </a:lnTo>
                  <a:lnTo>
                    <a:pt x="339" y="39"/>
                  </a:lnTo>
                  <a:lnTo>
                    <a:pt x="339" y="42"/>
                  </a:lnTo>
                  <a:lnTo>
                    <a:pt x="336" y="42"/>
                  </a:lnTo>
                  <a:lnTo>
                    <a:pt x="336" y="45"/>
                  </a:lnTo>
                  <a:lnTo>
                    <a:pt x="336" y="48"/>
                  </a:lnTo>
                  <a:lnTo>
                    <a:pt x="333" y="51"/>
                  </a:lnTo>
                  <a:lnTo>
                    <a:pt x="333" y="54"/>
                  </a:lnTo>
                  <a:lnTo>
                    <a:pt x="333" y="57"/>
                  </a:lnTo>
                  <a:lnTo>
                    <a:pt x="330" y="57"/>
                  </a:lnTo>
                  <a:lnTo>
                    <a:pt x="330" y="60"/>
                  </a:lnTo>
                  <a:lnTo>
                    <a:pt x="330" y="63"/>
                  </a:lnTo>
                  <a:lnTo>
                    <a:pt x="327" y="66"/>
                  </a:lnTo>
                  <a:lnTo>
                    <a:pt x="327" y="69"/>
                  </a:lnTo>
                  <a:lnTo>
                    <a:pt x="327" y="72"/>
                  </a:lnTo>
                  <a:lnTo>
                    <a:pt x="327" y="75"/>
                  </a:lnTo>
                  <a:lnTo>
                    <a:pt x="327" y="78"/>
                  </a:lnTo>
                  <a:lnTo>
                    <a:pt x="324" y="81"/>
                  </a:lnTo>
                  <a:lnTo>
                    <a:pt x="324" y="84"/>
                  </a:lnTo>
                  <a:lnTo>
                    <a:pt x="324" y="87"/>
                  </a:lnTo>
                  <a:lnTo>
                    <a:pt x="324" y="90"/>
                  </a:lnTo>
                  <a:lnTo>
                    <a:pt x="321" y="93"/>
                  </a:lnTo>
                  <a:lnTo>
                    <a:pt x="321" y="96"/>
                  </a:lnTo>
                  <a:lnTo>
                    <a:pt x="321" y="99"/>
                  </a:lnTo>
                  <a:lnTo>
                    <a:pt x="321" y="102"/>
                  </a:lnTo>
                  <a:lnTo>
                    <a:pt x="321" y="105"/>
                  </a:lnTo>
                  <a:lnTo>
                    <a:pt x="321" y="108"/>
                  </a:lnTo>
                  <a:lnTo>
                    <a:pt x="321" y="111"/>
                  </a:lnTo>
                  <a:lnTo>
                    <a:pt x="321" y="114"/>
                  </a:lnTo>
                  <a:lnTo>
                    <a:pt x="318" y="114"/>
                  </a:lnTo>
                  <a:lnTo>
                    <a:pt x="318" y="117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6"/>
                  </a:lnTo>
                  <a:lnTo>
                    <a:pt x="315" y="129"/>
                  </a:lnTo>
                  <a:lnTo>
                    <a:pt x="315" y="132"/>
                  </a:lnTo>
                  <a:lnTo>
                    <a:pt x="315" y="135"/>
                  </a:lnTo>
                  <a:lnTo>
                    <a:pt x="312" y="135"/>
                  </a:lnTo>
                  <a:lnTo>
                    <a:pt x="312" y="138"/>
                  </a:lnTo>
                  <a:lnTo>
                    <a:pt x="312" y="141"/>
                  </a:lnTo>
                  <a:lnTo>
                    <a:pt x="309" y="144"/>
                  </a:lnTo>
                  <a:lnTo>
                    <a:pt x="309" y="147"/>
                  </a:lnTo>
                  <a:lnTo>
                    <a:pt x="306" y="147"/>
                  </a:lnTo>
                  <a:lnTo>
                    <a:pt x="306" y="150"/>
                  </a:lnTo>
                  <a:lnTo>
                    <a:pt x="306" y="153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3" y="162"/>
                  </a:lnTo>
                  <a:lnTo>
                    <a:pt x="303" y="165"/>
                  </a:lnTo>
                  <a:lnTo>
                    <a:pt x="303" y="168"/>
                  </a:lnTo>
                  <a:lnTo>
                    <a:pt x="300" y="168"/>
                  </a:lnTo>
                  <a:lnTo>
                    <a:pt x="300" y="171"/>
                  </a:lnTo>
                  <a:lnTo>
                    <a:pt x="297" y="171"/>
                  </a:lnTo>
                  <a:lnTo>
                    <a:pt x="297" y="174"/>
                  </a:lnTo>
                  <a:lnTo>
                    <a:pt x="294" y="174"/>
                  </a:lnTo>
                  <a:lnTo>
                    <a:pt x="291" y="177"/>
                  </a:lnTo>
                  <a:lnTo>
                    <a:pt x="288" y="180"/>
                  </a:lnTo>
                  <a:lnTo>
                    <a:pt x="285" y="183"/>
                  </a:lnTo>
                  <a:lnTo>
                    <a:pt x="282" y="186"/>
                  </a:lnTo>
                  <a:lnTo>
                    <a:pt x="279" y="189"/>
                  </a:lnTo>
                  <a:lnTo>
                    <a:pt x="276" y="189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76" y="192"/>
                  </a:lnTo>
                  <a:lnTo>
                    <a:pt x="276" y="189"/>
                  </a:lnTo>
                  <a:lnTo>
                    <a:pt x="279" y="189"/>
                  </a:lnTo>
                  <a:lnTo>
                    <a:pt x="276" y="192"/>
                  </a:lnTo>
                  <a:lnTo>
                    <a:pt x="276" y="195"/>
                  </a:lnTo>
                  <a:lnTo>
                    <a:pt x="273" y="195"/>
                  </a:lnTo>
                  <a:lnTo>
                    <a:pt x="270" y="198"/>
                  </a:lnTo>
                  <a:lnTo>
                    <a:pt x="267" y="198"/>
                  </a:lnTo>
                  <a:lnTo>
                    <a:pt x="264" y="201"/>
                  </a:lnTo>
                  <a:lnTo>
                    <a:pt x="261" y="201"/>
                  </a:lnTo>
                  <a:lnTo>
                    <a:pt x="258" y="201"/>
                  </a:lnTo>
                  <a:lnTo>
                    <a:pt x="258" y="204"/>
                  </a:lnTo>
                  <a:lnTo>
                    <a:pt x="255" y="204"/>
                  </a:lnTo>
                  <a:lnTo>
                    <a:pt x="252" y="204"/>
                  </a:lnTo>
                  <a:lnTo>
                    <a:pt x="249" y="207"/>
                  </a:lnTo>
                  <a:lnTo>
                    <a:pt x="246" y="210"/>
                  </a:lnTo>
                  <a:lnTo>
                    <a:pt x="246" y="213"/>
                  </a:lnTo>
                  <a:lnTo>
                    <a:pt x="243" y="213"/>
                  </a:lnTo>
                  <a:lnTo>
                    <a:pt x="243" y="216"/>
                  </a:lnTo>
                  <a:lnTo>
                    <a:pt x="240" y="216"/>
                  </a:lnTo>
                  <a:lnTo>
                    <a:pt x="240" y="219"/>
                  </a:lnTo>
                  <a:lnTo>
                    <a:pt x="237" y="219"/>
                  </a:lnTo>
                  <a:lnTo>
                    <a:pt x="237" y="222"/>
                  </a:lnTo>
                  <a:lnTo>
                    <a:pt x="234" y="222"/>
                  </a:lnTo>
                  <a:lnTo>
                    <a:pt x="234" y="225"/>
                  </a:lnTo>
                  <a:lnTo>
                    <a:pt x="231" y="228"/>
                  </a:lnTo>
                  <a:lnTo>
                    <a:pt x="228" y="231"/>
                  </a:lnTo>
                  <a:lnTo>
                    <a:pt x="225" y="234"/>
                  </a:lnTo>
                  <a:lnTo>
                    <a:pt x="225" y="237"/>
                  </a:lnTo>
                  <a:lnTo>
                    <a:pt x="222" y="237"/>
                  </a:lnTo>
                  <a:lnTo>
                    <a:pt x="222" y="240"/>
                  </a:lnTo>
                  <a:lnTo>
                    <a:pt x="219" y="240"/>
                  </a:lnTo>
                  <a:lnTo>
                    <a:pt x="219" y="243"/>
                  </a:lnTo>
                  <a:lnTo>
                    <a:pt x="216" y="246"/>
                  </a:lnTo>
                  <a:lnTo>
                    <a:pt x="213" y="249"/>
                  </a:lnTo>
                  <a:lnTo>
                    <a:pt x="210" y="252"/>
                  </a:lnTo>
                  <a:lnTo>
                    <a:pt x="210" y="255"/>
                  </a:lnTo>
                  <a:lnTo>
                    <a:pt x="207" y="255"/>
                  </a:lnTo>
                  <a:lnTo>
                    <a:pt x="207" y="258"/>
                  </a:lnTo>
                  <a:lnTo>
                    <a:pt x="204" y="261"/>
                  </a:lnTo>
                  <a:lnTo>
                    <a:pt x="201" y="264"/>
                  </a:lnTo>
                  <a:lnTo>
                    <a:pt x="201" y="267"/>
                  </a:lnTo>
                  <a:lnTo>
                    <a:pt x="198" y="270"/>
                  </a:lnTo>
                  <a:lnTo>
                    <a:pt x="198" y="273"/>
                  </a:lnTo>
                  <a:lnTo>
                    <a:pt x="195" y="276"/>
                  </a:lnTo>
                  <a:lnTo>
                    <a:pt x="195" y="279"/>
                  </a:lnTo>
                  <a:lnTo>
                    <a:pt x="192" y="282"/>
                  </a:lnTo>
                  <a:lnTo>
                    <a:pt x="192" y="285"/>
                  </a:lnTo>
                  <a:lnTo>
                    <a:pt x="189" y="288"/>
                  </a:lnTo>
                  <a:lnTo>
                    <a:pt x="189" y="291"/>
                  </a:lnTo>
                  <a:lnTo>
                    <a:pt x="192" y="291"/>
                  </a:lnTo>
                  <a:lnTo>
                    <a:pt x="192" y="294"/>
                  </a:lnTo>
                  <a:lnTo>
                    <a:pt x="189" y="297"/>
                  </a:lnTo>
                  <a:lnTo>
                    <a:pt x="186" y="300"/>
                  </a:lnTo>
                  <a:lnTo>
                    <a:pt x="186" y="303"/>
                  </a:lnTo>
                  <a:lnTo>
                    <a:pt x="183" y="303"/>
                  </a:lnTo>
                  <a:lnTo>
                    <a:pt x="183" y="306"/>
                  </a:lnTo>
                  <a:lnTo>
                    <a:pt x="180" y="309"/>
                  </a:lnTo>
                  <a:lnTo>
                    <a:pt x="177" y="309"/>
                  </a:lnTo>
                  <a:lnTo>
                    <a:pt x="177" y="312"/>
                  </a:lnTo>
                  <a:lnTo>
                    <a:pt x="177" y="315"/>
                  </a:lnTo>
                  <a:lnTo>
                    <a:pt x="174" y="315"/>
                  </a:lnTo>
                  <a:lnTo>
                    <a:pt x="174" y="318"/>
                  </a:lnTo>
                  <a:lnTo>
                    <a:pt x="174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7"/>
                  </a:lnTo>
                  <a:lnTo>
                    <a:pt x="168" y="330"/>
                  </a:lnTo>
                  <a:lnTo>
                    <a:pt x="168" y="333"/>
                  </a:lnTo>
                  <a:lnTo>
                    <a:pt x="165" y="336"/>
                  </a:lnTo>
                  <a:lnTo>
                    <a:pt x="165" y="339"/>
                  </a:lnTo>
                  <a:lnTo>
                    <a:pt x="162" y="342"/>
                  </a:lnTo>
                  <a:lnTo>
                    <a:pt x="159" y="345"/>
                  </a:lnTo>
                  <a:lnTo>
                    <a:pt x="159" y="348"/>
                  </a:lnTo>
                  <a:lnTo>
                    <a:pt x="159" y="351"/>
                  </a:lnTo>
                  <a:lnTo>
                    <a:pt x="156" y="354"/>
                  </a:lnTo>
                  <a:lnTo>
                    <a:pt x="156" y="357"/>
                  </a:lnTo>
                  <a:lnTo>
                    <a:pt x="153" y="357"/>
                  </a:lnTo>
                  <a:lnTo>
                    <a:pt x="153" y="360"/>
                  </a:lnTo>
                  <a:lnTo>
                    <a:pt x="150" y="363"/>
                  </a:lnTo>
                  <a:lnTo>
                    <a:pt x="150" y="366"/>
                  </a:lnTo>
                  <a:lnTo>
                    <a:pt x="147" y="366"/>
                  </a:lnTo>
                  <a:lnTo>
                    <a:pt x="147" y="369"/>
                  </a:lnTo>
                  <a:lnTo>
                    <a:pt x="147" y="372"/>
                  </a:lnTo>
                  <a:lnTo>
                    <a:pt x="144" y="375"/>
                  </a:lnTo>
                  <a:lnTo>
                    <a:pt x="141" y="378"/>
                  </a:lnTo>
                  <a:lnTo>
                    <a:pt x="141" y="381"/>
                  </a:lnTo>
                  <a:lnTo>
                    <a:pt x="138" y="381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5" y="387"/>
                  </a:lnTo>
                  <a:lnTo>
                    <a:pt x="135" y="390"/>
                  </a:lnTo>
                  <a:lnTo>
                    <a:pt x="132" y="390"/>
                  </a:lnTo>
                  <a:lnTo>
                    <a:pt x="132" y="393"/>
                  </a:lnTo>
                  <a:lnTo>
                    <a:pt x="129" y="396"/>
                  </a:lnTo>
                  <a:lnTo>
                    <a:pt x="129" y="399"/>
                  </a:lnTo>
                  <a:lnTo>
                    <a:pt x="126" y="399"/>
                  </a:lnTo>
                  <a:lnTo>
                    <a:pt x="126" y="402"/>
                  </a:lnTo>
                  <a:lnTo>
                    <a:pt x="126" y="405"/>
                  </a:lnTo>
                  <a:lnTo>
                    <a:pt x="123" y="405"/>
                  </a:lnTo>
                  <a:lnTo>
                    <a:pt x="123" y="408"/>
                  </a:lnTo>
                  <a:lnTo>
                    <a:pt x="120" y="408"/>
                  </a:lnTo>
                  <a:lnTo>
                    <a:pt x="120" y="411"/>
                  </a:lnTo>
                  <a:lnTo>
                    <a:pt x="120" y="408"/>
                  </a:lnTo>
                  <a:lnTo>
                    <a:pt x="117" y="408"/>
                  </a:lnTo>
                  <a:lnTo>
                    <a:pt x="117" y="405"/>
                  </a:lnTo>
                  <a:lnTo>
                    <a:pt x="114" y="405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7" y="399"/>
                  </a:lnTo>
                  <a:lnTo>
                    <a:pt x="114" y="399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4" y="396"/>
                  </a:lnTo>
                  <a:lnTo>
                    <a:pt x="117" y="396"/>
                  </a:lnTo>
                  <a:lnTo>
                    <a:pt x="117" y="393"/>
                  </a:lnTo>
                  <a:lnTo>
                    <a:pt x="114" y="393"/>
                  </a:lnTo>
                  <a:lnTo>
                    <a:pt x="114" y="390"/>
                  </a:lnTo>
                  <a:lnTo>
                    <a:pt x="111" y="390"/>
                  </a:lnTo>
                  <a:lnTo>
                    <a:pt x="108" y="390"/>
                  </a:lnTo>
                  <a:lnTo>
                    <a:pt x="111" y="390"/>
                  </a:lnTo>
                  <a:lnTo>
                    <a:pt x="111" y="387"/>
                  </a:lnTo>
                  <a:lnTo>
                    <a:pt x="108" y="387"/>
                  </a:lnTo>
                  <a:lnTo>
                    <a:pt x="105" y="387"/>
                  </a:lnTo>
                  <a:lnTo>
                    <a:pt x="105" y="384"/>
                  </a:lnTo>
                  <a:lnTo>
                    <a:pt x="102" y="384"/>
                  </a:lnTo>
                  <a:lnTo>
                    <a:pt x="102" y="387"/>
                  </a:lnTo>
                  <a:lnTo>
                    <a:pt x="99" y="387"/>
                  </a:lnTo>
                  <a:lnTo>
                    <a:pt x="99" y="384"/>
                  </a:lnTo>
                  <a:lnTo>
                    <a:pt x="102" y="384"/>
                  </a:lnTo>
                  <a:lnTo>
                    <a:pt x="99" y="384"/>
                  </a:lnTo>
                  <a:lnTo>
                    <a:pt x="99" y="381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6" y="378"/>
                  </a:lnTo>
                  <a:lnTo>
                    <a:pt x="96" y="381"/>
                  </a:lnTo>
                  <a:lnTo>
                    <a:pt x="93" y="381"/>
                  </a:lnTo>
                  <a:lnTo>
                    <a:pt x="93" y="378"/>
                  </a:lnTo>
                  <a:lnTo>
                    <a:pt x="96" y="378"/>
                  </a:lnTo>
                  <a:lnTo>
                    <a:pt x="93" y="378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7" y="375"/>
                  </a:lnTo>
                  <a:lnTo>
                    <a:pt x="87" y="372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4" y="375"/>
                  </a:lnTo>
                  <a:lnTo>
                    <a:pt x="84" y="372"/>
                  </a:lnTo>
                  <a:lnTo>
                    <a:pt x="81" y="375"/>
                  </a:lnTo>
                  <a:lnTo>
                    <a:pt x="81" y="372"/>
                  </a:lnTo>
                  <a:lnTo>
                    <a:pt x="78" y="372"/>
                  </a:lnTo>
                  <a:lnTo>
                    <a:pt x="78" y="369"/>
                  </a:lnTo>
                  <a:lnTo>
                    <a:pt x="75" y="369"/>
                  </a:lnTo>
                  <a:lnTo>
                    <a:pt x="75" y="372"/>
                  </a:lnTo>
                  <a:lnTo>
                    <a:pt x="72" y="372"/>
                  </a:lnTo>
                  <a:lnTo>
                    <a:pt x="69" y="372"/>
                  </a:lnTo>
                  <a:lnTo>
                    <a:pt x="69" y="369"/>
                  </a:lnTo>
                  <a:lnTo>
                    <a:pt x="66" y="369"/>
                  </a:lnTo>
                  <a:lnTo>
                    <a:pt x="63" y="366"/>
                  </a:lnTo>
                  <a:lnTo>
                    <a:pt x="60" y="366"/>
                  </a:lnTo>
                  <a:lnTo>
                    <a:pt x="57" y="366"/>
                  </a:lnTo>
                  <a:lnTo>
                    <a:pt x="54" y="366"/>
                  </a:lnTo>
                  <a:lnTo>
                    <a:pt x="51" y="369"/>
                  </a:lnTo>
                  <a:lnTo>
                    <a:pt x="48" y="369"/>
                  </a:lnTo>
                  <a:lnTo>
                    <a:pt x="48" y="366"/>
                  </a:lnTo>
                  <a:lnTo>
                    <a:pt x="45" y="366"/>
                  </a:lnTo>
                  <a:lnTo>
                    <a:pt x="42" y="366"/>
                  </a:lnTo>
                  <a:lnTo>
                    <a:pt x="39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6" y="366"/>
                  </a:lnTo>
                  <a:lnTo>
                    <a:pt x="33" y="366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3" y="363"/>
                  </a:lnTo>
                  <a:lnTo>
                    <a:pt x="30" y="363"/>
                  </a:lnTo>
                  <a:lnTo>
                    <a:pt x="30" y="360"/>
                  </a:lnTo>
                  <a:lnTo>
                    <a:pt x="30" y="357"/>
                  </a:lnTo>
                  <a:lnTo>
                    <a:pt x="27" y="357"/>
                  </a:lnTo>
                  <a:lnTo>
                    <a:pt x="24" y="354"/>
                  </a:lnTo>
                  <a:lnTo>
                    <a:pt x="21" y="354"/>
                  </a:lnTo>
                  <a:lnTo>
                    <a:pt x="18" y="357"/>
                  </a:lnTo>
                  <a:lnTo>
                    <a:pt x="18" y="360"/>
                  </a:lnTo>
                  <a:lnTo>
                    <a:pt x="15" y="360"/>
                  </a:lnTo>
                  <a:lnTo>
                    <a:pt x="12" y="360"/>
                  </a:lnTo>
                  <a:lnTo>
                    <a:pt x="9" y="360"/>
                  </a:lnTo>
                  <a:lnTo>
                    <a:pt x="9" y="357"/>
                  </a:lnTo>
                  <a:lnTo>
                    <a:pt x="6" y="357"/>
                  </a:lnTo>
                  <a:lnTo>
                    <a:pt x="6" y="354"/>
                  </a:lnTo>
                  <a:lnTo>
                    <a:pt x="3" y="354"/>
                  </a:lnTo>
                  <a:lnTo>
                    <a:pt x="0" y="351"/>
                  </a:lnTo>
                  <a:lnTo>
                    <a:pt x="0" y="345"/>
                  </a:lnTo>
                  <a:lnTo>
                    <a:pt x="3" y="345"/>
                  </a:lnTo>
                  <a:lnTo>
                    <a:pt x="0" y="342"/>
                  </a:lnTo>
                  <a:lnTo>
                    <a:pt x="0" y="339"/>
                  </a:lnTo>
                  <a:lnTo>
                    <a:pt x="0" y="336"/>
                  </a:lnTo>
                  <a:lnTo>
                    <a:pt x="0" y="333"/>
                  </a:lnTo>
                  <a:lnTo>
                    <a:pt x="3" y="333"/>
                  </a:lnTo>
                  <a:lnTo>
                    <a:pt x="6" y="336"/>
                  </a:lnTo>
                  <a:lnTo>
                    <a:pt x="9" y="336"/>
                  </a:lnTo>
                  <a:lnTo>
                    <a:pt x="12" y="333"/>
                  </a:lnTo>
                  <a:lnTo>
                    <a:pt x="12" y="330"/>
                  </a:lnTo>
                  <a:lnTo>
                    <a:pt x="15" y="330"/>
                  </a:lnTo>
                  <a:lnTo>
                    <a:pt x="18" y="333"/>
                  </a:lnTo>
                  <a:lnTo>
                    <a:pt x="18" y="330"/>
                  </a:lnTo>
                  <a:lnTo>
                    <a:pt x="18" y="327"/>
                  </a:lnTo>
                  <a:lnTo>
                    <a:pt x="21" y="327"/>
                  </a:lnTo>
                  <a:lnTo>
                    <a:pt x="21" y="324"/>
                  </a:lnTo>
                  <a:lnTo>
                    <a:pt x="18" y="324"/>
                  </a:lnTo>
                  <a:lnTo>
                    <a:pt x="21" y="324"/>
                  </a:lnTo>
                  <a:lnTo>
                    <a:pt x="24" y="324"/>
                  </a:lnTo>
                  <a:lnTo>
                    <a:pt x="24" y="321"/>
                  </a:lnTo>
                  <a:lnTo>
                    <a:pt x="27" y="321"/>
                  </a:lnTo>
                  <a:lnTo>
                    <a:pt x="27" y="318"/>
                  </a:lnTo>
                  <a:lnTo>
                    <a:pt x="30" y="321"/>
                  </a:lnTo>
                  <a:lnTo>
                    <a:pt x="30" y="318"/>
                  </a:lnTo>
                  <a:lnTo>
                    <a:pt x="30" y="315"/>
                  </a:lnTo>
                  <a:lnTo>
                    <a:pt x="27" y="312"/>
                  </a:lnTo>
                  <a:lnTo>
                    <a:pt x="27" y="309"/>
                  </a:lnTo>
                  <a:lnTo>
                    <a:pt x="24" y="309"/>
                  </a:lnTo>
                  <a:lnTo>
                    <a:pt x="24" y="306"/>
                  </a:lnTo>
                  <a:lnTo>
                    <a:pt x="21" y="306"/>
                  </a:lnTo>
                  <a:lnTo>
                    <a:pt x="21" y="303"/>
                  </a:lnTo>
                  <a:lnTo>
                    <a:pt x="24" y="303"/>
                  </a:lnTo>
                  <a:lnTo>
                    <a:pt x="24" y="300"/>
                  </a:lnTo>
                  <a:lnTo>
                    <a:pt x="27" y="300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0" y="300"/>
                  </a:lnTo>
                  <a:lnTo>
                    <a:pt x="30" y="297"/>
                  </a:lnTo>
                  <a:lnTo>
                    <a:pt x="33" y="297"/>
                  </a:lnTo>
                  <a:lnTo>
                    <a:pt x="33" y="294"/>
                  </a:lnTo>
                  <a:lnTo>
                    <a:pt x="30" y="294"/>
                  </a:lnTo>
                  <a:lnTo>
                    <a:pt x="33" y="291"/>
                  </a:lnTo>
                  <a:lnTo>
                    <a:pt x="27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282"/>
                  </a:lnTo>
                  <a:lnTo>
                    <a:pt x="30" y="279"/>
                  </a:lnTo>
                  <a:lnTo>
                    <a:pt x="33" y="279"/>
                  </a:lnTo>
                  <a:lnTo>
                    <a:pt x="33" y="276"/>
                  </a:lnTo>
                  <a:lnTo>
                    <a:pt x="33" y="273"/>
                  </a:lnTo>
                  <a:lnTo>
                    <a:pt x="36" y="273"/>
                  </a:lnTo>
                  <a:lnTo>
                    <a:pt x="39" y="270"/>
                  </a:lnTo>
                  <a:lnTo>
                    <a:pt x="42" y="270"/>
                  </a:lnTo>
                  <a:lnTo>
                    <a:pt x="45" y="270"/>
                  </a:lnTo>
                  <a:lnTo>
                    <a:pt x="42" y="267"/>
                  </a:lnTo>
                  <a:lnTo>
                    <a:pt x="45" y="267"/>
                  </a:lnTo>
                  <a:lnTo>
                    <a:pt x="42" y="264"/>
                  </a:lnTo>
                  <a:lnTo>
                    <a:pt x="45" y="264"/>
                  </a:lnTo>
                  <a:lnTo>
                    <a:pt x="48" y="264"/>
                  </a:lnTo>
                  <a:lnTo>
                    <a:pt x="45" y="261"/>
                  </a:lnTo>
                  <a:lnTo>
                    <a:pt x="45" y="258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5" y="255"/>
                  </a:lnTo>
                  <a:lnTo>
                    <a:pt x="48" y="255"/>
                  </a:lnTo>
                  <a:lnTo>
                    <a:pt x="48" y="252"/>
                  </a:lnTo>
                  <a:lnTo>
                    <a:pt x="51" y="252"/>
                  </a:lnTo>
                  <a:lnTo>
                    <a:pt x="54" y="252"/>
                  </a:lnTo>
                  <a:lnTo>
                    <a:pt x="54" y="249"/>
                  </a:lnTo>
                  <a:lnTo>
                    <a:pt x="54" y="246"/>
                  </a:lnTo>
                  <a:lnTo>
                    <a:pt x="57" y="246"/>
                  </a:lnTo>
                  <a:lnTo>
                    <a:pt x="57" y="243"/>
                  </a:lnTo>
                  <a:lnTo>
                    <a:pt x="57" y="240"/>
                  </a:lnTo>
                  <a:lnTo>
                    <a:pt x="57" y="237"/>
                  </a:lnTo>
                  <a:lnTo>
                    <a:pt x="57" y="234"/>
                  </a:lnTo>
                  <a:lnTo>
                    <a:pt x="54" y="234"/>
                  </a:lnTo>
                  <a:lnTo>
                    <a:pt x="54" y="231"/>
                  </a:lnTo>
                  <a:lnTo>
                    <a:pt x="54" y="228"/>
                  </a:lnTo>
                  <a:lnTo>
                    <a:pt x="51" y="228"/>
                  </a:lnTo>
                  <a:lnTo>
                    <a:pt x="48" y="228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5" y="216"/>
                  </a:lnTo>
                  <a:lnTo>
                    <a:pt x="42" y="216"/>
                  </a:lnTo>
                  <a:lnTo>
                    <a:pt x="39" y="216"/>
                  </a:lnTo>
                  <a:lnTo>
                    <a:pt x="39" y="213"/>
                  </a:lnTo>
                  <a:lnTo>
                    <a:pt x="36" y="213"/>
                  </a:lnTo>
                  <a:lnTo>
                    <a:pt x="39" y="210"/>
                  </a:lnTo>
                  <a:lnTo>
                    <a:pt x="36" y="210"/>
                  </a:lnTo>
                  <a:lnTo>
                    <a:pt x="33" y="210"/>
                  </a:lnTo>
                  <a:lnTo>
                    <a:pt x="33" y="207"/>
                  </a:lnTo>
                  <a:lnTo>
                    <a:pt x="30" y="207"/>
                  </a:lnTo>
                  <a:lnTo>
                    <a:pt x="30" y="204"/>
                  </a:lnTo>
                  <a:lnTo>
                    <a:pt x="27" y="204"/>
                  </a:lnTo>
                  <a:lnTo>
                    <a:pt x="27" y="201"/>
                  </a:lnTo>
                  <a:lnTo>
                    <a:pt x="24" y="201"/>
                  </a:lnTo>
                  <a:lnTo>
                    <a:pt x="24" y="198"/>
                  </a:lnTo>
                  <a:lnTo>
                    <a:pt x="21" y="198"/>
                  </a:lnTo>
                  <a:lnTo>
                    <a:pt x="18" y="198"/>
                  </a:lnTo>
                  <a:lnTo>
                    <a:pt x="18" y="201"/>
                  </a:lnTo>
                  <a:lnTo>
                    <a:pt x="18" y="198"/>
                  </a:lnTo>
                  <a:lnTo>
                    <a:pt x="15" y="198"/>
                  </a:lnTo>
                  <a:lnTo>
                    <a:pt x="15" y="195"/>
                  </a:lnTo>
                  <a:lnTo>
                    <a:pt x="15" y="192"/>
                  </a:lnTo>
                  <a:lnTo>
                    <a:pt x="12" y="192"/>
                  </a:lnTo>
                  <a:lnTo>
                    <a:pt x="12" y="189"/>
                  </a:lnTo>
                  <a:lnTo>
                    <a:pt x="15" y="189"/>
                  </a:lnTo>
                  <a:lnTo>
                    <a:pt x="12" y="186"/>
                  </a:lnTo>
                  <a:lnTo>
                    <a:pt x="9" y="186"/>
                  </a:lnTo>
                  <a:lnTo>
                    <a:pt x="9" y="183"/>
                  </a:lnTo>
                  <a:lnTo>
                    <a:pt x="12" y="180"/>
                  </a:lnTo>
                  <a:lnTo>
                    <a:pt x="12" y="177"/>
                  </a:lnTo>
                  <a:lnTo>
                    <a:pt x="15" y="174"/>
                  </a:lnTo>
                  <a:lnTo>
                    <a:pt x="15" y="171"/>
                  </a:lnTo>
                  <a:lnTo>
                    <a:pt x="18" y="171"/>
                  </a:lnTo>
                  <a:lnTo>
                    <a:pt x="15" y="171"/>
                  </a:lnTo>
                  <a:lnTo>
                    <a:pt x="18" y="168"/>
                  </a:lnTo>
                  <a:lnTo>
                    <a:pt x="21" y="168"/>
                  </a:lnTo>
                  <a:lnTo>
                    <a:pt x="21" y="165"/>
                  </a:lnTo>
                  <a:lnTo>
                    <a:pt x="24" y="165"/>
                  </a:lnTo>
                  <a:lnTo>
                    <a:pt x="27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2"/>
                  </a:lnTo>
                  <a:lnTo>
                    <a:pt x="33" y="165"/>
                  </a:lnTo>
                  <a:lnTo>
                    <a:pt x="36" y="165"/>
                  </a:lnTo>
                  <a:lnTo>
                    <a:pt x="39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9" y="156"/>
                  </a:lnTo>
                  <a:lnTo>
                    <a:pt x="39" y="153"/>
                  </a:lnTo>
                  <a:lnTo>
                    <a:pt x="42" y="153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8" y="153"/>
                  </a:lnTo>
                  <a:lnTo>
                    <a:pt x="45" y="153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1" y="147"/>
                  </a:lnTo>
                  <a:lnTo>
                    <a:pt x="54" y="150"/>
                  </a:lnTo>
                  <a:lnTo>
                    <a:pt x="54" y="147"/>
                  </a:lnTo>
                  <a:lnTo>
                    <a:pt x="54" y="144"/>
                  </a:lnTo>
                  <a:lnTo>
                    <a:pt x="57" y="144"/>
                  </a:lnTo>
                  <a:lnTo>
                    <a:pt x="57" y="141"/>
                  </a:lnTo>
                  <a:lnTo>
                    <a:pt x="60" y="141"/>
                  </a:lnTo>
                  <a:lnTo>
                    <a:pt x="60" y="138"/>
                  </a:lnTo>
                  <a:lnTo>
                    <a:pt x="63" y="138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5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5" y="129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5" y="120"/>
                  </a:lnTo>
                  <a:lnTo>
                    <a:pt x="72" y="117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11"/>
                  </a:lnTo>
                  <a:lnTo>
                    <a:pt x="75" y="108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78" y="102"/>
                  </a:lnTo>
                  <a:lnTo>
                    <a:pt x="78" y="99"/>
                  </a:lnTo>
                  <a:lnTo>
                    <a:pt x="78" y="96"/>
                  </a:lnTo>
                  <a:lnTo>
                    <a:pt x="81" y="96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81" y="93"/>
                  </a:lnTo>
                  <a:lnTo>
                    <a:pt x="78" y="93"/>
                  </a:lnTo>
                  <a:lnTo>
                    <a:pt x="78" y="90"/>
                  </a:lnTo>
                  <a:lnTo>
                    <a:pt x="78" y="87"/>
                  </a:lnTo>
                  <a:lnTo>
                    <a:pt x="78" y="84"/>
                  </a:lnTo>
                  <a:lnTo>
                    <a:pt x="75" y="81"/>
                  </a:lnTo>
                  <a:lnTo>
                    <a:pt x="75" y="78"/>
                  </a:lnTo>
                  <a:lnTo>
                    <a:pt x="78" y="78"/>
                  </a:lnTo>
                  <a:lnTo>
                    <a:pt x="81" y="78"/>
                  </a:lnTo>
                  <a:lnTo>
                    <a:pt x="81" y="75"/>
                  </a:lnTo>
                  <a:lnTo>
                    <a:pt x="84" y="75"/>
                  </a:lnTo>
                  <a:lnTo>
                    <a:pt x="84" y="72"/>
                  </a:lnTo>
                  <a:lnTo>
                    <a:pt x="84" y="69"/>
                  </a:lnTo>
                  <a:lnTo>
                    <a:pt x="81" y="69"/>
                  </a:lnTo>
                  <a:lnTo>
                    <a:pt x="78" y="66"/>
                  </a:lnTo>
                  <a:lnTo>
                    <a:pt x="81" y="63"/>
                  </a:lnTo>
                  <a:lnTo>
                    <a:pt x="78" y="63"/>
                  </a:lnTo>
                  <a:lnTo>
                    <a:pt x="81" y="63"/>
                  </a:lnTo>
                  <a:lnTo>
                    <a:pt x="81" y="60"/>
                  </a:lnTo>
                  <a:lnTo>
                    <a:pt x="84" y="60"/>
                  </a:lnTo>
                  <a:lnTo>
                    <a:pt x="87" y="60"/>
                  </a:lnTo>
                  <a:lnTo>
                    <a:pt x="87" y="63"/>
                  </a:lnTo>
                  <a:lnTo>
                    <a:pt x="87" y="60"/>
                  </a:lnTo>
                  <a:lnTo>
                    <a:pt x="87" y="57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6" y="51"/>
                  </a:lnTo>
                  <a:lnTo>
                    <a:pt x="99" y="54"/>
                  </a:lnTo>
                  <a:lnTo>
                    <a:pt x="102" y="54"/>
                  </a:lnTo>
                  <a:lnTo>
                    <a:pt x="105" y="57"/>
                  </a:lnTo>
                  <a:lnTo>
                    <a:pt x="105" y="54"/>
                  </a:lnTo>
                  <a:lnTo>
                    <a:pt x="108" y="54"/>
                  </a:lnTo>
                  <a:lnTo>
                    <a:pt x="111" y="54"/>
                  </a:lnTo>
                  <a:lnTo>
                    <a:pt x="114" y="57"/>
                  </a:lnTo>
                  <a:lnTo>
                    <a:pt x="117" y="57"/>
                  </a:lnTo>
                  <a:lnTo>
                    <a:pt x="117" y="54"/>
                  </a:lnTo>
                  <a:lnTo>
                    <a:pt x="120" y="54"/>
                  </a:lnTo>
                  <a:lnTo>
                    <a:pt x="120" y="51"/>
                  </a:lnTo>
                  <a:lnTo>
                    <a:pt x="123" y="54"/>
                  </a:lnTo>
                  <a:lnTo>
                    <a:pt x="126" y="54"/>
                  </a:lnTo>
                  <a:lnTo>
                    <a:pt x="126" y="51"/>
                  </a:lnTo>
                  <a:lnTo>
                    <a:pt x="126" y="48"/>
                  </a:lnTo>
                  <a:lnTo>
                    <a:pt x="129" y="48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8" y="45"/>
                  </a:lnTo>
                  <a:lnTo>
                    <a:pt x="138" y="48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3" y="48"/>
                  </a:lnTo>
                  <a:lnTo>
                    <a:pt x="159" y="45"/>
                  </a:lnTo>
                  <a:lnTo>
                    <a:pt x="162" y="45"/>
                  </a:lnTo>
                  <a:lnTo>
                    <a:pt x="168" y="48"/>
                  </a:lnTo>
                  <a:lnTo>
                    <a:pt x="174" y="51"/>
                  </a:lnTo>
                  <a:lnTo>
                    <a:pt x="177" y="51"/>
                  </a:lnTo>
                  <a:lnTo>
                    <a:pt x="177" y="48"/>
                  </a:lnTo>
                  <a:lnTo>
                    <a:pt x="180" y="48"/>
                  </a:lnTo>
                  <a:lnTo>
                    <a:pt x="180" y="51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83" y="54"/>
                  </a:lnTo>
                  <a:lnTo>
                    <a:pt x="186" y="54"/>
                  </a:lnTo>
                  <a:lnTo>
                    <a:pt x="186" y="51"/>
                  </a:lnTo>
                  <a:lnTo>
                    <a:pt x="189" y="51"/>
                  </a:lnTo>
                  <a:lnTo>
                    <a:pt x="192" y="51"/>
                  </a:lnTo>
                  <a:lnTo>
                    <a:pt x="195" y="51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8" y="51"/>
                  </a:lnTo>
                  <a:lnTo>
                    <a:pt x="198" y="54"/>
                  </a:lnTo>
                  <a:lnTo>
                    <a:pt x="201" y="54"/>
                  </a:lnTo>
                  <a:lnTo>
                    <a:pt x="204" y="48"/>
                  </a:lnTo>
                  <a:lnTo>
                    <a:pt x="207" y="45"/>
                  </a:lnTo>
                  <a:lnTo>
                    <a:pt x="210" y="42"/>
                  </a:lnTo>
                  <a:close/>
                  <a:moveTo>
                    <a:pt x="60" y="300"/>
                  </a:moveTo>
                  <a:lnTo>
                    <a:pt x="57" y="300"/>
                  </a:lnTo>
                  <a:lnTo>
                    <a:pt x="57" y="303"/>
                  </a:lnTo>
                  <a:lnTo>
                    <a:pt x="54" y="303"/>
                  </a:lnTo>
                  <a:lnTo>
                    <a:pt x="57" y="306"/>
                  </a:lnTo>
                  <a:lnTo>
                    <a:pt x="60" y="306"/>
                  </a:lnTo>
                  <a:lnTo>
                    <a:pt x="60" y="309"/>
                  </a:lnTo>
                  <a:lnTo>
                    <a:pt x="57" y="309"/>
                  </a:lnTo>
                  <a:lnTo>
                    <a:pt x="57" y="312"/>
                  </a:lnTo>
                  <a:lnTo>
                    <a:pt x="54" y="315"/>
                  </a:lnTo>
                  <a:lnTo>
                    <a:pt x="54" y="318"/>
                  </a:lnTo>
                  <a:lnTo>
                    <a:pt x="51" y="321"/>
                  </a:lnTo>
                  <a:lnTo>
                    <a:pt x="54" y="321"/>
                  </a:lnTo>
                  <a:lnTo>
                    <a:pt x="57" y="324"/>
                  </a:lnTo>
                  <a:lnTo>
                    <a:pt x="63" y="324"/>
                  </a:lnTo>
                  <a:lnTo>
                    <a:pt x="63" y="327"/>
                  </a:lnTo>
                  <a:lnTo>
                    <a:pt x="63" y="330"/>
                  </a:lnTo>
                  <a:lnTo>
                    <a:pt x="60" y="330"/>
                  </a:lnTo>
                  <a:lnTo>
                    <a:pt x="63" y="333"/>
                  </a:lnTo>
                  <a:lnTo>
                    <a:pt x="63" y="336"/>
                  </a:lnTo>
                  <a:lnTo>
                    <a:pt x="60" y="339"/>
                  </a:lnTo>
                  <a:lnTo>
                    <a:pt x="63" y="339"/>
                  </a:lnTo>
                  <a:lnTo>
                    <a:pt x="66" y="342"/>
                  </a:lnTo>
                  <a:lnTo>
                    <a:pt x="69" y="345"/>
                  </a:lnTo>
                  <a:lnTo>
                    <a:pt x="69" y="348"/>
                  </a:lnTo>
                  <a:lnTo>
                    <a:pt x="69" y="351"/>
                  </a:lnTo>
                  <a:lnTo>
                    <a:pt x="72" y="351"/>
                  </a:lnTo>
                  <a:lnTo>
                    <a:pt x="72" y="354"/>
                  </a:lnTo>
                  <a:lnTo>
                    <a:pt x="69" y="354"/>
                  </a:lnTo>
                  <a:lnTo>
                    <a:pt x="72" y="357"/>
                  </a:lnTo>
                  <a:lnTo>
                    <a:pt x="69" y="357"/>
                  </a:lnTo>
                  <a:lnTo>
                    <a:pt x="72" y="357"/>
                  </a:lnTo>
                  <a:lnTo>
                    <a:pt x="72" y="360"/>
                  </a:lnTo>
                  <a:lnTo>
                    <a:pt x="75" y="357"/>
                  </a:lnTo>
                  <a:lnTo>
                    <a:pt x="75" y="354"/>
                  </a:lnTo>
                  <a:lnTo>
                    <a:pt x="78" y="354"/>
                  </a:lnTo>
                  <a:lnTo>
                    <a:pt x="81" y="354"/>
                  </a:lnTo>
                  <a:lnTo>
                    <a:pt x="84" y="354"/>
                  </a:lnTo>
                  <a:lnTo>
                    <a:pt x="87" y="354"/>
                  </a:lnTo>
                  <a:lnTo>
                    <a:pt x="87" y="357"/>
                  </a:lnTo>
                  <a:lnTo>
                    <a:pt x="90" y="357"/>
                  </a:lnTo>
                  <a:lnTo>
                    <a:pt x="90" y="360"/>
                  </a:lnTo>
                  <a:lnTo>
                    <a:pt x="93" y="360"/>
                  </a:lnTo>
                  <a:lnTo>
                    <a:pt x="96" y="360"/>
                  </a:lnTo>
                  <a:lnTo>
                    <a:pt x="96" y="357"/>
                  </a:lnTo>
                  <a:lnTo>
                    <a:pt x="99" y="360"/>
                  </a:lnTo>
                  <a:lnTo>
                    <a:pt x="99" y="363"/>
                  </a:lnTo>
                  <a:lnTo>
                    <a:pt x="99" y="360"/>
                  </a:lnTo>
                  <a:lnTo>
                    <a:pt x="102" y="360"/>
                  </a:lnTo>
                  <a:lnTo>
                    <a:pt x="102" y="357"/>
                  </a:lnTo>
                  <a:lnTo>
                    <a:pt x="102" y="354"/>
                  </a:lnTo>
                  <a:lnTo>
                    <a:pt x="105" y="354"/>
                  </a:lnTo>
                  <a:lnTo>
                    <a:pt x="105" y="351"/>
                  </a:lnTo>
                  <a:lnTo>
                    <a:pt x="108" y="351"/>
                  </a:lnTo>
                  <a:lnTo>
                    <a:pt x="108" y="348"/>
                  </a:lnTo>
                  <a:lnTo>
                    <a:pt x="108" y="345"/>
                  </a:lnTo>
                  <a:lnTo>
                    <a:pt x="108" y="348"/>
                  </a:lnTo>
                  <a:lnTo>
                    <a:pt x="111" y="348"/>
                  </a:lnTo>
                  <a:lnTo>
                    <a:pt x="111" y="345"/>
                  </a:lnTo>
                  <a:lnTo>
                    <a:pt x="114" y="345"/>
                  </a:lnTo>
                  <a:lnTo>
                    <a:pt x="114" y="342"/>
                  </a:lnTo>
                  <a:lnTo>
                    <a:pt x="111" y="342"/>
                  </a:lnTo>
                  <a:lnTo>
                    <a:pt x="111" y="339"/>
                  </a:lnTo>
                  <a:lnTo>
                    <a:pt x="108" y="339"/>
                  </a:lnTo>
                  <a:lnTo>
                    <a:pt x="108" y="342"/>
                  </a:lnTo>
                  <a:lnTo>
                    <a:pt x="108" y="339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8" y="336"/>
                  </a:lnTo>
                  <a:lnTo>
                    <a:pt x="105" y="336"/>
                  </a:lnTo>
                  <a:lnTo>
                    <a:pt x="105" y="339"/>
                  </a:lnTo>
                  <a:lnTo>
                    <a:pt x="105" y="336"/>
                  </a:lnTo>
                  <a:lnTo>
                    <a:pt x="102" y="336"/>
                  </a:lnTo>
                  <a:lnTo>
                    <a:pt x="102" y="333"/>
                  </a:lnTo>
                  <a:lnTo>
                    <a:pt x="99" y="333"/>
                  </a:lnTo>
                  <a:lnTo>
                    <a:pt x="99" y="330"/>
                  </a:lnTo>
                  <a:lnTo>
                    <a:pt x="96" y="327"/>
                  </a:lnTo>
                  <a:lnTo>
                    <a:pt x="99" y="327"/>
                  </a:lnTo>
                  <a:lnTo>
                    <a:pt x="99" y="324"/>
                  </a:lnTo>
                  <a:lnTo>
                    <a:pt x="96" y="324"/>
                  </a:lnTo>
                  <a:lnTo>
                    <a:pt x="96" y="321"/>
                  </a:lnTo>
                  <a:lnTo>
                    <a:pt x="93" y="321"/>
                  </a:lnTo>
                  <a:lnTo>
                    <a:pt x="90" y="318"/>
                  </a:lnTo>
                  <a:lnTo>
                    <a:pt x="93" y="318"/>
                  </a:lnTo>
                  <a:lnTo>
                    <a:pt x="90" y="315"/>
                  </a:lnTo>
                  <a:lnTo>
                    <a:pt x="90" y="312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7" y="309"/>
                  </a:lnTo>
                  <a:lnTo>
                    <a:pt x="87" y="312"/>
                  </a:lnTo>
                  <a:lnTo>
                    <a:pt x="84" y="312"/>
                  </a:lnTo>
                  <a:lnTo>
                    <a:pt x="81" y="312"/>
                  </a:lnTo>
                  <a:lnTo>
                    <a:pt x="78" y="312"/>
                  </a:lnTo>
                  <a:lnTo>
                    <a:pt x="75" y="312"/>
                  </a:lnTo>
                  <a:lnTo>
                    <a:pt x="75" y="309"/>
                  </a:lnTo>
                  <a:lnTo>
                    <a:pt x="72" y="309"/>
                  </a:lnTo>
                  <a:lnTo>
                    <a:pt x="69" y="309"/>
                  </a:lnTo>
                  <a:lnTo>
                    <a:pt x="69" y="306"/>
                  </a:lnTo>
                  <a:lnTo>
                    <a:pt x="66" y="306"/>
                  </a:lnTo>
                  <a:lnTo>
                    <a:pt x="63" y="306"/>
                  </a:lnTo>
                  <a:lnTo>
                    <a:pt x="63" y="303"/>
                  </a:lnTo>
                  <a:lnTo>
                    <a:pt x="60" y="303"/>
                  </a:lnTo>
                  <a:lnTo>
                    <a:pt x="60" y="30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52" name="Freeform 37">
              <a:extLst>
                <a:ext uri="{FF2B5EF4-FFF2-40B4-BE49-F238E27FC236}">
                  <a16:creationId xmlns:a16="http://schemas.microsoft.com/office/drawing/2014/main" id="{BDE34216-CBD8-440B-B82B-033892C9F4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89450" y="3379788"/>
              <a:ext cx="403225" cy="395287"/>
            </a:xfrm>
            <a:custGeom>
              <a:avLst/>
              <a:gdLst>
                <a:gd name="T0" fmla="*/ 272770 w 204"/>
                <a:gd name="T1" fmla="*/ 0 h 201"/>
                <a:gd name="T2" fmla="*/ 284629 w 204"/>
                <a:gd name="T3" fmla="*/ 23599 h 201"/>
                <a:gd name="T4" fmla="*/ 296489 w 204"/>
                <a:gd name="T5" fmla="*/ 35399 h 201"/>
                <a:gd name="T6" fmla="*/ 314278 w 204"/>
                <a:gd name="T7" fmla="*/ 47198 h 201"/>
                <a:gd name="T8" fmla="*/ 326138 w 204"/>
                <a:gd name="T9" fmla="*/ 58998 h 201"/>
                <a:gd name="T10" fmla="*/ 349857 w 204"/>
                <a:gd name="T11" fmla="*/ 70798 h 201"/>
                <a:gd name="T12" fmla="*/ 361717 w 204"/>
                <a:gd name="T13" fmla="*/ 88497 h 201"/>
                <a:gd name="T14" fmla="*/ 385436 w 204"/>
                <a:gd name="T15" fmla="*/ 106197 h 201"/>
                <a:gd name="T16" fmla="*/ 397295 w 204"/>
                <a:gd name="T17" fmla="*/ 129796 h 201"/>
                <a:gd name="T18" fmla="*/ 397295 w 204"/>
                <a:gd name="T19" fmla="*/ 153395 h 201"/>
                <a:gd name="T20" fmla="*/ 379506 w 204"/>
                <a:gd name="T21" fmla="*/ 171094 h 201"/>
                <a:gd name="T22" fmla="*/ 379506 w 204"/>
                <a:gd name="T23" fmla="*/ 188794 h 201"/>
                <a:gd name="T24" fmla="*/ 367646 w 204"/>
                <a:gd name="T25" fmla="*/ 200593 h 201"/>
                <a:gd name="T26" fmla="*/ 349857 w 204"/>
                <a:gd name="T27" fmla="*/ 224193 h 201"/>
                <a:gd name="T28" fmla="*/ 355787 w 204"/>
                <a:gd name="T29" fmla="*/ 247792 h 201"/>
                <a:gd name="T30" fmla="*/ 343927 w 204"/>
                <a:gd name="T31" fmla="*/ 259591 h 201"/>
                <a:gd name="T32" fmla="*/ 326138 w 204"/>
                <a:gd name="T33" fmla="*/ 271391 h 201"/>
                <a:gd name="T34" fmla="*/ 302419 w 204"/>
                <a:gd name="T35" fmla="*/ 289090 h 201"/>
                <a:gd name="T36" fmla="*/ 266840 w 204"/>
                <a:gd name="T37" fmla="*/ 294990 h 201"/>
                <a:gd name="T38" fmla="*/ 231261 w 204"/>
                <a:gd name="T39" fmla="*/ 294990 h 201"/>
                <a:gd name="T40" fmla="*/ 213472 w 204"/>
                <a:gd name="T41" fmla="*/ 318590 h 201"/>
                <a:gd name="T42" fmla="*/ 207542 w 204"/>
                <a:gd name="T43" fmla="*/ 336289 h 201"/>
                <a:gd name="T44" fmla="*/ 189753 w 204"/>
                <a:gd name="T45" fmla="*/ 359888 h 201"/>
                <a:gd name="T46" fmla="*/ 189753 w 204"/>
                <a:gd name="T47" fmla="*/ 377588 h 201"/>
                <a:gd name="T48" fmla="*/ 171964 w 204"/>
                <a:gd name="T49" fmla="*/ 383487 h 201"/>
                <a:gd name="T50" fmla="*/ 148244 w 204"/>
                <a:gd name="T51" fmla="*/ 377588 h 201"/>
                <a:gd name="T52" fmla="*/ 130455 w 204"/>
                <a:gd name="T53" fmla="*/ 359888 h 201"/>
                <a:gd name="T54" fmla="*/ 112666 w 204"/>
                <a:gd name="T55" fmla="*/ 342189 h 201"/>
                <a:gd name="T56" fmla="*/ 100806 w 204"/>
                <a:gd name="T57" fmla="*/ 330389 h 201"/>
                <a:gd name="T58" fmla="*/ 88947 w 204"/>
                <a:gd name="T59" fmla="*/ 318590 h 201"/>
                <a:gd name="T60" fmla="*/ 71157 w 204"/>
                <a:gd name="T61" fmla="*/ 300890 h 201"/>
                <a:gd name="T62" fmla="*/ 47438 w 204"/>
                <a:gd name="T63" fmla="*/ 289090 h 201"/>
                <a:gd name="T64" fmla="*/ 35579 w 204"/>
                <a:gd name="T65" fmla="*/ 265491 h 201"/>
                <a:gd name="T66" fmla="*/ 23719 w 204"/>
                <a:gd name="T67" fmla="*/ 235992 h 201"/>
                <a:gd name="T68" fmla="*/ 5930 w 204"/>
                <a:gd name="T69" fmla="*/ 206493 h 201"/>
                <a:gd name="T70" fmla="*/ 5930 w 204"/>
                <a:gd name="T71" fmla="*/ 194694 h 201"/>
                <a:gd name="T72" fmla="*/ 23719 w 204"/>
                <a:gd name="T73" fmla="*/ 188794 h 201"/>
                <a:gd name="T74" fmla="*/ 41508 w 204"/>
                <a:gd name="T75" fmla="*/ 182894 h 201"/>
                <a:gd name="T76" fmla="*/ 53368 w 204"/>
                <a:gd name="T77" fmla="*/ 171094 h 201"/>
                <a:gd name="T78" fmla="*/ 65228 w 204"/>
                <a:gd name="T79" fmla="*/ 147495 h 201"/>
                <a:gd name="T80" fmla="*/ 77087 w 204"/>
                <a:gd name="T81" fmla="*/ 135696 h 201"/>
                <a:gd name="T82" fmla="*/ 83017 w 204"/>
                <a:gd name="T83" fmla="*/ 117996 h 201"/>
                <a:gd name="T84" fmla="*/ 94876 w 204"/>
                <a:gd name="T85" fmla="*/ 106197 h 201"/>
                <a:gd name="T86" fmla="*/ 106736 w 204"/>
                <a:gd name="T87" fmla="*/ 94397 h 201"/>
                <a:gd name="T88" fmla="*/ 118596 w 204"/>
                <a:gd name="T89" fmla="*/ 82597 h 201"/>
                <a:gd name="T90" fmla="*/ 118596 w 204"/>
                <a:gd name="T91" fmla="*/ 70798 h 201"/>
                <a:gd name="T92" fmla="*/ 130455 w 204"/>
                <a:gd name="T93" fmla="*/ 58998 h 201"/>
                <a:gd name="T94" fmla="*/ 142315 w 204"/>
                <a:gd name="T95" fmla="*/ 58998 h 201"/>
                <a:gd name="T96" fmla="*/ 148244 w 204"/>
                <a:gd name="T97" fmla="*/ 53098 h 201"/>
                <a:gd name="T98" fmla="*/ 166034 w 204"/>
                <a:gd name="T99" fmla="*/ 58998 h 201"/>
                <a:gd name="T100" fmla="*/ 171964 w 204"/>
                <a:gd name="T101" fmla="*/ 53098 h 201"/>
                <a:gd name="T102" fmla="*/ 183823 w 204"/>
                <a:gd name="T103" fmla="*/ 29499 h 201"/>
                <a:gd name="T104" fmla="*/ 213472 w 204"/>
                <a:gd name="T105" fmla="*/ 23599 h 201"/>
                <a:gd name="T106" fmla="*/ 231261 w 204"/>
                <a:gd name="T107" fmla="*/ 11800 h 2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201">
                  <a:moveTo>
                    <a:pt x="126" y="3"/>
                  </a:moveTo>
                  <a:lnTo>
                    <a:pt x="129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5" y="0"/>
                  </a:lnTo>
                  <a:lnTo>
                    <a:pt x="138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9"/>
                  </a:lnTo>
                  <a:lnTo>
                    <a:pt x="144" y="9"/>
                  </a:lnTo>
                  <a:lnTo>
                    <a:pt x="144" y="12"/>
                  </a:lnTo>
                  <a:lnTo>
                    <a:pt x="144" y="9"/>
                  </a:lnTo>
                  <a:lnTo>
                    <a:pt x="147" y="9"/>
                  </a:lnTo>
                  <a:lnTo>
                    <a:pt x="147" y="12"/>
                  </a:lnTo>
                  <a:lnTo>
                    <a:pt x="150" y="12"/>
                  </a:lnTo>
                  <a:lnTo>
                    <a:pt x="150" y="15"/>
                  </a:lnTo>
                  <a:lnTo>
                    <a:pt x="150" y="18"/>
                  </a:lnTo>
                  <a:lnTo>
                    <a:pt x="153" y="18"/>
                  </a:lnTo>
                  <a:lnTo>
                    <a:pt x="156" y="18"/>
                  </a:lnTo>
                  <a:lnTo>
                    <a:pt x="159" y="18"/>
                  </a:lnTo>
                  <a:lnTo>
                    <a:pt x="162" y="21"/>
                  </a:lnTo>
                  <a:lnTo>
                    <a:pt x="159" y="21"/>
                  </a:lnTo>
                  <a:lnTo>
                    <a:pt x="159" y="24"/>
                  </a:lnTo>
                  <a:lnTo>
                    <a:pt x="162" y="24"/>
                  </a:lnTo>
                  <a:lnTo>
                    <a:pt x="162" y="27"/>
                  </a:lnTo>
                  <a:lnTo>
                    <a:pt x="162" y="30"/>
                  </a:lnTo>
                  <a:lnTo>
                    <a:pt x="165" y="30"/>
                  </a:lnTo>
                  <a:lnTo>
                    <a:pt x="165" y="33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1" y="30"/>
                  </a:lnTo>
                  <a:lnTo>
                    <a:pt x="171" y="33"/>
                  </a:lnTo>
                  <a:lnTo>
                    <a:pt x="174" y="33"/>
                  </a:lnTo>
                  <a:lnTo>
                    <a:pt x="174" y="36"/>
                  </a:lnTo>
                  <a:lnTo>
                    <a:pt x="177" y="36"/>
                  </a:lnTo>
                  <a:lnTo>
                    <a:pt x="177" y="39"/>
                  </a:lnTo>
                  <a:lnTo>
                    <a:pt x="180" y="39"/>
                  </a:lnTo>
                  <a:lnTo>
                    <a:pt x="180" y="42"/>
                  </a:lnTo>
                  <a:lnTo>
                    <a:pt x="183" y="42"/>
                  </a:lnTo>
                  <a:lnTo>
                    <a:pt x="186" y="42"/>
                  </a:lnTo>
                  <a:lnTo>
                    <a:pt x="183" y="45"/>
                  </a:lnTo>
                  <a:lnTo>
                    <a:pt x="186" y="45"/>
                  </a:lnTo>
                  <a:lnTo>
                    <a:pt x="186" y="48"/>
                  </a:lnTo>
                  <a:lnTo>
                    <a:pt x="189" y="48"/>
                  </a:lnTo>
                  <a:lnTo>
                    <a:pt x="192" y="48"/>
                  </a:lnTo>
                  <a:lnTo>
                    <a:pt x="195" y="51"/>
                  </a:lnTo>
                  <a:lnTo>
                    <a:pt x="195" y="54"/>
                  </a:lnTo>
                  <a:lnTo>
                    <a:pt x="195" y="57"/>
                  </a:lnTo>
                  <a:lnTo>
                    <a:pt x="195" y="60"/>
                  </a:lnTo>
                  <a:lnTo>
                    <a:pt x="198" y="60"/>
                  </a:lnTo>
                  <a:lnTo>
                    <a:pt x="201" y="60"/>
                  </a:lnTo>
                  <a:lnTo>
                    <a:pt x="201" y="63"/>
                  </a:lnTo>
                  <a:lnTo>
                    <a:pt x="201" y="66"/>
                  </a:lnTo>
                  <a:lnTo>
                    <a:pt x="204" y="66"/>
                  </a:lnTo>
                  <a:lnTo>
                    <a:pt x="204" y="69"/>
                  </a:lnTo>
                  <a:lnTo>
                    <a:pt x="204" y="72"/>
                  </a:lnTo>
                  <a:lnTo>
                    <a:pt x="204" y="75"/>
                  </a:lnTo>
                  <a:lnTo>
                    <a:pt x="204" y="78"/>
                  </a:lnTo>
                  <a:lnTo>
                    <a:pt x="201" y="78"/>
                  </a:lnTo>
                  <a:lnTo>
                    <a:pt x="201" y="81"/>
                  </a:lnTo>
                  <a:lnTo>
                    <a:pt x="201" y="84"/>
                  </a:lnTo>
                  <a:lnTo>
                    <a:pt x="198" y="84"/>
                  </a:lnTo>
                  <a:lnTo>
                    <a:pt x="195" y="84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92" y="90"/>
                  </a:lnTo>
                  <a:lnTo>
                    <a:pt x="192" y="93"/>
                  </a:lnTo>
                  <a:lnTo>
                    <a:pt x="195" y="96"/>
                  </a:lnTo>
                  <a:lnTo>
                    <a:pt x="192" y="96"/>
                  </a:lnTo>
                  <a:lnTo>
                    <a:pt x="189" y="96"/>
                  </a:lnTo>
                  <a:lnTo>
                    <a:pt x="192" y="99"/>
                  </a:lnTo>
                  <a:lnTo>
                    <a:pt x="189" y="99"/>
                  </a:lnTo>
                  <a:lnTo>
                    <a:pt x="192" y="102"/>
                  </a:lnTo>
                  <a:lnTo>
                    <a:pt x="189" y="102"/>
                  </a:lnTo>
                  <a:lnTo>
                    <a:pt x="186" y="102"/>
                  </a:lnTo>
                  <a:lnTo>
                    <a:pt x="183" y="105"/>
                  </a:lnTo>
                  <a:lnTo>
                    <a:pt x="180" y="105"/>
                  </a:lnTo>
                  <a:lnTo>
                    <a:pt x="180" y="108"/>
                  </a:lnTo>
                  <a:lnTo>
                    <a:pt x="180" y="111"/>
                  </a:lnTo>
                  <a:lnTo>
                    <a:pt x="177" y="111"/>
                  </a:lnTo>
                  <a:lnTo>
                    <a:pt x="177" y="114"/>
                  </a:lnTo>
                  <a:lnTo>
                    <a:pt x="177" y="117"/>
                  </a:lnTo>
                  <a:lnTo>
                    <a:pt x="177" y="120"/>
                  </a:lnTo>
                  <a:lnTo>
                    <a:pt x="174" y="123"/>
                  </a:lnTo>
                  <a:lnTo>
                    <a:pt x="180" y="123"/>
                  </a:lnTo>
                  <a:lnTo>
                    <a:pt x="177" y="126"/>
                  </a:lnTo>
                  <a:lnTo>
                    <a:pt x="180" y="126"/>
                  </a:lnTo>
                  <a:lnTo>
                    <a:pt x="180" y="129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7" y="129"/>
                  </a:lnTo>
                  <a:lnTo>
                    <a:pt x="177" y="132"/>
                  </a:lnTo>
                  <a:lnTo>
                    <a:pt x="174" y="132"/>
                  </a:lnTo>
                  <a:lnTo>
                    <a:pt x="171" y="132"/>
                  </a:lnTo>
                  <a:lnTo>
                    <a:pt x="171" y="135"/>
                  </a:lnTo>
                  <a:lnTo>
                    <a:pt x="168" y="135"/>
                  </a:lnTo>
                  <a:lnTo>
                    <a:pt x="168" y="138"/>
                  </a:lnTo>
                  <a:lnTo>
                    <a:pt x="168" y="135"/>
                  </a:lnTo>
                  <a:lnTo>
                    <a:pt x="165" y="138"/>
                  </a:lnTo>
                  <a:lnTo>
                    <a:pt x="165" y="141"/>
                  </a:lnTo>
                  <a:lnTo>
                    <a:pt x="162" y="141"/>
                  </a:lnTo>
                  <a:lnTo>
                    <a:pt x="159" y="144"/>
                  </a:lnTo>
                  <a:lnTo>
                    <a:pt x="156" y="144"/>
                  </a:lnTo>
                  <a:lnTo>
                    <a:pt x="156" y="147"/>
                  </a:lnTo>
                  <a:lnTo>
                    <a:pt x="153" y="147"/>
                  </a:lnTo>
                  <a:lnTo>
                    <a:pt x="150" y="147"/>
                  </a:lnTo>
                  <a:lnTo>
                    <a:pt x="147" y="147"/>
                  </a:lnTo>
                  <a:lnTo>
                    <a:pt x="144" y="147"/>
                  </a:lnTo>
                  <a:lnTo>
                    <a:pt x="141" y="150"/>
                  </a:lnTo>
                  <a:lnTo>
                    <a:pt x="138" y="150"/>
                  </a:lnTo>
                  <a:lnTo>
                    <a:pt x="135" y="150"/>
                  </a:lnTo>
                  <a:lnTo>
                    <a:pt x="129" y="150"/>
                  </a:lnTo>
                  <a:lnTo>
                    <a:pt x="126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6"/>
                  </a:lnTo>
                  <a:lnTo>
                    <a:pt x="111" y="156"/>
                  </a:lnTo>
                  <a:lnTo>
                    <a:pt x="111" y="159"/>
                  </a:lnTo>
                  <a:lnTo>
                    <a:pt x="108" y="162"/>
                  </a:lnTo>
                  <a:lnTo>
                    <a:pt x="105" y="162"/>
                  </a:lnTo>
                  <a:lnTo>
                    <a:pt x="102" y="162"/>
                  </a:lnTo>
                  <a:lnTo>
                    <a:pt x="99" y="165"/>
                  </a:lnTo>
                  <a:lnTo>
                    <a:pt x="102" y="168"/>
                  </a:lnTo>
                  <a:lnTo>
                    <a:pt x="105" y="168"/>
                  </a:lnTo>
                  <a:lnTo>
                    <a:pt x="105" y="171"/>
                  </a:lnTo>
                  <a:lnTo>
                    <a:pt x="105" y="174"/>
                  </a:lnTo>
                  <a:lnTo>
                    <a:pt x="105" y="177"/>
                  </a:lnTo>
                  <a:lnTo>
                    <a:pt x="102" y="177"/>
                  </a:lnTo>
                  <a:lnTo>
                    <a:pt x="99" y="180"/>
                  </a:lnTo>
                  <a:lnTo>
                    <a:pt x="96" y="180"/>
                  </a:lnTo>
                  <a:lnTo>
                    <a:pt x="96" y="183"/>
                  </a:lnTo>
                  <a:lnTo>
                    <a:pt x="99" y="183"/>
                  </a:lnTo>
                  <a:lnTo>
                    <a:pt x="99" y="186"/>
                  </a:lnTo>
                  <a:lnTo>
                    <a:pt x="96" y="186"/>
                  </a:lnTo>
                  <a:lnTo>
                    <a:pt x="99" y="189"/>
                  </a:lnTo>
                  <a:lnTo>
                    <a:pt x="96" y="189"/>
                  </a:lnTo>
                  <a:lnTo>
                    <a:pt x="96" y="192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201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87" y="195"/>
                  </a:lnTo>
                  <a:lnTo>
                    <a:pt x="84" y="195"/>
                  </a:lnTo>
                  <a:lnTo>
                    <a:pt x="81" y="195"/>
                  </a:lnTo>
                  <a:lnTo>
                    <a:pt x="81" y="198"/>
                  </a:lnTo>
                  <a:lnTo>
                    <a:pt x="78" y="195"/>
                  </a:lnTo>
                  <a:lnTo>
                    <a:pt x="78" y="192"/>
                  </a:lnTo>
                  <a:lnTo>
                    <a:pt x="75" y="192"/>
                  </a:lnTo>
                  <a:lnTo>
                    <a:pt x="75" y="189"/>
                  </a:lnTo>
                  <a:lnTo>
                    <a:pt x="72" y="189"/>
                  </a:lnTo>
                  <a:lnTo>
                    <a:pt x="69" y="189"/>
                  </a:lnTo>
                  <a:lnTo>
                    <a:pt x="69" y="186"/>
                  </a:lnTo>
                  <a:lnTo>
                    <a:pt x="66" y="186"/>
                  </a:lnTo>
                  <a:lnTo>
                    <a:pt x="66" y="183"/>
                  </a:lnTo>
                  <a:lnTo>
                    <a:pt x="66" y="180"/>
                  </a:lnTo>
                  <a:lnTo>
                    <a:pt x="63" y="180"/>
                  </a:lnTo>
                  <a:lnTo>
                    <a:pt x="63" y="177"/>
                  </a:lnTo>
                  <a:lnTo>
                    <a:pt x="60" y="177"/>
                  </a:lnTo>
                  <a:lnTo>
                    <a:pt x="60" y="174"/>
                  </a:lnTo>
                  <a:lnTo>
                    <a:pt x="57" y="174"/>
                  </a:lnTo>
                  <a:lnTo>
                    <a:pt x="57" y="177"/>
                  </a:lnTo>
                  <a:lnTo>
                    <a:pt x="57" y="174"/>
                  </a:lnTo>
                  <a:lnTo>
                    <a:pt x="57" y="171"/>
                  </a:lnTo>
                  <a:lnTo>
                    <a:pt x="57" y="168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51" y="165"/>
                  </a:lnTo>
                  <a:lnTo>
                    <a:pt x="51" y="162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8" y="162"/>
                  </a:lnTo>
                  <a:lnTo>
                    <a:pt x="45" y="162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2" y="153"/>
                  </a:lnTo>
                  <a:lnTo>
                    <a:pt x="39" y="153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50"/>
                  </a:lnTo>
                  <a:lnTo>
                    <a:pt x="30" y="150"/>
                  </a:lnTo>
                  <a:lnTo>
                    <a:pt x="27" y="150"/>
                  </a:lnTo>
                  <a:lnTo>
                    <a:pt x="24" y="150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1" y="141"/>
                  </a:lnTo>
                  <a:lnTo>
                    <a:pt x="21" y="138"/>
                  </a:lnTo>
                  <a:lnTo>
                    <a:pt x="18" y="138"/>
                  </a:lnTo>
                  <a:lnTo>
                    <a:pt x="18" y="135"/>
                  </a:lnTo>
                  <a:lnTo>
                    <a:pt x="15" y="132"/>
                  </a:lnTo>
                  <a:lnTo>
                    <a:pt x="15" y="129"/>
                  </a:lnTo>
                  <a:lnTo>
                    <a:pt x="15" y="126"/>
                  </a:lnTo>
                  <a:lnTo>
                    <a:pt x="12" y="126"/>
                  </a:lnTo>
                  <a:lnTo>
                    <a:pt x="12" y="123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9" y="114"/>
                  </a:lnTo>
                  <a:lnTo>
                    <a:pt x="6" y="111"/>
                  </a:lnTo>
                  <a:lnTo>
                    <a:pt x="6" y="108"/>
                  </a:lnTo>
                  <a:lnTo>
                    <a:pt x="3" y="108"/>
                  </a:lnTo>
                  <a:lnTo>
                    <a:pt x="3" y="105"/>
                  </a:lnTo>
                  <a:lnTo>
                    <a:pt x="0" y="105"/>
                  </a:lnTo>
                  <a:lnTo>
                    <a:pt x="0" y="102"/>
                  </a:lnTo>
                  <a:lnTo>
                    <a:pt x="0" y="99"/>
                  </a:lnTo>
                  <a:lnTo>
                    <a:pt x="3" y="99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6" y="99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12" y="96"/>
                  </a:lnTo>
                  <a:lnTo>
                    <a:pt x="12" y="93"/>
                  </a:lnTo>
                  <a:lnTo>
                    <a:pt x="12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8" y="93"/>
                  </a:lnTo>
                  <a:lnTo>
                    <a:pt x="21" y="93"/>
                  </a:lnTo>
                  <a:lnTo>
                    <a:pt x="21" y="90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87"/>
                  </a:lnTo>
                  <a:lnTo>
                    <a:pt x="27" y="87"/>
                  </a:lnTo>
                  <a:lnTo>
                    <a:pt x="30" y="87"/>
                  </a:lnTo>
                  <a:lnTo>
                    <a:pt x="30" y="84"/>
                  </a:lnTo>
                  <a:lnTo>
                    <a:pt x="30" y="81"/>
                  </a:lnTo>
                  <a:lnTo>
                    <a:pt x="33" y="81"/>
                  </a:lnTo>
                  <a:lnTo>
                    <a:pt x="33" y="78"/>
                  </a:lnTo>
                  <a:lnTo>
                    <a:pt x="33" y="75"/>
                  </a:lnTo>
                  <a:lnTo>
                    <a:pt x="36" y="75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9" y="69"/>
                  </a:lnTo>
                  <a:lnTo>
                    <a:pt x="36" y="69"/>
                  </a:lnTo>
                  <a:lnTo>
                    <a:pt x="39" y="69"/>
                  </a:lnTo>
                  <a:lnTo>
                    <a:pt x="42" y="69"/>
                  </a:lnTo>
                  <a:lnTo>
                    <a:pt x="42" y="66"/>
                  </a:lnTo>
                  <a:lnTo>
                    <a:pt x="45" y="66"/>
                  </a:lnTo>
                  <a:lnTo>
                    <a:pt x="45" y="63"/>
                  </a:lnTo>
                  <a:lnTo>
                    <a:pt x="42" y="63"/>
                  </a:lnTo>
                  <a:lnTo>
                    <a:pt x="42" y="60"/>
                  </a:lnTo>
                  <a:lnTo>
                    <a:pt x="45" y="60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54"/>
                  </a:lnTo>
                  <a:lnTo>
                    <a:pt x="48" y="54"/>
                  </a:lnTo>
                  <a:lnTo>
                    <a:pt x="51" y="54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54" y="48"/>
                  </a:lnTo>
                  <a:lnTo>
                    <a:pt x="57" y="48"/>
                  </a:lnTo>
                  <a:lnTo>
                    <a:pt x="54" y="48"/>
                  </a:lnTo>
                  <a:lnTo>
                    <a:pt x="54" y="45"/>
                  </a:lnTo>
                  <a:lnTo>
                    <a:pt x="54" y="42"/>
                  </a:lnTo>
                  <a:lnTo>
                    <a:pt x="57" y="42"/>
                  </a:lnTo>
                  <a:lnTo>
                    <a:pt x="60" y="42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3" y="33"/>
                  </a:lnTo>
                  <a:lnTo>
                    <a:pt x="63" y="36"/>
                  </a:lnTo>
                  <a:lnTo>
                    <a:pt x="63" y="33"/>
                  </a:lnTo>
                  <a:lnTo>
                    <a:pt x="63" y="30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69" y="33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78" y="27"/>
                  </a:lnTo>
                  <a:lnTo>
                    <a:pt x="81" y="27"/>
                  </a:lnTo>
                  <a:lnTo>
                    <a:pt x="81" y="30"/>
                  </a:lnTo>
                  <a:lnTo>
                    <a:pt x="81" y="27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27"/>
                  </a:lnTo>
                  <a:lnTo>
                    <a:pt x="87" y="27"/>
                  </a:lnTo>
                  <a:lnTo>
                    <a:pt x="87" y="24"/>
                  </a:lnTo>
                  <a:lnTo>
                    <a:pt x="90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3" y="18"/>
                  </a:lnTo>
                  <a:lnTo>
                    <a:pt x="93" y="15"/>
                  </a:lnTo>
                  <a:lnTo>
                    <a:pt x="96" y="15"/>
                  </a:lnTo>
                  <a:lnTo>
                    <a:pt x="96" y="12"/>
                  </a:lnTo>
                  <a:lnTo>
                    <a:pt x="99" y="12"/>
                  </a:lnTo>
                  <a:lnTo>
                    <a:pt x="102" y="12"/>
                  </a:lnTo>
                  <a:lnTo>
                    <a:pt x="105" y="12"/>
                  </a:lnTo>
                  <a:lnTo>
                    <a:pt x="108" y="12"/>
                  </a:lnTo>
                  <a:lnTo>
                    <a:pt x="111" y="12"/>
                  </a:lnTo>
                  <a:lnTo>
                    <a:pt x="114" y="9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3"/>
                  </a:lnTo>
                  <a:lnTo>
                    <a:pt x="117" y="6"/>
                  </a:lnTo>
                  <a:lnTo>
                    <a:pt x="123" y="3"/>
                  </a:lnTo>
                  <a:lnTo>
                    <a:pt x="126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53" name="Freeform 38">
              <a:extLst>
                <a:ext uri="{FF2B5EF4-FFF2-40B4-BE49-F238E27FC236}">
                  <a16:creationId xmlns:a16="http://schemas.microsoft.com/office/drawing/2014/main" id="{F0CB0B96-7856-4455-9B62-95C74522C3E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9975" y="3640138"/>
              <a:ext cx="123825" cy="123825"/>
            </a:xfrm>
            <a:custGeom>
              <a:avLst/>
              <a:gdLst>
                <a:gd name="T0" fmla="*/ 11793 w 63"/>
                <a:gd name="T1" fmla="*/ 5896 h 63"/>
                <a:gd name="T2" fmla="*/ 17689 w 63"/>
                <a:gd name="T3" fmla="*/ 0 h 63"/>
                <a:gd name="T4" fmla="*/ 23586 w 63"/>
                <a:gd name="T5" fmla="*/ 5896 h 63"/>
                <a:gd name="T6" fmla="*/ 29482 w 63"/>
                <a:gd name="T7" fmla="*/ 11793 h 63"/>
                <a:gd name="T8" fmla="*/ 35379 w 63"/>
                <a:gd name="T9" fmla="*/ 17689 h 63"/>
                <a:gd name="T10" fmla="*/ 47171 w 63"/>
                <a:gd name="T11" fmla="*/ 17689 h 63"/>
                <a:gd name="T12" fmla="*/ 53068 w 63"/>
                <a:gd name="T13" fmla="*/ 23586 h 63"/>
                <a:gd name="T14" fmla="*/ 64861 w 63"/>
                <a:gd name="T15" fmla="*/ 23586 h 63"/>
                <a:gd name="T16" fmla="*/ 70757 w 63"/>
                <a:gd name="T17" fmla="*/ 17689 h 63"/>
                <a:gd name="T18" fmla="*/ 70757 w 63"/>
                <a:gd name="T19" fmla="*/ 17689 h 63"/>
                <a:gd name="T20" fmla="*/ 76654 w 63"/>
                <a:gd name="T21" fmla="*/ 23586 h 63"/>
                <a:gd name="T22" fmla="*/ 82550 w 63"/>
                <a:gd name="T23" fmla="*/ 35379 h 63"/>
                <a:gd name="T24" fmla="*/ 82550 w 63"/>
                <a:gd name="T25" fmla="*/ 41275 h 63"/>
                <a:gd name="T26" fmla="*/ 88446 w 63"/>
                <a:gd name="T27" fmla="*/ 47171 h 63"/>
                <a:gd name="T28" fmla="*/ 94343 w 63"/>
                <a:gd name="T29" fmla="*/ 53068 h 63"/>
                <a:gd name="T30" fmla="*/ 94343 w 63"/>
                <a:gd name="T31" fmla="*/ 58964 h 63"/>
                <a:gd name="T32" fmla="*/ 100239 w 63"/>
                <a:gd name="T33" fmla="*/ 64861 h 63"/>
                <a:gd name="T34" fmla="*/ 106136 w 63"/>
                <a:gd name="T35" fmla="*/ 70757 h 63"/>
                <a:gd name="T36" fmla="*/ 106136 w 63"/>
                <a:gd name="T37" fmla="*/ 70757 h 63"/>
                <a:gd name="T38" fmla="*/ 106136 w 63"/>
                <a:gd name="T39" fmla="*/ 70757 h 63"/>
                <a:gd name="T40" fmla="*/ 112032 w 63"/>
                <a:gd name="T41" fmla="*/ 76654 h 63"/>
                <a:gd name="T42" fmla="*/ 112032 w 63"/>
                <a:gd name="T43" fmla="*/ 76654 h 63"/>
                <a:gd name="T44" fmla="*/ 117929 w 63"/>
                <a:gd name="T45" fmla="*/ 82550 h 63"/>
                <a:gd name="T46" fmla="*/ 123825 w 63"/>
                <a:gd name="T47" fmla="*/ 88446 h 63"/>
                <a:gd name="T48" fmla="*/ 117929 w 63"/>
                <a:gd name="T49" fmla="*/ 94343 h 63"/>
                <a:gd name="T50" fmla="*/ 112032 w 63"/>
                <a:gd name="T51" fmla="*/ 88446 h 63"/>
                <a:gd name="T52" fmla="*/ 112032 w 63"/>
                <a:gd name="T53" fmla="*/ 100239 h 63"/>
                <a:gd name="T54" fmla="*/ 106136 w 63"/>
                <a:gd name="T55" fmla="*/ 106136 h 63"/>
                <a:gd name="T56" fmla="*/ 100239 w 63"/>
                <a:gd name="T57" fmla="*/ 112032 h 63"/>
                <a:gd name="T58" fmla="*/ 94343 w 63"/>
                <a:gd name="T59" fmla="*/ 117929 h 63"/>
                <a:gd name="T60" fmla="*/ 94343 w 63"/>
                <a:gd name="T61" fmla="*/ 117929 h 63"/>
                <a:gd name="T62" fmla="*/ 88446 w 63"/>
                <a:gd name="T63" fmla="*/ 117929 h 63"/>
                <a:gd name="T64" fmla="*/ 76654 w 63"/>
                <a:gd name="T65" fmla="*/ 117929 h 63"/>
                <a:gd name="T66" fmla="*/ 70757 w 63"/>
                <a:gd name="T67" fmla="*/ 112032 h 63"/>
                <a:gd name="T68" fmla="*/ 64861 w 63"/>
                <a:gd name="T69" fmla="*/ 106136 h 63"/>
                <a:gd name="T70" fmla="*/ 53068 w 63"/>
                <a:gd name="T71" fmla="*/ 106136 h 63"/>
                <a:gd name="T72" fmla="*/ 47171 w 63"/>
                <a:gd name="T73" fmla="*/ 112032 h 63"/>
                <a:gd name="T74" fmla="*/ 41275 w 63"/>
                <a:gd name="T75" fmla="*/ 112032 h 63"/>
                <a:gd name="T76" fmla="*/ 41275 w 63"/>
                <a:gd name="T77" fmla="*/ 112032 h 63"/>
                <a:gd name="T78" fmla="*/ 41275 w 63"/>
                <a:gd name="T79" fmla="*/ 106136 h 63"/>
                <a:gd name="T80" fmla="*/ 35379 w 63"/>
                <a:gd name="T81" fmla="*/ 100239 h 63"/>
                <a:gd name="T82" fmla="*/ 35379 w 63"/>
                <a:gd name="T83" fmla="*/ 88446 h 63"/>
                <a:gd name="T84" fmla="*/ 23586 w 63"/>
                <a:gd name="T85" fmla="*/ 76654 h 63"/>
                <a:gd name="T86" fmla="*/ 23586 w 63"/>
                <a:gd name="T87" fmla="*/ 70757 h 63"/>
                <a:gd name="T88" fmla="*/ 17689 w 63"/>
                <a:gd name="T89" fmla="*/ 58964 h 63"/>
                <a:gd name="T90" fmla="*/ 23586 w 63"/>
                <a:gd name="T91" fmla="*/ 53068 h 63"/>
                <a:gd name="T92" fmla="*/ 11793 w 63"/>
                <a:gd name="T93" fmla="*/ 47171 h 63"/>
                <a:gd name="T94" fmla="*/ 0 w 63"/>
                <a:gd name="T95" fmla="*/ 41275 h 63"/>
                <a:gd name="T96" fmla="*/ 5896 w 63"/>
                <a:gd name="T97" fmla="*/ 29482 h 63"/>
                <a:gd name="T98" fmla="*/ 11793 w 63"/>
                <a:gd name="T99" fmla="*/ 17689 h 63"/>
                <a:gd name="T100" fmla="*/ 17689 w 63"/>
                <a:gd name="T101" fmla="*/ 11793 h 63"/>
                <a:gd name="T102" fmla="*/ 5896 w 63"/>
                <a:gd name="T103" fmla="*/ 5896 h 6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3" h="63">
                  <a:moveTo>
                    <a:pt x="3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6"/>
                  </a:lnTo>
                  <a:lnTo>
                    <a:pt x="15" y="6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3" y="12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9" y="12"/>
                  </a:lnTo>
                  <a:lnTo>
                    <a:pt x="39" y="15"/>
                  </a:lnTo>
                  <a:lnTo>
                    <a:pt x="42" y="18"/>
                  </a:lnTo>
                  <a:lnTo>
                    <a:pt x="39" y="18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7"/>
                  </a:lnTo>
                  <a:lnTo>
                    <a:pt x="45" y="27"/>
                  </a:lnTo>
                  <a:lnTo>
                    <a:pt x="48" y="30"/>
                  </a:lnTo>
                  <a:lnTo>
                    <a:pt x="48" y="33"/>
                  </a:lnTo>
                  <a:lnTo>
                    <a:pt x="51" y="33"/>
                  </a:lnTo>
                  <a:lnTo>
                    <a:pt x="51" y="36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7" y="39"/>
                  </a:lnTo>
                  <a:lnTo>
                    <a:pt x="57" y="42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0" y="42"/>
                  </a:lnTo>
                  <a:lnTo>
                    <a:pt x="63" y="42"/>
                  </a:lnTo>
                  <a:lnTo>
                    <a:pt x="63" y="45"/>
                  </a:lnTo>
                  <a:lnTo>
                    <a:pt x="60" y="45"/>
                  </a:lnTo>
                  <a:lnTo>
                    <a:pt x="60" y="48"/>
                  </a:lnTo>
                  <a:lnTo>
                    <a:pt x="57" y="48"/>
                  </a:lnTo>
                  <a:lnTo>
                    <a:pt x="57" y="45"/>
                  </a:lnTo>
                  <a:lnTo>
                    <a:pt x="57" y="48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1" y="54"/>
                  </a:lnTo>
                  <a:lnTo>
                    <a:pt x="51" y="57"/>
                  </a:lnTo>
                  <a:lnTo>
                    <a:pt x="51" y="60"/>
                  </a:lnTo>
                  <a:lnTo>
                    <a:pt x="48" y="60"/>
                  </a:lnTo>
                  <a:lnTo>
                    <a:pt x="48" y="63"/>
                  </a:lnTo>
                  <a:lnTo>
                    <a:pt x="48" y="60"/>
                  </a:lnTo>
                  <a:lnTo>
                    <a:pt x="45" y="57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60"/>
                  </a:lnTo>
                  <a:lnTo>
                    <a:pt x="39" y="57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3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7"/>
                  </a:lnTo>
                  <a:lnTo>
                    <a:pt x="21" y="60"/>
                  </a:lnTo>
                  <a:lnTo>
                    <a:pt x="21" y="57"/>
                  </a:lnTo>
                  <a:lnTo>
                    <a:pt x="18" y="57"/>
                  </a:lnTo>
                  <a:lnTo>
                    <a:pt x="21" y="57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18" y="51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5" y="42"/>
                  </a:lnTo>
                  <a:lnTo>
                    <a:pt x="12" y="39"/>
                  </a:lnTo>
                  <a:lnTo>
                    <a:pt x="9" y="39"/>
                  </a:lnTo>
                  <a:lnTo>
                    <a:pt x="12" y="36"/>
                  </a:lnTo>
                  <a:lnTo>
                    <a:pt x="12" y="33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noFill/>
            <a:ln w="4826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54" name="Freeform 39">
              <a:extLst>
                <a:ext uri="{FF2B5EF4-FFF2-40B4-BE49-F238E27FC236}">
                  <a16:creationId xmlns:a16="http://schemas.microsoft.com/office/drawing/2014/main" id="{BE8CF17A-68E5-48A9-B8FB-2AD8F2D2ED9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9838" y="3644900"/>
              <a:ext cx="1236662" cy="828675"/>
            </a:xfrm>
            <a:custGeom>
              <a:avLst/>
              <a:gdLst>
                <a:gd name="T0" fmla="*/ 1041711 w 628"/>
                <a:gd name="T1" fmla="*/ 41335 h 421"/>
                <a:gd name="T2" fmla="*/ 1000357 w 628"/>
                <a:gd name="T3" fmla="*/ 64956 h 421"/>
                <a:gd name="T4" fmla="*/ 1035803 w 628"/>
                <a:gd name="T5" fmla="*/ 106291 h 421"/>
                <a:gd name="T6" fmla="*/ 1077156 w 628"/>
                <a:gd name="T7" fmla="*/ 124006 h 421"/>
                <a:gd name="T8" fmla="*/ 1148048 w 628"/>
                <a:gd name="T9" fmla="*/ 135816 h 421"/>
                <a:gd name="T10" fmla="*/ 1171678 w 628"/>
                <a:gd name="T11" fmla="*/ 141721 h 421"/>
                <a:gd name="T12" fmla="*/ 1195309 w 628"/>
                <a:gd name="T13" fmla="*/ 153531 h 421"/>
                <a:gd name="T14" fmla="*/ 1224847 w 628"/>
                <a:gd name="T15" fmla="*/ 171246 h 421"/>
                <a:gd name="T16" fmla="*/ 1230754 w 628"/>
                <a:gd name="T17" fmla="*/ 200772 h 421"/>
                <a:gd name="T18" fmla="*/ 1207124 w 628"/>
                <a:gd name="T19" fmla="*/ 253917 h 421"/>
                <a:gd name="T20" fmla="*/ 1153955 w 628"/>
                <a:gd name="T21" fmla="*/ 295252 h 421"/>
                <a:gd name="T22" fmla="*/ 1106694 w 628"/>
                <a:gd name="T23" fmla="*/ 336588 h 421"/>
                <a:gd name="T24" fmla="*/ 1053526 w 628"/>
                <a:gd name="T25" fmla="*/ 395638 h 421"/>
                <a:gd name="T26" fmla="*/ 1012172 w 628"/>
                <a:gd name="T27" fmla="*/ 450752 h 421"/>
                <a:gd name="T28" fmla="*/ 959004 w 628"/>
                <a:gd name="T29" fmla="*/ 509802 h 421"/>
                <a:gd name="T30" fmla="*/ 899928 w 628"/>
                <a:gd name="T31" fmla="*/ 545233 h 421"/>
                <a:gd name="T32" fmla="*/ 852667 w 628"/>
                <a:gd name="T33" fmla="*/ 598378 h 421"/>
                <a:gd name="T34" fmla="*/ 799498 w 628"/>
                <a:gd name="T35" fmla="*/ 633808 h 421"/>
                <a:gd name="T36" fmla="*/ 734514 w 628"/>
                <a:gd name="T37" fmla="*/ 681049 h 421"/>
                <a:gd name="T38" fmla="*/ 675438 w 628"/>
                <a:gd name="T39" fmla="*/ 716479 h 421"/>
                <a:gd name="T40" fmla="*/ 610454 w 628"/>
                <a:gd name="T41" fmla="*/ 734194 h 421"/>
                <a:gd name="T42" fmla="*/ 545470 w 628"/>
                <a:gd name="T43" fmla="*/ 728289 h 421"/>
                <a:gd name="T44" fmla="*/ 486394 w 628"/>
                <a:gd name="T45" fmla="*/ 757814 h 421"/>
                <a:gd name="T46" fmla="*/ 462764 w 628"/>
                <a:gd name="T47" fmla="*/ 793245 h 421"/>
                <a:gd name="T48" fmla="*/ 397780 w 628"/>
                <a:gd name="T49" fmla="*/ 781435 h 421"/>
                <a:gd name="T50" fmla="*/ 356426 w 628"/>
                <a:gd name="T51" fmla="*/ 822770 h 421"/>
                <a:gd name="T52" fmla="*/ 291443 w 628"/>
                <a:gd name="T53" fmla="*/ 816865 h 421"/>
                <a:gd name="T54" fmla="*/ 224490 w 628"/>
                <a:gd name="T55" fmla="*/ 799150 h 421"/>
                <a:gd name="T56" fmla="*/ 153598 w 628"/>
                <a:gd name="T57" fmla="*/ 781435 h 421"/>
                <a:gd name="T58" fmla="*/ 129968 w 628"/>
                <a:gd name="T59" fmla="*/ 746004 h 421"/>
                <a:gd name="T60" fmla="*/ 147691 w 628"/>
                <a:gd name="T61" fmla="*/ 698764 h 421"/>
                <a:gd name="T62" fmla="*/ 70891 w 628"/>
                <a:gd name="T63" fmla="*/ 663334 h 421"/>
                <a:gd name="T64" fmla="*/ 17723 w 628"/>
                <a:gd name="T65" fmla="*/ 627903 h 421"/>
                <a:gd name="T66" fmla="*/ 64984 w 628"/>
                <a:gd name="T67" fmla="*/ 551138 h 421"/>
                <a:gd name="T68" fmla="*/ 94522 w 628"/>
                <a:gd name="T69" fmla="*/ 497992 h 421"/>
                <a:gd name="T70" fmla="*/ 153598 w 628"/>
                <a:gd name="T71" fmla="*/ 456657 h 421"/>
                <a:gd name="T72" fmla="*/ 206767 w 628"/>
                <a:gd name="T73" fmla="*/ 433037 h 421"/>
                <a:gd name="T74" fmla="*/ 238274 w 628"/>
                <a:gd name="T75" fmla="*/ 401543 h 421"/>
                <a:gd name="T76" fmla="*/ 232366 w 628"/>
                <a:gd name="T77" fmla="*/ 360208 h 421"/>
                <a:gd name="T78" fmla="*/ 285535 w 628"/>
                <a:gd name="T79" fmla="*/ 330683 h 421"/>
                <a:gd name="T80" fmla="*/ 320981 w 628"/>
                <a:gd name="T81" fmla="*/ 265727 h 421"/>
                <a:gd name="T82" fmla="*/ 391872 w 628"/>
                <a:gd name="T83" fmla="*/ 242107 h 421"/>
                <a:gd name="T84" fmla="*/ 445041 w 628"/>
                <a:gd name="T85" fmla="*/ 224392 h 421"/>
                <a:gd name="T86" fmla="*/ 462764 w 628"/>
                <a:gd name="T87" fmla="*/ 177151 h 421"/>
                <a:gd name="T88" fmla="*/ 468671 w 628"/>
                <a:gd name="T89" fmla="*/ 118101 h 421"/>
                <a:gd name="T90" fmla="*/ 510025 w 628"/>
                <a:gd name="T91" fmla="*/ 124006 h 421"/>
                <a:gd name="T92" fmla="*/ 551378 w 628"/>
                <a:gd name="T93" fmla="*/ 106291 h 421"/>
                <a:gd name="T94" fmla="*/ 586824 w 628"/>
                <a:gd name="T95" fmla="*/ 106291 h 421"/>
                <a:gd name="T96" fmla="*/ 622269 w 628"/>
                <a:gd name="T97" fmla="*/ 118101 h 421"/>
                <a:gd name="T98" fmla="*/ 675438 w 628"/>
                <a:gd name="T99" fmla="*/ 124006 h 421"/>
                <a:gd name="T100" fmla="*/ 710884 w 628"/>
                <a:gd name="T101" fmla="*/ 106291 h 421"/>
                <a:gd name="T102" fmla="*/ 746329 w 628"/>
                <a:gd name="T103" fmla="*/ 94481 h 421"/>
                <a:gd name="T104" fmla="*/ 764052 w 628"/>
                <a:gd name="T105" fmla="*/ 76766 h 421"/>
                <a:gd name="T106" fmla="*/ 775868 w 628"/>
                <a:gd name="T107" fmla="*/ 64956 h 421"/>
                <a:gd name="T108" fmla="*/ 781775 w 628"/>
                <a:gd name="T109" fmla="*/ 35430 h 421"/>
                <a:gd name="T110" fmla="*/ 823129 w 628"/>
                <a:gd name="T111" fmla="*/ 64956 h 421"/>
                <a:gd name="T112" fmla="*/ 852667 w 628"/>
                <a:gd name="T113" fmla="*/ 106291 h 421"/>
                <a:gd name="T114" fmla="*/ 899928 w 628"/>
                <a:gd name="T115" fmla="*/ 112196 h 421"/>
                <a:gd name="T116" fmla="*/ 911743 w 628"/>
                <a:gd name="T117" fmla="*/ 64956 h 421"/>
                <a:gd name="T118" fmla="*/ 959004 w 628"/>
                <a:gd name="T119" fmla="*/ 29525 h 421"/>
                <a:gd name="T120" fmla="*/ 1035803 w 628"/>
                <a:gd name="T121" fmla="*/ 5905 h 4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28" h="421">
                  <a:moveTo>
                    <a:pt x="529" y="0"/>
                  </a:moveTo>
                  <a:lnTo>
                    <a:pt x="529" y="3"/>
                  </a:lnTo>
                  <a:lnTo>
                    <a:pt x="532" y="3"/>
                  </a:lnTo>
                  <a:lnTo>
                    <a:pt x="532" y="6"/>
                  </a:lnTo>
                  <a:lnTo>
                    <a:pt x="535" y="6"/>
                  </a:lnTo>
                  <a:lnTo>
                    <a:pt x="535" y="9"/>
                  </a:lnTo>
                  <a:lnTo>
                    <a:pt x="538" y="12"/>
                  </a:lnTo>
                  <a:lnTo>
                    <a:pt x="538" y="15"/>
                  </a:lnTo>
                  <a:lnTo>
                    <a:pt x="538" y="18"/>
                  </a:lnTo>
                  <a:lnTo>
                    <a:pt x="535" y="15"/>
                  </a:lnTo>
                  <a:lnTo>
                    <a:pt x="535" y="18"/>
                  </a:lnTo>
                  <a:lnTo>
                    <a:pt x="532" y="18"/>
                  </a:lnTo>
                  <a:lnTo>
                    <a:pt x="532" y="21"/>
                  </a:lnTo>
                  <a:lnTo>
                    <a:pt x="529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29" y="24"/>
                  </a:lnTo>
                  <a:lnTo>
                    <a:pt x="526" y="24"/>
                  </a:lnTo>
                  <a:lnTo>
                    <a:pt x="526" y="27"/>
                  </a:lnTo>
                  <a:lnTo>
                    <a:pt x="526" y="30"/>
                  </a:lnTo>
                  <a:lnTo>
                    <a:pt x="523" y="27"/>
                  </a:lnTo>
                  <a:lnTo>
                    <a:pt x="520" y="27"/>
                  </a:lnTo>
                  <a:lnTo>
                    <a:pt x="520" y="30"/>
                  </a:lnTo>
                  <a:lnTo>
                    <a:pt x="517" y="33"/>
                  </a:lnTo>
                  <a:lnTo>
                    <a:pt x="514" y="33"/>
                  </a:lnTo>
                  <a:lnTo>
                    <a:pt x="511" y="30"/>
                  </a:lnTo>
                  <a:lnTo>
                    <a:pt x="508" y="30"/>
                  </a:lnTo>
                  <a:lnTo>
                    <a:pt x="508" y="33"/>
                  </a:lnTo>
                  <a:lnTo>
                    <a:pt x="508" y="36"/>
                  </a:lnTo>
                  <a:lnTo>
                    <a:pt x="508" y="39"/>
                  </a:lnTo>
                  <a:lnTo>
                    <a:pt x="511" y="42"/>
                  </a:lnTo>
                  <a:lnTo>
                    <a:pt x="508" y="42"/>
                  </a:lnTo>
                  <a:lnTo>
                    <a:pt x="508" y="48"/>
                  </a:lnTo>
                  <a:lnTo>
                    <a:pt x="511" y="51"/>
                  </a:lnTo>
                  <a:lnTo>
                    <a:pt x="514" y="51"/>
                  </a:lnTo>
                  <a:lnTo>
                    <a:pt x="514" y="54"/>
                  </a:lnTo>
                  <a:lnTo>
                    <a:pt x="517" y="54"/>
                  </a:lnTo>
                  <a:lnTo>
                    <a:pt x="517" y="57"/>
                  </a:lnTo>
                  <a:lnTo>
                    <a:pt x="520" y="57"/>
                  </a:lnTo>
                  <a:lnTo>
                    <a:pt x="523" y="57"/>
                  </a:lnTo>
                  <a:lnTo>
                    <a:pt x="526" y="57"/>
                  </a:lnTo>
                  <a:lnTo>
                    <a:pt x="526" y="54"/>
                  </a:lnTo>
                  <a:lnTo>
                    <a:pt x="529" y="51"/>
                  </a:lnTo>
                  <a:lnTo>
                    <a:pt x="532" y="51"/>
                  </a:lnTo>
                  <a:lnTo>
                    <a:pt x="535" y="54"/>
                  </a:lnTo>
                  <a:lnTo>
                    <a:pt x="538" y="54"/>
                  </a:lnTo>
                  <a:lnTo>
                    <a:pt x="538" y="57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38" y="60"/>
                  </a:lnTo>
                  <a:lnTo>
                    <a:pt x="541" y="60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1" y="63"/>
                  </a:lnTo>
                  <a:lnTo>
                    <a:pt x="544" y="63"/>
                  </a:lnTo>
                  <a:lnTo>
                    <a:pt x="547" y="63"/>
                  </a:lnTo>
                  <a:lnTo>
                    <a:pt x="550" y="63"/>
                  </a:lnTo>
                  <a:lnTo>
                    <a:pt x="553" y="63"/>
                  </a:lnTo>
                  <a:lnTo>
                    <a:pt x="556" y="63"/>
                  </a:lnTo>
                  <a:lnTo>
                    <a:pt x="556" y="66"/>
                  </a:lnTo>
                  <a:lnTo>
                    <a:pt x="559" y="66"/>
                  </a:lnTo>
                  <a:lnTo>
                    <a:pt x="562" y="63"/>
                  </a:lnTo>
                  <a:lnTo>
                    <a:pt x="565" y="63"/>
                  </a:lnTo>
                  <a:lnTo>
                    <a:pt x="568" y="63"/>
                  </a:lnTo>
                  <a:lnTo>
                    <a:pt x="571" y="63"/>
                  </a:lnTo>
                  <a:lnTo>
                    <a:pt x="574" y="66"/>
                  </a:lnTo>
                  <a:lnTo>
                    <a:pt x="577" y="66"/>
                  </a:lnTo>
                  <a:lnTo>
                    <a:pt x="577" y="69"/>
                  </a:lnTo>
                  <a:lnTo>
                    <a:pt x="580" y="69"/>
                  </a:lnTo>
                  <a:lnTo>
                    <a:pt x="583" y="69"/>
                  </a:lnTo>
                  <a:lnTo>
                    <a:pt x="583" y="66"/>
                  </a:lnTo>
                  <a:lnTo>
                    <a:pt x="586" y="66"/>
                  </a:lnTo>
                  <a:lnTo>
                    <a:pt x="586" y="69"/>
                  </a:lnTo>
                  <a:lnTo>
                    <a:pt x="589" y="69"/>
                  </a:lnTo>
                  <a:lnTo>
                    <a:pt x="589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2" y="72"/>
                  </a:lnTo>
                  <a:lnTo>
                    <a:pt x="592" y="69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5" y="69"/>
                  </a:lnTo>
                  <a:lnTo>
                    <a:pt x="595" y="72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598" y="72"/>
                  </a:lnTo>
                  <a:lnTo>
                    <a:pt x="598" y="75"/>
                  </a:lnTo>
                  <a:lnTo>
                    <a:pt x="601" y="75"/>
                  </a:lnTo>
                  <a:lnTo>
                    <a:pt x="604" y="75"/>
                  </a:lnTo>
                  <a:lnTo>
                    <a:pt x="601" y="75"/>
                  </a:lnTo>
                  <a:lnTo>
                    <a:pt x="601" y="78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4" y="78"/>
                  </a:lnTo>
                  <a:lnTo>
                    <a:pt x="604" y="75"/>
                  </a:lnTo>
                  <a:lnTo>
                    <a:pt x="607" y="75"/>
                  </a:lnTo>
                  <a:lnTo>
                    <a:pt x="607" y="78"/>
                  </a:lnTo>
                  <a:lnTo>
                    <a:pt x="607" y="81"/>
                  </a:lnTo>
                  <a:lnTo>
                    <a:pt x="610" y="81"/>
                  </a:lnTo>
                  <a:lnTo>
                    <a:pt x="607" y="81"/>
                  </a:lnTo>
                  <a:lnTo>
                    <a:pt x="607" y="84"/>
                  </a:lnTo>
                  <a:lnTo>
                    <a:pt x="610" y="84"/>
                  </a:lnTo>
                  <a:lnTo>
                    <a:pt x="610" y="81"/>
                  </a:lnTo>
                  <a:lnTo>
                    <a:pt x="613" y="81"/>
                  </a:lnTo>
                  <a:lnTo>
                    <a:pt x="613" y="84"/>
                  </a:lnTo>
                  <a:lnTo>
                    <a:pt x="616" y="84"/>
                  </a:lnTo>
                  <a:lnTo>
                    <a:pt x="619" y="84"/>
                  </a:lnTo>
                  <a:lnTo>
                    <a:pt x="619" y="87"/>
                  </a:lnTo>
                  <a:lnTo>
                    <a:pt x="616" y="87"/>
                  </a:lnTo>
                  <a:lnTo>
                    <a:pt x="619" y="87"/>
                  </a:lnTo>
                  <a:lnTo>
                    <a:pt x="622" y="87"/>
                  </a:lnTo>
                  <a:lnTo>
                    <a:pt x="622" y="90"/>
                  </a:lnTo>
                  <a:lnTo>
                    <a:pt x="625" y="90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22" y="93"/>
                  </a:lnTo>
                  <a:lnTo>
                    <a:pt x="622" y="96"/>
                  </a:lnTo>
                  <a:lnTo>
                    <a:pt x="625" y="96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5" y="99"/>
                  </a:lnTo>
                  <a:lnTo>
                    <a:pt x="622" y="99"/>
                  </a:lnTo>
                  <a:lnTo>
                    <a:pt x="622" y="102"/>
                  </a:lnTo>
                  <a:lnTo>
                    <a:pt x="625" y="102"/>
                  </a:lnTo>
                  <a:lnTo>
                    <a:pt x="625" y="105"/>
                  </a:lnTo>
                  <a:lnTo>
                    <a:pt x="628" y="105"/>
                  </a:lnTo>
                  <a:lnTo>
                    <a:pt x="628" y="108"/>
                  </a:lnTo>
                  <a:lnTo>
                    <a:pt x="625" y="111"/>
                  </a:lnTo>
                  <a:lnTo>
                    <a:pt x="625" y="114"/>
                  </a:lnTo>
                  <a:lnTo>
                    <a:pt x="622" y="114"/>
                  </a:lnTo>
                  <a:lnTo>
                    <a:pt x="622" y="117"/>
                  </a:lnTo>
                  <a:lnTo>
                    <a:pt x="619" y="117"/>
                  </a:lnTo>
                  <a:lnTo>
                    <a:pt x="619" y="120"/>
                  </a:lnTo>
                  <a:lnTo>
                    <a:pt x="616" y="120"/>
                  </a:lnTo>
                  <a:lnTo>
                    <a:pt x="616" y="123"/>
                  </a:lnTo>
                  <a:lnTo>
                    <a:pt x="616" y="126"/>
                  </a:lnTo>
                  <a:lnTo>
                    <a:pt x="613" y="126"/>
                  </a:lnTo>
                  <a:lnTo>
                    <a:pt x="613" y="129"/>
                  </a:lnTo>
                  <a:lnTo>
                    <a:pt x="610" y="129"/>
                  </a:lnTo>
                  <a:lnTo>
                    <a:pt x="607" y="132"/>
                  </a:lnTo>
                  <a:lnTo>
                    <a:pt x="607" y="135"/>
                  </a:lnTo>
                  <a:lnTo>
                    <a:pt x="604" y="135"/>
                  </a:lnTo>
                  <a:lnTo>
                    <a:pt x="604" y="138"/>
                  </a:lnTo>
                  <a:lnTo>
                    <a:pt x="601" y="138"/>
                  </a:lnTo>
                  <a:lnTo>
                    <a:pt x="601" y="141"/>
                  </a:lnTo>
                  <a:lnTo>
                    <a:pt x="598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89" y="144"/>
                  </a:lnTo>
                  <a:lnTo>
                    <a:pt x="589" y="147"/>
                  </a:lnTo>
                  <a:lnTo>
                    <a:pt x="586" y="150"/>
                  </a:lnTo>
                  <a:lnTo>
                    <a:pt x="583" y="153"/>
                  </a:lnTo>
                  <a:lnTo>
                    <a:pt x="580" y="153"/>
                  </a:lnTo>
                  <a:lnTo>
                    <a:pt x="580" y="156"/>
                  </a:lnTo>
                  <a:lnTo>
                    <a:pt x="577" y="156"/>
                  </a:lnTo>
                  <a:lnTo>
                    <a:pt x="577" y="159"/>
                  </a:lnTo>
                  <a:lnTo>
                    <a:pt x="574" y="159"/>
                  </a:lnTo>
                  <a:lnTo>
                    <a:pt x="574" y="162"/>
                  </a:lnTo>
                  <a:lnTo>
                    <a:pt x="571" y="162"/>
                  </a:lnTo>
                  <a:lnTo>
                    <a:pt x="571" y="165"/>
                  </a:lnTo>
                  <a:lnTo>
                    <a:pt x="568" y="165"/>
                  </a:lnTo>
                  <a:lnTo>
                    <a:pt x="565" y="165"/>
                  </a:lnTo>
                  <a:lnTo>
                    <a:pt x="565" y="168"/>
                  </a:lnTo>
                  <a:lnTo>
                    <a:pt x="562" y="168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4"/>
                  </a:lnTo>
                  <a:lnTo>
                    <a:pt x="556" y="174"/>
                  </a:lnTo>
                  <a:lnTo>
                    <a:pt x="556" y="177"/>
                  </a:lnTo>
                  <a:lnTo>
                    <a:pt x="553" y="180"/>
                  </a:lnTo>
                  <a:lnTo>
                    <a:pt x="550" y="183"/>
                  </a:lnTo>
                  <a:lnTo>
                    <a:pt x="550" y="186"/>
                  </a:lnTo>
                  <a:lnTo>
                    <a:pt x="547" y="189"/>
                  </a:lnTo>
                  <a:lnTo>
                    <a:pt x="547" y="192"/>
                  </a:lnTo>
                  <a:lnTo>
                    <a:pt x="544" y="192"/>
                  </a:lnTo>
                  <a:lnTo>
                    <a:pt x="541" y="195"/>
                  </a:lnTo>
                  <a:lnTo>
                    <a:pt x="538" y="198"/>
                  </a:lnTo>
                  <a:lnTo>
                    <a:pt x="538" y="201"/>
                  </a:lnTo>
                  <a:lnTo>
                    <a:pt x="535" y="201"/>
                  </a:lnTo>
                  <a:lnTo>
                    <a:pt x="535" y="204"/>
                  </a:lnTo>
                  <a:lnTo>
                    <a:pt x="535" y="207"/>
                  </a:lnTo>
                  <a:lnTo>
                    <a:pt x="532" y="207"/>
                  </a:lnTo>
                  <a:lnTo>
                    <a:pt x="532" y="210"/>
                  </a:lnTo>
                  <a:lnTo>
                    <a:pt x="529" y="210"/>
                  </a:lnTo>
                  <a:lnTo>
                    <a:pt x="529" y="213"/>
                  </a:lnTo>
                  <a:lnTo>
                    <a:pt x="526" y="213"/>
                  </a:lnTo>
                  <a:lnTo>
                    <a:pt x="526" y="217"/>
                  </a:lnTo>
                  <a:lnTo>
                    <a:pt x="523" y="217"/>
                  </a:lnTo>
                  <a:lnTo>
                    <a:pt x="523" y="220"/>
                  </a:lnTo>
                  <a:lnTo>
                    <a:pt x="520" y="223"/>
                  </a:lnTo>
                  <a:lnTo>
                    <a:pt x="517" y="226"/>
                  </a:lnTo>
                  <a:lnTo>
                    <a:pt x="517" y="229"/>
                  </a:lnTo>
                  <a:lnTo>
                    <a:pt x="514" y="229"/>
                  </a:lnTo>
                  <a:lnTo>
                    <a:pt x="511" y="232"/>
                  </a:lnTo>
                  <a:lnTo>
                    <a:pt x="508" y="232"/>
                  </a:lnTo>
                  <a:lnTo>
                    <a:pt x="508" y="235"/>
                  </a:lnTo>
                  <a:lnTo>
                    <a:pt x="505" y="238"/>
                  </a:lnTo>
                  <a:lnTo>
                    <a:pt x="502" y="241"/>
                  </a:lnTo>
                  <a:lnTo>
                    <a:pt x="499" y="244"/>
                  </a:lnTo>
                  <a:lnTo>
                    <a:pt x="499" y="247"/>
                  </a:lnTo>
                  <a:lnTo>
                    <a:pt x="496" y="247"/>
                  </a:lnTo>
                  <a:lnTo>
                    <a:pt x="493" y="250"/>
                  </a:lnTo>
                  <a:lnTo>
                    <a:pt x="493" y="253"/>
                  </a:lnTo>
                  <a:lnTo>
                    <a:pt x="490" y="253"/>
                  </a:lnTo>
                  <a:lnTo>
                    <a:pt x="490" y="256"/>
                  </a:lnTo>
                  <a:lnTo>
                    <a:pt x="487" y="256"/>
                  </a:lnTo>
                  <a:lnTo>
                    <a:pt x="487" y="259"/>
                  </a:lnTo>
                  <a:lnTo>
                    <a:pt x="484" y="259"/>
                  </a:lnTo>
                  <a:lnTo>
                    <a:pt x="481" y="259"/>
                  </a:lnTo>
                  <a:lnTo>
                    <a:pt x="481" y="262"/>
                  </a:lnTo>
                  <a:lnTo>
                    <a:pt x="478" y="262"/>
                  </a:lnTo>
                  <a:lnTo>
                    <a:pt x="478" y="265"/>
                  </a:lnTo>
                  <a:lnTo>
                    <a:pt x="475" y="265"/>
                  </a:lnTo>
                  <a:lnTo>
                    <a:pt x="475" y="268"/>
                  </a:lnTo>
                  <a:lnTo>
                    <a:pt x="472" y="268"/>
                  </a:lnTo>
                  <a:lnTo>
                    <a:pt x="472" y="271"/>
                  </a:lnTo>
                  <a:lnTo>
                    <a:pt x="469" y="271"/>
                  </a:lnTo>
                  <a:lnTo>
                    <a:pt x="466" y="274"/>
                  </a:lnTo>
                  <a:lnTo>
                    <a:pt x="463" y="274"/>
                  </a:lnTo>
                  <a:lnTo>
                    <a:pt x="460" y="277"/>
                  </a:lnTo>
                  <a:lnTo>
                    <a:pt x="457" y="277"/>
                  </a:lnTo>
                  <a:lnTo>
                    <a:pt x="457" y="280"/>
                  </a:lnTo>
                  <a:lnTo>
                    <a:pt x="454" y="280"/>
                  </a:lnTo>
                  <a:lnTo>
                    <a:pt x="454" y="283"/>
                  </a:lnTo>
                  <a:lnTo>
                    <a:pt x="454" y="286"/>
                  </a:lnTo>
                  <a:lnTo>
                    <a:pt x="451" y="286"/>
                  </a:lnTo>
                  <a:lnTo>
                    <a:pt x="451" y="289"/>
                  </a:lnTo>
                  <a:lnTo>
                    <a:pt x="448" y="289"/>
                  </a:lnTo>
                  <a:lnTo>
                    <a:pt x="448" y="292"/>
                  </a:lnTo>
                  <a:lnTo>
                    <a:pt x="445" y="292"/>
                  </a:lnTo>
                  <a:lnTo>
                    <a:pt x="442" y="295"/>
                  </a:lnTo>
                  <a:lnTo>
                    <a:pt x="439" y="298"/>
                  </a:lnTo>
                  <a:lnTo>
                    <a:pt x="436" y="301"/>
                  </a:lnTo>
                  <a:lnTo>
                    <a:pt x="436" y="304"/>
                  </a:lnTo>
                  <a:lnTo>
                    <a:pt x="433" y="304"/>
                  </a:lnTo>
                  <a:lnTo>
                    <a:pt x="430" y="304"/>
                  </a:lnTo>
                  <a:lnTo>
                    <a:pt x="430" y="307"/>
                  </a:lnTo>
                  <a:lnTo>
                    <a:pt x="427" y="307"/>
                  </a:lnTo>
                  <a:lnTo>
                    <a:pt x="424" y="307"/>
                  </a:lnTo>
                  <a:lnTo>
                    <a:pt x="424" y="310"/>
                  </a:lnTo>
                  <a:lnTo>
                    <a:pt x="421" y="310"/>
                  </a:lnTo>
                  <a:lnTo>
                    <a:pt x="418" y="313"/>
                  </a:lnTo>
                  <a:lnTo>
                    <a:pt x="418" y="316"/>
                  </a:lnTo>
                  <a:lnTo>
                    <a:pt x="415" y="316"/>
                  </a:lnTo>
                  <a:lnTo>
                    <a:pt x="415" y="319"/>
                  </a:lnTo>
                  <a:lnTo>
                    <a:pt x="412" y="319"/>
                  </a:lnTo>
                  <a:lnTo>
                    <a:pt x="409" y="319"/>
                  </a:lnTo>
                  <a:lnTo>
                    <a:pt x="409" y="322"/>
                  </a:lnTo>
                  <a:lnTo>
                    <a:pt x="406" y="322"/>
                  </a:lnTo>
                  <a:lnTo>
                    <a:pt x="403" y="325"/>
                  </a:lnTo>
                  <a:lnTo>
                    <a:pt x="400" y="325"/>
                  </a:lnTo>
                  <a:lnTo>
                    <a:pt x="400" y="328"/>
                  </a:lnTo>
                  <a:lnTo>
                    <a:pt x="397" y="328"/>
                  </a:lnTo>
                  <a:lnTo>
                    <a:pt x="397" y="331"/>
                  </a:lnTo>
                  <a:lnTo>
                    <a:pt x="394" y="331"/>
                  </a:lnTo>
                  <a:lnTo>
                    <a:pt x="391" y="334"/>
                  </a:lnTo>
                  <a:lnTo>
                    <a:pt x="388" y="334"/>
                  </a:lnTo>
                  <a:lnTo>
                    <a:pt x="388" y="337"/>
                  </a:lnTo>
                  <a:lnTo>
                    <a:pt x="385" y="337"/>
                  </a:lnTo>
                  <a:lnTo>
                    <a:pt x="382" y="340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3" y="346"/>
                  </a:lnTo>
                  <a:lnTo>
                    <a:pt x="370" y="349"/>
                  </a:lnTo>
                  <a:lnTo>
                    <a:pt x="370" y="352"/>
                  </a:lnTo>
                  <a:lnTo>
                    <a:pt x="367" y="352"/>
                  </a:lnTo>
                  <a:lnTo>
                    <a:pt x="364" y="352"/>
                  </a:lnTo>
                  <a:lnTo>
                    <a:pt x="364" y="355"/>
                  </a:lnTo>
                  <a:lnTo>
                    <a:pt x="361" y="355"/>
                  </a:lnTo>
                  <a:lnTo>
                    <a:pt x="358" y="355"/>
                  </a:lnTo>
                  <a:lnTo>
                    <a:pt x="355" y="355"/>
                  </a:lnTo>
                  <a:lnTo>
                    <a:pt x="355" y="358"/>
                  </a:lnTo>
                  <a:lnTo>
                    <a:pt x="352" y="358"/>
                  </a:lnTo>
                  <a:lnTo>
                    <a:pt x="349" y="361"/>
                  </a:lnTo>
                  <a:lnTo>
                    <a:pt x="346" y="361"/>
                  </a:lnTo>
                  <a:lnTo>
                    <a:pt x="343" y="361"/>
                  </a:lnTo>
                  <a:lnTo>
                    <a:pt x="343" y="364"/>
                  </a:lnTo>
                  <a:lnTo>
                    <a:pt x="340" y="364"/>
                  </a:lnTo>
                  <a:lnTo>
                    <a:pt x="337" y="364"/>
                  </a:lnTo>
                  <a:lnTo>
                    <a:pt x="334" y="367"/>
                  </a:lnTo>
                  <a:lnTo>
                    <a:pt x="331" y="367"/>
                  </a:lnTo>
                  <a:lnTo>
                    <a:pt x="331" y="370"/>
                  </a:lnTo>
                  <a:lnTo>
                    <a:pt x="328" y="370"/>
                  </a:lnTo>
                  <a:lnTo>
                    <a:pt x="325" y="370"/>
                  </a:lnTo>
                  <a:lnTo>
                    <a:pt x="325" y="373"/>
                  </a:lnTo>
                  <a:lnTo>
                    <a:pt x="322" y="373"/>
                  </a:lnTo>
                  <a:lnTo>
                    <a:pt x="319" y="373"/>
                  </a:lnTo>
                  <a:lnTo>
                    <a:pt x="319" y="376"/>
                  </a:lnTo>
                  <a:lnTo>
                    <a:pt x="316" y="376"/>
                  </a:lnTo>
                  <a:lnTo>
                    <a:pt x="313" y="376"/>
                  </a:lnTo>
                  <a:lnTo>
                    <a:pt x="310" y="373"/>
                  </a:lnTo>
                  <a:lnTo>
                    <a:pt x="307" y="373"/>
                  </a:lnTo>
                  <a:lnTo>
                    <a:pt x="304" y="373"/>
                  </a:lnTo>
                  <a:lnTo>
                    <a:pt x="304" y="376"/>
                  </a:lnTo>
                  <a:lnTo>
                    <a:pt x="301" y="376"/>
                  </a:lnTo>
                  <a:lnTo>
                    <a:pt x="301" y="373"/>
                  </a:lnTo>
                  <a:lnTo>
                    <a:pt x="298" y="373"/>
                  </a:lnTo>
                  <a:lnTo>
                    <a:pt x="295" y="373"/>
                  </a:lnTo>
                  <a:lnTo>
                    <a:pt x="292" y="370"/>
                  </a:lnTo>
                  <a:lnTo>
                    <a:pt x="289" y="370"/>
                  </a:lnTo>
                  <a:lnTo>
                    <a:pt x="286" y="370"/>
                  </a:lnTo>
                  <a:lnTo>
                    <a:pt x="283" y="370"/>
                  </a:lnTo>
                  <a:lnTo>
                    <a:pt x="280" y="367"/>
                  </a:lnTo>
                  <a:lnTo>
                    <a:pt x="277" y="367"/>
                  </a:lnTo>
                  <a:lnTo>
                    <a:pt x="277" y="370"/>
                  </a:lnTo>
                  <a:lnTo>
                    <a:pt x="274" y="370"/>
                  </a:lnTo>
                  <a:lnTo>
                    <a:pt x="271" y="370"/>
                  </a:lnTo>
                  <a:lnTo>
                    <a:pt x="268" y="370"/>
                  </a:lnTo>
                  <a:lnTo>
                    <a:pt x="265" y="370"/>
                  </a:lnTo>
                  <a:lnTo>
                    <a:pt x="262" y="370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6" y="376"/>
                  </a:lnTo>
                  <a:lnTo>
                    <a:pt x="253" y="376"/>
                  </a:lnTo>
                  <a:lnTo>
                    <a:pt x="253" y="379"/>
                  </a:lnTo>
                  <a:lnTo>
                    <a:pt x="250" y="379"/>
                  </a:lnTo>
                  <a:lnTo>
                    <a:pt x="247" y="379"/>
                  </a:lnTo>
                  <a:lnTo>
                    <a:pt x="247" y="382"/>
                  </a:lnTo>
                  <a:lnTo>
                    <a:pt x="247" y="385"/>
                  </a:lnTo>
                  <a:lnTo>
                    <a:pt x="244" y="385"/>
                  </a:lnTo>
                  <a:lnTo>
                    <a:pt x="244" y="388"/>
                  </a:lnTo>
                  <a:lnTo>
                    <a:pt x="244" y="391"/>
                  </a:lnTo>
                  <a:lnTo>
                    <a:pt x="244" y="394"/>
                  </a:lnTo>
                  <a:lnTo>
                    <a:pt x="247" y="394"/>
                  </a:lnTo>
                  <a:lnTo>
                    <a:pt x="247" y="397"/>
                  </a:lnTo>
                  <a:lnTo>
                    <a:pt x="250" y="397"/>
                  </a:lnTo>
                  <a:lnTo>
                    <a:pt x="250" y="400"/>
                  </a:lnTo>
                  <a:lnTo>
                    <a:pt x="250" y="403"/>
                  </a:lnTo>
                  <a:lnTo>
                    <a:pt x="247" y="403"/>
                  </a:lnTo>
                  <a:lnTo>
                    <a:pt x="244" y="403"/>
                  </a:lnTo>
                  <a:lnTo>
                    <a:pt x="241" y="403"/>
                  </a:lnTo>
                  <a:lnTo>
                    <a:pt x="238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6" y="403"/>
                  </a:lnTo>
                  <a:lnTo>
                    <a:pt x="223" y="403"/>
                  </a:lnTo>
                  <a:lnTo>
                    <a:pt x="223" y="400"/>
                  </a:lnTo>
                  <a:lnTo>
                    <a:pt x="220" y="400"/>
                  </a:lnTo>
                  <a:lnTo>
                    <a:pt x="217" y="400"/>
                  </a:lnTo>
                  <a:lnTo>
                    <a:pt x="217" y="397"/>
                  </a:lnTo>
                  <a:lnTo>
                    <a:pt x="214" y="397"/>
                  </a:lnTo>
                  <a:lnTo>
                    <a:pt x="211" y="397"/>
                  </a:lnTo>
                  <a:lnTo>
                    <a:pt x="208" y="397"/>
                  </a:lnTo>
                  <a:lnTo>
                    <a:pt x="205" y="397"/>
                  </a:lnTo>
                  <a:lnTo>
                    <a:pt x="202" y="394"/>
                  </a:lnTo>
                  <a:lnTo>
                    <a:pt x="202" y="397"/>
                  </a:lnTo>
                  <a:lnTo>
                    <a:pt x="199" y="397"/>
                  </a:lnTo>
                  <a:lnTo>
                    <a:pt x="196" y="397"/>
                  </a:lnTo>
                  <a:lnTo>
                    <a:pt x="193" y="397"/>
                  </a:lnTo>
                  <a:lnTo>
                    <a:pt x="190" y="397"/>
                  </a:lnTo>
                  <a:lnTo>
                    <a:pt x="187" y="400"/>
                  </a:lnTo>
                  <a:lnTo>
                    <a:pt x="187" y="403"/>
                  </a:lnTo>
                  <a:lnTo>
                    <a:pt x="187" y="406"/>
                  </a:lnTo>
                  <a:lnTo>
                    <a:pt x="184" y="406"/>
                  </a:lnTo>
                  <a:lnTo>
                    <a:pt x="184" y="409"/>
                  </a:lnTo>
                  <a:lnTo>
                    <a:pt x="181" y="412"/>
                  </a:lnTo>
                  <a:lnTo>
                    <a:pt x="178" y="412"/>
                  </a:lnTo>
                  <a:lnTo>
                    <a:pt x="178" y="415"/>
                  </a:lnTo>
                  <a:lnTo>
                    <a:pt x="178" y="418"/>
                  </a:lnTo>
                  <a:lnTo>
                    <a:pt x="181" y="418"/>
                  </a:lnTo>
                  <a:lnTo>
                    <a:pt x="178" y="418"/>
                  </a:lnTo>
                  <a:lnTo>
                    <a:pt x="178" y="421"/>
                  </a:lnTo>
                  <a:lnTo>
                    <a:pt x="175" y="418"/>
                  </a:lnTo>
                  <a:lnTo>
                    <a:pt x="172" y="418"/>
                  </a:lnTo>
                  <a:lnTo>
                    <a:pt x="169" y="418"/>
                  </a:lnTo>
                  <a:lnTo>
                    <a:pt x="166" y="418"/>
                  </a:lnTo>
                  <a:lnTo>
                    <a:pt x="163" y="418"/>
                  </a:lnTo>
                  <a:lnTo>
                    <a:pt x="163" y="415"/>
                  </a:lnTo>
                  <a:lnTo>
                    <a:pt x="160" y="418"/>
                  </a:lnTo>
                  <a:lnTo>
                    <a:pt x="157" y="418"/>
                  </a:lnTo>
                  <a:lnTo>
                    <a:pt x="154" y="418"/>
                  </a:lnTo>
                  <a:lnTo>
                    <a:pt x="154" y="415"/>
                  </a:lnTo>
                  <a:lnTo>
                    <a:pt x="151" y="415"/>
                  </a:lnTo>
                  <a:lnTo>
                    <a:pt x="148" y="415"/>
                  </a:lnTo>
                  <a:lnTo>
                    <a:pt x="145" y="415"/>
                  </a:lnTo>
                  <a:lnTo>
                    <a:pt x="145" y="412"/>
                  </a:lnTo>
                  <a:lnTo>
                    <a:pt x="142" y="412"/>
                  </a:lnTo>
                  <a:lnTo>
                    <a:pt x="142" y="409"/>
                  </a:lnTo>
                  <a:lnTo>
                    <a:pt x="139" y="409"/>
                  </a:lnTo>
                  <a:lnTo>
                    <a:pt x="136" y="409"/>
                  </a:lnTo>
                  <a:lnTo>
                    <a:pt x="133" y="409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7" y="406"/>
                  </a:lnTo>
                  <a:lnTo>
                    <a:pt x="124" y="406"/>
                  </a:lnTo>
                  <a:lnTo>
                    <a:pt x="121" y="406"/>
                  </a:lnTo>
                  <a:lnTo>
                    <a:pt x="118" y="406"/>
                  </a:lnTo>
                  <a:lnTo>
                    <a:pt x="114" y="406"/>
                  </a:lnTo>
                  <a:lnTo>
                    <a:pt x="111" y="403"/>
                  </a:lnTo>
                  <a:lnTo>
                    <a:pt x="108" y="403"/>
                  </a:lnTo>
                  <a:lnTo>
                    <a:pt x="105" y="403"/>
                  </a:lnTo>
                  <a:lnTo>
                    <a:pt x="102" y="403"/>
                  </a:lnTo>
                  <a:lnTo>
                    <a:pt x="102" y="400"/>
                  </a:lnTo>
                  <a:lnTo>
                    <a:pt x="99" y="400"/>
                  </a:lnTo>
                  <a:lnTo>
                    <a:pt x="96" y="400"/>
                  </a:lnTo>
                  <a:lnTo>
                    <a:pt x="93" y="400"/>
                  </a:lnTo>
                  <a:lnTo>
                    <a:pt x="90" y="400"/>
                  </a:lnTo>
                  <a:lnTo>
                    <a:pt x="87" y="400"/>
                  </a:lnTo>
                  <a:lnTo>
                    <a:pt x="87" y="397"/>
                  </a:lnTo>
                  <a:lnTo>
                    <a:pt x="84" y="397"/>
                  </a:lnTo>
                  <a:lnTo>
                    <a:pt x="81" y="397"/>
                  </a:lnTo>
                  <a:lnTo>
                    <a:pt x="78" y="397"/>
                  </a:lnTo>
                  <a:lnTo>
                    <a:pt x="78" y="394"/>
                  </a:lnTo>
                  <a:lnTo>
                    <a:pt x="78" y="391"/>
                  </a:lnTo>
                  <a:lnTo>
                    <a:pt x="78" y="388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1" y="388"/>
                  </a:lnTo>
                  <a:lnTo>
                    <a:pt x="81" y="385"/>
                  </a:lnTo>
                  <a:lnTo>
                    <a:pt x="84" y="385"/>
                  </a:lnTo>
                  <a:lnTo>
                    <a:pt x="75" y="382"/>
                  </a:lnTo>
                  <a:lnTo>
                    <a:pt x="72" y="382"/>
                  </a:lnTo>
                  <a:lnTo>
                    <a:pt x="69" y="379"/>
                  </a:lnTo>
                  <a:lnTo>
                    <a:pt x="69" y="376"/>
                  </a:lnTo>
                  <a:lnTo>
                    <a:pt x="66" y="376"/>
                  </a:lnTo>
                  <a:lnTo>
                    <a:pt x="66" y="379"/>
                  </a:lnTo>
                  <a:lnTo>
                    <a:pt x="63" y="379"/>
                  </a:lnTo>
                  <a:lnTo>
                    <a:pt x="60" y="379"/>
                  </a:lnTo>
                  <a:lnTo>
                    <a:pt x="57" y="376"/>
                  </a:lnTo>
                  <a:lnTo>
                    <a:pt x="60" y="373"/>
                  </a:lnTo>
                  <a:lnTo>
                    <a:pt x="60" y="370"/>
                  </a:lnTo>
                  <a:lnTo>
                    <a:pt x="63" y="370"/>
                  </a:lnTo>
                  <a:lnTo>
                    <a:pt x="69" y="367"/>
                  </a:lnTo>
                  <a:lnTo>
                    <a:pt x="69" y="364"/>
                  </a:lnTo>
                  <a:lnTo>
                    <a:pt x="72" y="364"/>
                  </a:lnTo>
                  <a:lnTo>
                    <a:pt x="75" y="364"/>
                  </a:lnTo>
                  <a:lnTo>
                    <a:pt x="81" y="364"/>
                  </a:lnTo>
                  <a:lnTo>
                    <a:pt x="81" y="361"/>
                  </a:lnTo>
                  <a:lnTo>
                    <a:pt x="75" y="358"/>
                  </a:lnTo>
                  <a:lnTo>
                    <a:pt x="75" y="355"/>
                  </a:lnTo>
                  <a:lnTo>
                    <a:pt x="75" y="352"/>
                  </a:lnTo>
                  <a:lnTo>
                    <a:pt x="75" y="349"/>
                  </a:lnTo>
                  <a:lnTo>
                    <a:pt x="75" y="346"/>
                  </a:lnTo>
                  <a:lnTo>
                    <a:pt x="72" y="346"/>
                  </a:lnTo>
                  <a:lnTo>
                    <a:pt x="66" y="343"/>
                  </a:lnTo>
                  <a:lnTo>
                    <a:pt x="63" y="343"/>
                  </a:lnTo>
                  <a:lnTo>
                    <a:pt x="60" y="343"/>
                  </a:lnTo>
                  <a:lnTo>
                    <a:pt x="57" y="343"/>
                  </a:lnTo>
                  <a:lnTo>
                    <a:pt x="54" y="343"/>
                  </a:lnTo>
                  <a:lnTo>
                    <a:pt x="51" y="340"/>
                  </a:lnTo>
                  <a:lnTo>
                    <a:pt x="51" y="337"/>
                  </a:lnTo>
                  <a:lnTo>
                    <a:pt x="48" y="337"/>
                  </a:lnTo>
                  <a:lnTo>
                    <a:pt x="39" y="337"/>
                  </a:lnTo>
                  <a:lnTo>
                    <a:pt x="36" y="337"/>
                  </a:lnTo>
                  <a:lnTo>
                    <a:pt x="33" y="337"/>
                  </a:lnTo>
                  <a:lnTo>
                    <a:pt x="30" y="337"/>
                  </a:lnTo>
                  <a:lnTo>
                    <a:pt x="24" y="340"/>
                  </a:lnTo>
                  <a:lnTo>
                    <a:pt x="21" y="340"/>
                  </a:lnTo>
                  <a:lnTo>
                    <a:pt x="18" y="340"/>
                  </a:lnTo>
                  <a:lnTo>
                    <a:pt x="12" y="340"/>
                  </a:lnTo>
                  <a:lnTo>
                    <a:pt x="9" y="340"/>
                  </a:lnTo>
                  <a:lnTo>
                    <a:pt x="6" y="340"/>
                  </a:lnTo>
                  <a:lnTo>
                    <a:pt x="0" y="337"/>
                  </a:lnTo>
                  <a:lnTo>
                    <a:pt x="3" y="334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9" y="325"/>
                  </a:lnTo>
                  <a:lnTo>
                    <a:pt x="9" y="319"/>
                  </a:lnTo>
                  <a:lnTo>
                    <a:pt x="12" y="316"/>
                  </a:lnTo>
                  <a:lnTo>
                    <a:pt x="15" y="313"/>
                  </a:lnTo>
                  <a:lnTo>
                    <a:pt x="21" y="304"/>
                  </a:lnTo>
                  <a:lnTo>
                    <a:pt x="21" y="301"/>
                  </a:lnTo>
                  <a:lnTo>
                    <a:pt x="18" y="301"/>
                  </a:lnTo>
                  <a:lnTo>
                    <a:pt x="18" y="298"/>
                  </a:lnTo>
                  <a:lnTo>
                    <a:pt x="21" y="298"/>
                  </a:lnTo>
                  <a:lnTo>
                    <a:pt x="18" y="292"/>
                  </a:lnTo>
                  <a:lnTo>
                    <a:pt x="24" y="286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77"/>
                  </a:lnTo>
                  <a:lnTo>
                    <a:pt x="33" y="280"/>
                  </a:lnTo>
                  <a:lnTo>
                    <a:pt x="36" y="280"/>
                  </a:lnTo>
                  <a:lnTo>
                    <a:pt x="39" y="277"/>
                  </a:lnTo>
                  <a:lnTo>
                    <a:pt x="45" y="277"/>
                  </a:lnTo>
                  <a:lnTo>
                    <a:pt x="48" y="280"/>
                  </a:lnTo>
                  <a:lnTo>
                    <a:pt x="54" y="280"/>
                  </a:lnTo>
                  <a:lnTo>
                    <a:pt x="57" y="274"/>
                  </a:lnTo>
                  <a:lnTo>
                    <a:pt x="54" y="274"/>
                  </a:lnTo>
                  <a:lnTo>
                    <a:pt x="54" y="271"/>
                  </a:lnTo>
                  <a:lnTo>
                    <a:pt x="51" y="268"/>
                  </a:lnTo>
                  <a:lnTo>
                    <a:pt x="45" y="265"/>
                  </a:lnTo>
                  <a:lnTo>
                    <a:pt x="48" y="265"/>
                  </a:lnTo>
                  <a:lnTo>
                    <a:pt x="48" y="262"/>
                  </a:lnTo>
                  <a:lnTo>
                    <a:pt x="48" y="259"/>
                  </a:lnTo>
                  <a:lnTo>
                    <a:pt x="48" y="253"/>
                  </a:lnTo>
                  <a:lnTo>
                    <a:pt x="45" y="250"/>
                  </a:lnTo>
                  <a:lnTo>
                    <a:pt x="45" y="244"/>
                  </a:lnTo>
                  <a:lnTo>
                    <a:pt x="42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51" y="232"/>
                  </a:lnTo>
                  <a:lnTo>
                    <a:pt x="54" y="235"/>
                  </a:lnTo>
                  <a:lnTo>
                    <a:pt x="57" y="238"/>
                  </a:lnTo>
                  <a:lnTo>
                    <a:pt x="60" y="235"/>
                  </a:lnTo>
                  <a:lnTo>
                    <a:pt x="60" y="229"/>
                  </a:lnTo>
                  <a:lnTo>
                    <a:pt x="66" y="232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78" y="232"/>
                  </a:lnTo>
                  <a:lnTo>
                    <a:pt x="81" y="232"/>
                  </a:lnTo>
                  <a:lnTo>
                    <a:pt x="78" y="229"/>
                  </a:lnTo>
                  <a:lnTo>
                    <a:pt x="81" y="223"/>
                  </a:lnTo>
                  <a:lnTo>
                    <a:pt x="81" y="220"/>
                  </a:lnTo>
                  <a:lnTo>
                    <a:pt x="84" y="220"/>
                  </a:lnTo>
                  <a:lnTo>
                    <a:pt x="87" y="217"/>
                  </a:lnTo>
                  <a:lnTo>
                    <a:pt x="90" y="217"/>
                  </a:lnTo>
                  <a:lnTo>
                    <a:pt x="93" y="220"/>
                  </a:lnTo>
                  <a:lnTo>
                    <a:pt x="93" y="223"/>
                  </a:lnTo>
                  <a:lnTo>
                    <a:pt x="96" y="223"/>
                  </a:lnTo>
                  <a:lnTo>
                    <a:pt x="99" y="223"/>
                  </a:lnTo>
                  <a:lnTo>
                    <a:pt x="102" y="223"/>
                  </a:lnTo>
                  <a:lnTo>
                    <a:pt x="102" y="220"/>
                  </a:lnTo>
                  <a:lnTo>
                    <a:pt x="105" y="220"/>
                  </a:lnTo>
                  <a:lnTo>
                    <a:pt x="105" y="217"/>
                  </a:lnTo>
                  <a:lnTo>
                    <a:pt x="108" y="217"/>
                  </a:lnTo>
                  <a:lnTo>
                    <a:pt x="111" y="217"/>
                  </a:lnTo>
                  <a:lnTo>
                    <a:pt x="111" y="213"/>
                  </a:lnTo>
                  <a:lnTo>
                    <a:pt x="114" y="213"/>
                  </a:lnTo>
                  <a:lnTo>
                    <a:pt x="118" y="213"/>
                  </a:lnTo>
                  <a:lnTo>
                    <a:pt x="118" y="210"/>
                  </a:lnTo>
                  <a:lnTo>
                    <a:pt x="121" y="210"/>
                  </a:lnTo>
                  <a:lnTo>
                    <a:pt x="121" y="207"/>
                  </a:lnTo>
                  <a:lnTo>
                    <a:pt x="118" y="207"/>
                  </a:lnTo>
                  <a:lnTo>
                    <a:pt x="118" y="204"/>
                  </a:lnTo>
                  <a:lnTo>
                    <a:pt x="118" y="201"/>
                  </a:lnTo>
                  <a:lnTo>
                    <a:pt x="118" y="204"/>
                  </a:lnTo>
                  <a:lnTo>
                    <a:pt x="121" y="204"/>
                  </a:lnTo>
                  <a:lnTo>
                    <a:pt x="118" y="201"/>
                  </a:lnTo>
                  <a:lnTo>
                    <a:pt x="121" y="201"/>
                  </a:lnTo>
                  <a:lnTo>
                    <a:pt x="121" y="198"/>
                  </a:lnTo>
                  <a:lnTo>
                    <a:pt x="124" y="198"/>
                  </a:lnTo>
                  <a:lnTo>
                    <a:pt x="124" y="195"/>
                  </a:lnTo>
                  <a:lnTo>
                    <a:pt x="127" y="192"/>
                  </a:lnTo>
                  <a:lnTo>
                    <a:pt x="124" y="192"/>
                  </a:lnTo>
                  <a:lnTo>
                    <a:pt x="124" y="189"/>
                  </a:lnTo>
                  <a:lnTo>
                    <a:pt x="121" y="189"/>
                  </a:lnTo>
                  <a:lnTo>
                    <a:pt x="121" y="186"/>
                  </a:lnTo>
                  <a:lnTo>
                    <a:pt x="121" y="189"/>
                  </a:lnTo>
                  <a:lnTo>
                    <a:pt x="118" y="189"/>
                  </a:lnTo>
                  <a:lnTo>
                    <a:pt x="118" y="186"/>
                  </a:lnTo>
                  <a:lnTo>
                    <a:pt x="118" y="183"/>
                  </a:lnTo>
                  <a:lnTo>
                    <a:pt x="121" y="183"/>
                  </a:lnTo>
                  <a:lnTo>
                    <a:pt x="121" y="180"/>
                  </a:lnTo>
                  <a:lnTo>
                    <a:pt x="124" y="180"/>
                  </a:lnTo>
                  <a:lnTo>
                    <a:pt x="121" y="177"/>
                  </a:lnTo>
                  <a:lnTo>
                    <a:pt x="121" y="174"/>
                  </a:lnTo>
                  <a:lnTo>
                    <a:pt x="121" y="171"/>
                  </a:lnTo>
                  <a:lnTo>
                    <a:pt x="127" y="171"/>
                  </a:lnTo>
                  <a:lnTo>
                    <a:pt x="127" y="174"/>
                  </a:lnTo>
                  <a:lnTo>
                    <a:pt x="130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6" y="171"/>
                  </a:lnTo>
                  <a:lnTo>
                    <a:pt x="136" y="168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5" y="168"/>
                  </a:lnTo>
                  <a:lnTo>
                    <a:pt x="148" y="168"/>
                  </a:lnTo>
                  <a:lnTo>
                    <a:pt x="151" y="168"/>
                  </a:lnTo>
                  <a:lnTo>
                    <a:pt x="151" y="165"/>
                  </a:lnTo>
                  <a:lnTo>
                    <a:pt x="151" y="159"/>
                  </a:lnTo>
                  <a:lnTo>
                    <a:pt x="151" y="156"/>
                  </a:lnTo>
                  <a:lnTo>
                    <a:pt x="151" y="153"/>
                  </a:lnTo>
                  <a:lnTo>
                    <a:pt x="154" y="150"/>
                  </a:lnTo>
                  <a:lnTo>
                    <a:pt x="151" y="147"/>
                  </a:lnTo>
                  <a:lnTo>
                    <a:pt x="154" y="147"/>
                  </a:lnTo>
                  <a:lnTo>
                    <a:pt x="157" y="141"/>
                  </a:lnTo>
                  <a:lnTo>
                    <a:pt x="157" y="138"/>
                  </a:lnTo>
                  <a:lnTo>
                    <a:pt x="163" y="135"/>
                  </a:lnTo>
                  <a:lnTo>
                    <a:pt x="166" y="138"/>
                  </a:lnTo>
                  <a:lnTo>
                    <a:pt x="169" y="138"/>
                  </a:lnTo>
                  <a:lnTo>
                    <a:pt x="175" y="138"/>
                  </a:lnTo>
                  <a:lnTo>
                    <a:pt x="178" y="135"/>
                  </a:lnTo>
                  <a:lnTo>
                    <a:pt x="181" y="135"/>
                  </a:lnTo>
                  <a:lnTo>
                    <a:pt x="181" y="132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0" y="126"/>
                  </a:lnTo>
                  <a:lnTo>
                    <a:pt x="193" y="126"/>
                  </a:lnTo>
                  <a:lnTo>
                    <a:pt x="196" y="126"/>
                  </a:lnTo>
                  <a:lnTo>
                    <a:pt x="199" y="123"/>
                  </a:lnTo>
                  <a:lnTo>
                    <a:pt x="199" y="126"/>
                  </a:lnTo>
                  <a:lnTo>
                    <a:pt x="199" y="123"/>
                  </a:lnTo>
                  <a:lnTo>
                    <a:pt x="202" y="123"/>
                  </a:lnTo>
                  <a:lnTo>
                    <a:pt x="205" y="123"/>
                  </a:lnTo>
                  <a:lnTo>
                    <a:pt x="208" y="123"/>
                  </a:lnTo>
                  <a:lnTo>
                    <a:pt x="208" y="120"/>
                  </a:lnTo>
                  <a:lnTo>
                    <a:pt x="211" y="120"/>
                  </a:lnTo>
                  <a:lnTo>
                    <a:pt x="208" y="120"/>
                  </a:lnTo>
                  <a:lnTo>
                    <a:pt x="211" y="117"/>
                  </a:lnTo>
                  <a:lnTo>
                    <a:pt x="214" y="120"/>
                  </a:lnTo>
                  <a:lnTo>
                    <a:pt x="217" y="120"/>
                  </a:lnTo>
                  <a:lnTo>
                    <a:pt x="223" y="123"/>
                  </a:lnTo>
                  <a:lnTo>
                    <a:pt x="223" y="120"/>
                  </a:lnTo>
                  <a:lnTo>
                    <a:pt x="223" y="117"/>
                  </a:lnTo>
                  <a:lnTo>
                    <a:pt x="223" y="114"/>
                  </a:lnTo>
                  <a:lnTo>
                    <a:pt x="226" y="114"/>
                  </a:lnTo>
                  <a:lnTo>
                    <a:pt x="226" y="111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9" y="105"/>
                  </a:lnTo>
                  <a:lnTo>
                    <a:pt x="232" y="105"/>
                  </a:lnTo>
                  <a:lnTo>
                    <a:pt x="232" y="102"/>
                  </a:lnTo>
                  <a:lnTo>
                    <a:pt x="235" y="99"/>
                  </a:lnTo>
                  <a:lnTo>
                    <a:pt x="232" y="99"/>
                  </a:lnTo>
                  <a:lnTo>
                    <a:pt x="232" y="96"/>
                  </a:lnTo>
                  <a:lnTo>
                    <a:pt x="235" y="96"/>
                  </a:lnTo>
                  <a:lnTo>
                    <a:pt x="235" y="93"/>
                  </a:lnTo>
                  <a:lnTo>
                    <a:pt x="235" y="90"/>
                  </a:lnTo>
                  <a:lnTo>
                    <a:pt x="238" y="90"/>
                  </a:lnTo>
                  <a:lnTo>
                    <a:pt x="235" y="90"/>
                  </a:lnTo>
                  <a:lnTo>
                    <a:pt x="235" y="87"/>
                  </a:lnTo>
                  <a:lnTo>
                    <a:pt x="232" y="87"/>
                  </a:lnTo>
                  <a:lnTo>
                    <a:pt x="232" y="84"/>
                  </a:lnTo>
                  <a:lnTo>
                    <a:pt x="235" y="84"/>
                  </a:lnTo>
                  <a:lnTo>
                    <a:pt x="238" y="78"/>
                  </a:lnTo>
                  <a:lnTo>
                    <a:pt x="235" y="78"/>
                  </a:lnTo>
                  <a:lnTo>
                    <a:pt x="232" y="78"/>
                  </a:lnTo>
                  <a:lnTo>
                    <a:pt x="232" y="75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6"/>
                  </a:lnTo>
                  <a:lnTo>
                    <a:pt x="232" y="63"/>
                  </a:lnTo>
                  <a:lnTo>
                    <a:pt x="235" y="63"/>
                  </a:lnTo>
                  <a:lnTo>
                    <a:pt x="238" y="60"/>
                  </a:lnTo>
                  <a:lnTo>
                    <a:pt x="241" y="60"/>
                  </a:lnTo>
                  <a:lnTo>
                    <a:pt x="244" y="60"/>
                  </a:lnTo>
                  <a:lnTo>
                    <a:pt x="244" y="63"/>
                  </a:lnTo>
                  <a:lnTo>
                    <a:pt x="244" y="66"/>
                  </a:lnTo>
                  <a:lnTo>
                    <a:pt x="247" y="66"/>
                  </a:lnTo>
                  <a:lnTo>
                    <a:pt x="247" y="63"/>
                  </a:lnTo>
                  <a:lnTo>
                    <a:pt x="250" y="63"/>
                  </a:lnTo>
                  <a:lnTo>
                    <a:pt x="250" y="66"/>
                  </a:lnTo>
                  <a:lnTo>
                    <a:pt x="250" y="69"/>
                  </a:lnTo>
                  <a:lnTo>
                    <a:pt x="253" y="69"/>
                  </a:lnTo>
                  <a:lnTo>
                    <a:pt x="256" y="69"/>
                  </a:lnTo>
                  <a:lnTo>
                    <a:pt x="256" y="66"/>
                  </a:lnTo>
                  <a:lnTo>
                    <a:pt x="259" y="66"/>
                  </a:lnTo>
                  <a:lnTo>
                    <a:pt x="259" y="63"/>
                  </a:lnTo>
                  <a:lnTo>
                    <a:pt x="262" y="63"/>
                  </a:lnTo>
                  <a:lnTo>
                    <a:pt x="265" y="63"/>
                  </a:lnTo>
                  <a:lnTo>
                    <a:pt x="265" y="60"/>
                  </a:lnTo>
                  <a:lnTo>
                    <a:pt x="268" y="60"/>
                  </a:lnTo>
                  <a:lnTo>
                    <a:pt x="265" y="60"/>
                  </a:lnTo>
                  <a:lnTo>
                    <a:pt x="265" y="57"/>
                  </a:lnTo>
                  <a:lnTo>
                    <a:pt x="265" y="54"/>
                  </a:lnTo>
                  <a:lnTo>
                    <a:pt x="268" y="54"/>
                  </a:lnTo>
                  <a:lnTo>
                    <a:pt x="268" y="57"/>
                  </a:lnTo>
                  <a:lnTo>
                    <a:pt x="271" y="57"/>
                  </a:lnTo>
                  <a:lnTo>
                    <a:pt x="271" y="54"/>
                  </a:lnTo>
                  <a:lnTo>
                    <a:pt x="274" y="54"/>
                  </a:lnTo>
                  <a:lnTo>
                    <a:pt x="277" y="54"/>
                  </a:lnTo>
                  <a:lnTo>
                    <a:pt x="280" y="54"/>
                  </a:lnTo>
                  <a:lnTo>
                    <a:pt x="280" y="51"/>
                  </a:lnTo>
                  <a:lnTo>
                    <a:pt x="283" y="51"/>
                  </a:lnTo>
                  <a:lnTo>
                    <a:pt x="286" y="51"/>
                  </a:lnTo>
                  <a:lnTo>
                    <a:pt x="286" y="54"/>
                  </a:lnTo>
                  <a:lnTo>
                    <a:pt x="289" y="54"/>
                  </a:lnTo>
                  <a:lnTo>
                    <a:pt x="289" y="51"/>
                  </a:lnTo>
                  <a:lnTo>
                    <a:pt x="286" y="51"/>
                  </a:lnTo>
                  <a:lnTo>
                    <a:pt x="286" y="48"/>
                  </a:lnTo>
                  <a:lnTo>
                    <a:pt x="289" y="48"/>
                  </a:lnTo>
                  <a:lnTo>
                    <a:pt x="292" y="48"/>
                  </a:lnTo>
                  <a:lnTo>
                    <a:pt x="292" y="51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298" y="54"/>
                  </a:lnTo>
                  <a:lnTo>
                    <a:pt x="298" y="57"/>
                  </a:lnTo>
                  <a:lnTo>
                    <a:pt x="301" y="57"/>
                  </a:lnTo>
                  <a:lnTo>
                    <a:pt x="298" y="57"/>
                  </a:lnTo>
                  <a:lnTo>
                    <a:pt x="298" y="60"/>
                  </a:lnTo>
                  <a:lnTo>
                    <a:pt x="301" y="60"/>
                  </a:lnTo>
                  <a:lnTo>
                    <a:pt x="301" y="57"/>
                  </a:lnTo>
                  <a:lnTo>
                    <a:pt x="304" y="57"/>
                  </a:lnTo>
                  <a:lnTo>
                    <a:pt x="304" y="60"/>
                  </a:lnTo>
                  <a:lnTo>
                    <a:pt x="307" y="60"/>
                  </a:lnTo>
                  <a:lnTo>
                    <a:pt x="307" y="57"/>
                  </a:lnTo>
                  <a:lnTo>
                    <a:pt x="310" y="57"/>
                  </a:lnTo>
                  <a:lnTo>
                    <a:pt x="313" y="57"/>
                  </a:lnTo>
                  <a:lnTo>
                    <a:pt x="316" y="57"/>
                  </a:lnTo>
                  <a:lnTo>
                    <a:pt x="316" y="60"/>
                  </a:lnTo>
                  <a:lnTo>
                    <a:pt x="316" y="63"/>
                  </a:lnTo>
                  <a:lnTo>
                    <a:pt x="319" y="63"/>
                  </a:lnTo>
                  <a:lnTo>
                    <a:pt x="322" y="66"/>
                  </a:lnTo>
                  <a:lnTo>
                    <a:pt x="325" y="66"/>
                  </a:lnTo>
                  <a:lnTo>
                    <a:pt x="328" y="66"/>
                  </a:lnTo>
                  <a:lnTo>
                    <a:pt x="328" y="69"/>
                  </a:lnTo>
                  <a:lnTo>
                    <a:pt x="331" y="69"/>
                  </a:lnTo>
                  <a:lnTo>
                    <a:pt x="331" y="66"/>
                  </a:lnTo>
                  <a:lnTo>
                    <a:pt x="334" y="66"/>
                  </a:lnTo>
                  <a:lnTo>
                    <a:pt x="334" y="69"/>
                  </a:lnTo>
                  <a:lnTo>
                    <a:pt x="337" y="69"/>
                  </a:lnTo>
                  <a:lnTo>
                    <a:pt x="337" y="66"/>
                  </a:lnTo>
                  <a:lnTo>
                    <a:pt x="340" y="66"/>
                  </a:lnTo>
                  <a:lnTo>
                    <a:pt x="343" y="63"/>
                  </a:lnTo>
                  <a:lnTo>
                    <a:pt x="346" y="66"/>
                  </a:lnTo>
                  <a:lnTo>
                    <a:pt x="346" y="69"/>
                  </a:lnTo>
                  <a:lnTo>
                    <a:pt x="349" y="69"/>
                  </a:lnTo>
                  <a:lnTo>
                    <a:pt x="349" y="66"/>
                  </a:lnTo>
                  <a:lnTo>
                    <a:pt x="352" y="66"/>
                  </a:lnTo>
                  <a:lnTo>
                    <a:pt x="355" y="66"/>
                  </a:lnTo>
                  <a:lnTo>
                    <a:pt x="355" y="63"/>
                  </a:lnTo>
                  <a:lnTo>
                    <a:pt x="355" y="60"/>
                  </a:lnTo>
                  <a:lnTo>
                    <a:pt x="358" y="60"/>
                  </a:lnTo>
                  <a:lnTo>
                    <a:pt x="361" y="60"/>
                  </a:lnTo>
                  <a:lnTo>
                    <a:pt x="364" y="60"/>
                  </a:lnTo>
                  <a:lnTo>
                    <a:pt x="364" y="57"/>
                  </a:lnTo>
                  <a:lnTo>
                    <a:pt x="361" y="57"/>
                  </a:lnTo>
                  <a:lnTo>
                    <a:pt x="361" y="54"/>
                  </a:lnTo>
                  <a:lnTo>
                    <a:pt x="364" y="54"/>
                  </a:lnTo>
                  <a:lnTo>
                    <a:pt x="367" y="54"/>
                  </a:lnTo>
                  <a:lnTo>
                    <a:pt x="367" y="57"/>
                  </a:lnTo>
                  <a:lnTo>
                    <a:pt x="370" y="57"/>
                  </a:lnTo>
                  <a:lnTo>
                    <a:pt x="370" y="54"/>
                  </a:lnTo>
                  <a:lnTo>
                    <a:pt x="370" y="51"/>
                  </a:lnTo>
                  <a:lnTo>
                    <a:pt x="373" y="51"/>
                  </a:lnTo>
                  <a:lnTo>
                    <a:pt x="376" y="51"/>
                  </a:lnTo>
                  <a:lnTo>
                    <a:pt x="376" y="54"/>
                  </a:lnTo>
                  <a:lnTo>
                    <a:pt x="376" y="51"/>
                  </a:lnTo>
                  <a:lnTo>
                    <a:pt x="376" y="48"/>
                  </a:lnTo>
                  <a:lnTo>
                    <a:pt x="379" y="48"/>
                  </a:lnTo>
                  <a:lnTo>
                    <a:pt x="379" y="51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51"/>
                  </a:lnTo>
                  <a:lnTo>
                    <a:pt x="385" y="51"/>
                  </a:lnTo>
                  <a:lnTo>
                    <a:pt x="385" y="48"/>
                  </a:lnTo>
                  <a:lnTo>
                    <a:pt x="388" y="48"/>
                  </a:lnTo>
                  <a:lnTo>
                    <a:pt x="385" y="48"/>
                  </a:lnTo>
                  <a:lnTo>
                    <a:pt x="385" y="45"/>
                  </a:lnTo>
                  <a:lnTo>
                    <a:pt x="388" y="45"/>
                  </a:lnTo>
                  <a:lnTo>
                    <a:pt x="391" y="45"/>
                  </a:lnTo>
                  <a:lnTo>
                    <a:pt x="391" y="42"/>
                  </a:lnTo>
                  <a:lnTo>
                    <a:pt x="388" y="42"/>
                  </a:lnTo>
                  <a:lnTo>
                    <a:pt x="388" y="45"/>
                  </a:lnTo>
                  <a:lnTo>
                    <a:pt x="388" y="42"/>
                  </a:lnTo>
                  <a:lnTo>
                    <a:pt x="388" y="39"/>
                  </a:lnTo>
                  <a:lnTo>
                    <a:pt x="388" y="42"/>
                  </a:lnTo>
                  <a:lnTo>
                    <a:pt x="391" y="42"/>
                  </a:lnTo>
                  <a:lnTo>
                    <a:pt x="391" y="39"/>
                  </a:lnTo>
                  <a:lnTo>
                    <a:pt x="394" y="39"/>
                  </a:lnTo>
                  <a:lnTo>
                    <a:pt x="394" y="36"/>
                  </a:lnTo>
                  <a:lnTo>
                    <a:pt x="391" y="36"/>
                  </a:lnTo>
                  <a:lnTo>
                    <a:pt x="391" y="39"/>
                  </a:lnTo>
                  <a:lnTo>
                    <a:pt x="391" y="36"/>
                  </a:lnTo>
                  <a:lnTo>
                    <a:pt x="391" y="33"/>
                  </a:lnTo>
                  <a:lnTo>
                    <a:pt x="388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1" y="33"/>
                  </a:lnTo>
                  <a:lnTo>
                    <a:pt x="394" y="33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4" y="30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30"/>
                  </a:lnTo>
                  <a:lnTo>
                    <a:pt x="391" y="27"/>
                  </a:lnTo>
                  <a:lnTo>
                    <a:pt x="391" y="24"/>
                  </a:lnTo>
                  <a:lnTo>
                    <a:pt x="391" y="21"/>
                  </a:lnTo>
                  <a:lnTo>
                    <a:pt x="391" y="18"/>
                  </a:lnTo>
                  <a:lnTo>
                    <a:pt x="394" y="18"/>
                  </a:lnTo>
                  <a:lnTo>
                    <a:pt x="397" y="18"/>
                  </a:lnTo>
                  <a:lnTo>
                    <a:pt x="400" y="18"/>
                  </a:lnTo>
                  <a:lnTo>
                    <a:pt x="403" y="18"/>
                  </a:lnTo>
                  <a:lnTo>
                    <a:pt x="406" y="18"/>
                  </a:lnTo>
                  <a:lnTo>
                    <a:pt x="406" y="21"/>
                  </a:lnTo>
                  <a:lnTo>
                    <a:pt x="406" y="24"/>
                  </a:lnTo>
                  <a:lnTo>
                    <a:pt x="406" y="27"/>
                  </a:lnTo>
                  <a:lnTo>
                    <a:pt x="409" y="27"/>
                  </a:lnTo>
                  <a:lnTo>
                    <a:pt x="409" y="24"/>
                  </a:lnTo>
                  <a:lnTo>
                    <a:pt x="409" y="27"/>
                  </a:lnTo>
                  <a:lnTo>
                    <a:pt x="412" y="27"/>
                  </a:lnTo>
                  <a:lnTo>
                    <a:pt x="412" y="30"/>
                  </a:lnTo>
                  <a:lnTo>
                    <a:pt x="412" y="33"/>
                  </a:lnTo>
                  <a:lnTo>
                    <a:pt x="415" y="33"/>
                  </a:lnTo>
                  <a:lnTo>
                    <a:pt x="418" y="33"/>
                  </a:lnTo>
                  <a:lnTo>
                    <a:pt x="418" y="36"/>
                  </a:lnTo>
                  <a:lnTo>
                    <a:pt x="418" y="39"/>
                  </a:lnTo>
                  <a:lnTo>
                    <a:pt x="418" y="42"/>
                  </a:lnTo>
                  <a:lnTo>
                    <a:pt x="418" y="39"/>
                  </a:lnTo>
                  <a:lnTo>
                    <a:pt x="421" y="39"/>
                  </a:lnTo>
                  <a:lnTo>
                    <a:pt x="421" y="42"/>
                  </a:lnTo>
                  <a:lnTo>
                    <a:pt x="424" y="42"/>
                  </a:lnTo>
                  <a:lnTo>
                    <a:pt x="424" y="45"/>
                  </a:lnTo>
                  <a:lnTo>
                    <a:pt x="427" y="45"/>
                  </a:lnTo>
                  <a:lnTo>
                    <a:pt x="427" y="48"/>
                  </a:lnTo>
                  <a:lnTo>
                    <a:pt x="427" y="51"/>
                  </a:lnTo>
                  <a:lnTo>
                    <a:pt x="430" y="51"/>
                  </a:lnTo>
                  <a:lnTo>
                    <a:pt x="430" y="54"/>
                  </a:lnTo>
                  <a:lnTo>
                    <a:pt x="433" y="54"/>
                  </a:lnTo>
                  <a:lnTo>
                    <a:pt x="436" y="54"/>
                  </a:lnTo>
                  <a:lnTo>
                    <a:pt x="436" y="57"/>
                  </a:lnTo>
                  <a:lnTo>
                    <a:pt x="439" y="57"/>
                  </a:lnTo>
                  <a:lnTo>
                    <a:pt x="439" y="60"/>
                  </a:lnTo>
                  <a:lnTo>
                    <a:pt x="442" y="63"/>
                  </a:lnTo>
                  <a:lnTo>
                    <a:pt x="442" y="60"/>
                  </a:lnTo>
                  <a:lnTo>
                    <a:pt x="445" y="60"/>
                  </a:lnTo>
                  <a:lnTo>
                    <a:pt x="448" y="60"/>
                  </a:lnTo>
                  <a:lnTo>
                    <a:pt x="451" y="60"/>
                  </a:lnTo>
                  <a:lnTo>
                    <a:pt x="451" y="63"/>
                  </a:lnTo>
                  <a:lnTo>
                    <a:pt x="454" y="66"/>
                  </a:lnTo>
                  <a:lnTo>
                    <a:pt x="454" y="63"/>
                  </a:lnTo>
                  <a:lnTo>
                    <a:pt x="454" y="60"/>
                  </a:lnTo>
                  <a:lnTo>
                    <a:pt x="457" y="57"/>
                  </a:lnTo>
                  <a:lnTo>
                    <a:pt x="457" y="54"/>
                  </a:lnTo>
                  <a:lnTo>
                    <a:pt x="460" y="54"/>
                  </a:lnTo>
                  <a:lnTo>
                    <a:pt x="457" y="51"/>
                  </a:lnTo>
                  <a:lnTo>
                    <a:pt x="460" y="51"/>
                  </a:lnTo>
                  <a:lnTo>
                    <a:pt x="460" y="48"/>
                  </a:lnTo>
                  <a:lnTo>
                    <a:pt x="457" y="48"/>
                  </a:lnTo>
                  <a:lnTo>
                    <a:pt x="457" y="45"/>
                  </a:lnTo>
                  <a:lnTo>
                    <a:pt x="460" y="45"/>
                  </a:lnTo>
                  <a:lnTo>
                    <a:pt x="463" y="42"/>
                  </a:lnTo>
                  <a:lnTo>
                    <a:pt x="466" y="42"/>
                  </a:lnTo>
                  <a:lnTo>
                    <a:pt x="466" y="39"/>
                  </a:lnTo>
                  <a:lnTo>
                    <a:pt x="466" y="36"/>
                  </a:lnTo>
                  <a:lnTo>
                    <a:pt x="466" y="33"/>
                  </a:lnTo>
                  <a:lnTo>
                    <a:pt x="463" y="33"/>
                  </a:lnTo>
                  <a:lnTo>
                    <a:pt x="460" y="30"/>
                  </a:lnTo>
                  <a:lnTo>
                    <a:pt x="463" y="27"/>
                  </a:lnTo>
                  <a:lnTo>
                    <a:pt x="466" y="27"/>
                  </a:lnTo>
                  <a:lnTo>
                    <a:pt x="469" y="27"/>
                  </a:lnTo>
                  <a:lnTo>
                    <a:pt x="472" y="24"/>
                  </a:lnTo>
                  <a:lnTo>
                    <a:pt x="472" y="21"/>
                  </a:lnTo>
                  <a:lnTo>
                    <a:pt x="475" y="21"/>
                  </a:lnTo>
                  <a:lnTo>
                    <a:pt x="475" y="18"/>
                  </a:lnTo>
                  <a:lnTo>
                    <a:pt x="478" y="18"/>
                  </a:lnTo>
                  <a:lnTo>
                    <a:pt x="478" y="15"/>
                  </a:lnTo>
                  <a:lnTo>
                    <a:pt x="481" y="18"/>
                  </a:lnTo>
                  <a:lnTo>
                    <a:pt x="484" y="18"/>
                  </a:lnTo>
                  <a:lnTo>
                    <a:pt x="484" y="15"/>
                  </a:lnTo>
                  <a:lnTo>
                    <a:pt x="487" y="15"/>
                  </a:lnTo>
                  <a:lnTo>
                    <a:pt x="490" y="15"/>
                  </a:lnTo>
                  <a:lnTo>
                    <a:pt x="496" y="15"/>
                  </a:lnTo>
                  <a:lnTo>
                    <a:pt x="499" y="15"/>
                  </a:lnTo>
                  <a:lnTo>
                    <a:pt x="502" y="15"/>
                  </a:lnTo>
                  <a:lnTo>
                    <a:pt x="505" y="12"/>
                  </a:lnTo>
                  <a:lnTo>
                    <a:pt x="508" y="12"/>
                  </a:lnTo>
                  <a:lnTo>
                    <a:pt x="511" y="12"/>
                  </a:lnTo>
                  <a:lnTo>
                    <a:pt x="514" y="12"/>
                  </a:lnTo>
                  <a:lnTo>
                    <a:pt x="517" y="12"/>
                  </a:lnTo>
                  <a:lnTo>
                    <a:pt x="517" y="9"/>
                  </a:lnTo>
                  <a:lnTo>
                    <a:pt x="520" y="9"/>
                  </a:lnTo>
                  <a:lnTo>
                    <a:pt x="523" y="6"/>
                  </a:lnTo>
                  <a:lnTo>
                    <a:pt x="526" y="6"/>
                  </a:lnTo>
                  <a:lnTo>
                    <a:pt x="526" y="3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>
                <a:solidFill>
                  <a:schemeClr val="bg1"/>
                </a:solidFill>
              </a:endParaRPr>
            </a:p>
          </p:txBody>
        </p:sp>
        <p:sp>
          <p:nvSpPr>
            <p:cNvPr id="155" name="Freeform 40">
              <a:extLst>
                <a:ext uri="{FF2B5EF4-FFF2-40B4-BE49-F238E27FC236}">
                  <a16:creationId xmlns:a16="http://schemas.microsoft.com/office/drawing/2014/main" id="{CB7B1CB7-55E4-4B09-BA19-75F2BEC95B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60688" y="3727450"/>
              <a:ext cx="1069975" cy="869950"/>
            </a:xfrm>
            <a:custGeom>
              <a:avLst/>
              <a:gdLst>
                <a:gd name="T0" fmla="*/ 70807 w 544"/>
                <a:gd name="T1" fmla="*/ 82665 h 442"/>
                <a:gd name="T2" fmla="*/ 147515 w 544"/>
                <a:gd name="T3" fmla="*/ 17714 h 442"/>
                <a:gd name="T4" fmla="*/ 188819 w 544"/>
                <a:gd name="T5" fmla="*/ 112188 h 442"/>
                <a:gd name="T6" fmla="*/ 212422 w 544"/>
                <a:gd name="T7" fmla="*/ 200758 h 442"/>
                <a:gd name="T8" fmla="*/ 218322 w 544"/>
                <a:gd name="T9" fmla="*/ 259804 h 442"/>
                <a:gd name="T10" fmla="*/ 253726 w 544"/>
                <a:gd name="T11" fmla="*/ 277518 h 442"/>
                <a:gd name="T12" fmla="*/ 289129 w 544"/>
                <a:gd name="T13" fmla="*/ 330660 h 442"/>
                <a:gd name="T14" fmla="*/ 289129 w 544"/>
                <a:gd name="T15" fmla="*/ 403484 h 442"/>
                <a:gd name="T16" fmla="*/ 336334 w 544"/>
                <a:gd name="T17" fmla="*/ 385770 h 442"/>
                <a:gd name="T18" fmla="*/ 413042 w 544"/>
                <a:gd name="T19" fmla="*/ 368056 h 442"/>
                <a:gd name="T20" fmla="*/ 418942 w 544"/>
                <a:gd name="T21" fmla="*/ 462530 h 442"/>
                <a:gd name="T22" fmla="*/ 501551 w 544"/>
                <a:gd name="T23" fmla="*/ 480244 h 442"/>
                <a:gd name="T24" fmla="*/ 560557 w 544"/>
                <a:gd name="T25" fmla="*/ 433007 h 442"/>
                <a:gd name="T26" fmla="*/ 625463 w 544"/>
                <a:gd name="T27" fmla="*/ 373960 h 442"/>
                <a:gd name="T28" fmla="*/ 684469 w 544"/>
                <a:gd name="T29" fmla="*/ 356246 h 442"/>
                <a:gd name="T30" fmla="*/ 713972 w 544"/>
                <a:gd name="T31" fmla="*/ 307041 h 442"/>
                <a:gd name="T32" fmla="*/ 737575 w 544"/>
                <a:gd name="T33" fmla="*/ 259804 h 442"/>
                <a:gd name="T34" fmla="*/ 820183 w 544"/>
                <a:gd name="T35" fmla="*/ 265709 h 442"/>
                <a:gd name="T36" fmla="*/ 885090 w 544"/>
                <a:gd name="T37" fmla="*/ 301137 h 442"/>
                <a:gd name="T38" fmla="*/ 955897 w 544"/>
                <a:gd name="T39" fmla="*/ 247995 h 442"/>
                <a:gd name="T40" fmla="*/ 1014903 w 544"/>
                <a:gd name="T41" fmla="*/ 271613 h 442"/>
                <a:gd name="T42" fmla="*/ 1052273 w 544"/>
                <a:gd name="T43" fmla="*/ 283423 h 442"/>
                <a:gd name="T44" fmla="*/ 1052273 w 544"/>
                <a:gd name="T45" fmla="*/ 312946 h 442"/>
                <a:gd name="T46" fmla="*/ 1014903 w 544"/>
                <a:gd name="T47" fmla="*/ 356246 h 442"/>
                <a:gd name="T48" fmla="*/ 938195 w 544"/>
                <a:gd name="T49" fmla="*/ 368056 h 442"/>
                <a:gd name="T50" fmla="*/ 920493 w 544"/>
                <a:gd name="T51" fmla="*/ 444816 h 442"/>
                <a:gd name="T52" fmla="*/ 855587 w 544"/>
                <a:gd name="T53" fmla="*/ 492053 h 442"/>
                <a:gd name="T54" fmla="*/ 837885 w 544"/>
                <a:gd name="T55" fmla="*/ 586527 h 442"/>
                <a:gd name="T56" fmla="*/ 944096 w 544"/>
                <a:gd name="T57" fmla="*/ 592432 h 442"/>
                <a:gd name="T58" fmla="*/ 938195 w 544"/>
                <a:gd name="T59" fmla="*/ 645574 h 442"/>
                <a:gd name="T60" fmla="*/ 979499 w 544"/>
                <a:gd name="T61" fmla="*/ 681002 h 442"/>
                <a:gd name="T62" fmla="*/ 926394 w 544"/>
                <a:gd name="T63" fmla="*/ 716429 h 442"/>
                <a:gd name="T64" fmla="*/ 879189 w 544"/>
                <a:gd name="T65" fmla="*/ 710525 h 442"/>
                <a:gd name="T66" fmla="*/ 843785 w 544"/>
                <a:gd name="T67" fmla="*/ 710525 h 442"/>
                <a:gd name="T68" fmla="*/ 784779 w 544"/>
                <a:gd name="T69" fmla="*/ 710525 h 442"/>
                <a:gd name="T70" fmla="*/ 719873 w 544"/>
                <a:gd name="T71" fmla="*/ 728239 h 442"/>
                <a:gd name="T72" fmla="*/ 690370 w 544"/>
                <a:gd name="T73" fmla="*/ 763667 h 442"/>
                <a:gd name="T74" fmla="*/ 613662 w 544"/>
                <a:gd name="T75" fmla="*/ 775476 h 442"/>
                <a:gd name="T76" fmla="*/ 542855 w 544"/>
                <a:gd name="T77" fmla="*/ 775476 h 442"/>
                <a:gd name="T78" fmla="*/ 477948 w 544"/>
                <a:gd name="T79" fmla="*/ 793190 h 442"/>
                <a:gd name="T80" fmla="*/ 407141 w 544"/>
                <a:gd name="T81" fmla="*/ 834522 h 442"/>
                <a:gd name="T82" fmla="*/ 359936 w 544"/>
                <a:gd name="T83" fmla="*/ 864045 h 442"/>
                <a:gd name="T84" fmla="*/ 300930 w 544"/>
                <a:gd name="T85" fmla="*/ 840427 h 442"/>
                <a:gd name="T86" fmla="*/ 259626 w 544"/>
                <a:gd name="T87" fmla="*/ 822713 h 442"/>
                <a:gd name="T88" fmla="*/ 236024 w 544"/>
                <a:gd name="T89" fmla="*/ 787285 h 442"/>
                <a:gd name="T90" fmla="*/ 177018 w 544"/>
                <a:gd name="T91" fmla="*/ 781380 h 442"/>
                <a:gd name="T92" fmla="*/ 165217 w 544"/>
                <a:gd name="T93" fmla="*/ 716429 h 442"/>
                <a:gd name="T94" fmla="*/ 118012 w 544"/>
                <a:gd name="T95" fmla="*/ 745953 h 442"/>
                <a:gd name="T96" fmla="*/ 106211 w 544"/>
                <a:gd name="T97" fmla="*/ 745953 h 442"/>
                <a:gd name="T98" fmla="*/ 94410 w 544"/>
                <a:gd name="T99" fmla="*/ 704620 h 442"/>
                <a:gd name="T100" fmla="*/ 118012 w 544"/>
                <a:gd name="T101" fmla="*/ 663288 h 442"/>
                <a:gd name="T102" fmla="*/ 94410 w 544"/>
                <a:gd name="T103" fmla="*/ 610146 h 442"/>
                <a:gd name="T104" fmla="*/ 59006 w 544"/>
                <a:gd name="T105" fmla="*/ 551100 h 442"/>
                <a:gd name="T106" fmla="*/ 47205 w 544"/>
                <a:gd name="T107" fmla="*/ 521576 h 442"/>
                <a:gd name="T108" fmla="*/ 47205 w 544"/>
                <a:gd name="T109" fmla="*/ 521576 h 442"/>
                <a:gd name="T110" fmla="*/ 29503 w 544"/>
                <a:gd name="T111" fmla="*/ 503862 h 442"/>
                <a:gd name="T112" fmla="*/ 23602 w 544"/>
                <a:gd name="T113" fmla="*/ 456625 h 442"/>
                <a:gd name="T114" fmla="*/ 64907 w 544"/>
                <a:gd name="T115" fmla="*/ 456625 h 442"/>
                <a:gd name="T116" fmla="*/ 94410 w 544"/>
                <a:gd name="T117" fmla="*/ 373960 h 442"/>
                <a:gd name="T118" fmla="*/ 88509 w 544"/>
                <a:gd name="T119" fmla="*/ 307041 h 442"/>
                <a:gd name="T120" fmla="*/ 70807 w 544"/>
                <a:gd name="T121" fmla="*/ 242090 h 442"/>
                <a:gd name="T122" fmla="*/ 29503 w 544"/>
                <a:gd name="T123" fmla="*/ 188948 h 4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44" h="442">
                  <a:moveTo>
                    <a:pt x="6" y="75"/>
                  </a:moveTo>
                  <a:lnTo>
                    <a:pt x="6" y="66"/>
                  </a:lnTo>
                  <a:lnTo>
                    <a:pt x="12" y="60"/>
                  </a:lnTo>
                  <a:lnTo>
                    <a:pt x="15" y="57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5" y="51"/>
                  </a:lnTo>
                  <a:lnTo>
                    <a:pt x="15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1" y="39"/>
                  </a:lnTo>
                  <a:lnTo>
                    <a:pt x="21" y="36"/>
                  </a:lnTo>
                  <a:lnTo>
                    <a:pt x="27" y="36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9" y="39"/>
                  </a:lnTo>
                  <a:lnTo>
                    <a:pt x="42" y="39"/>
                  </a:lnTo>
                  <a:lnTo>
                    <a:pt x="45" y="36"/>
                  </a:lnTo>
                  <a:lnTo>
                    <a:pt x="48" y="33"/>
                  </a:lnTo>
                  <a:lnTo>
                    <a:pt x="51" y="24"/>
                  </a:lnTo>
                  <a:lnTo>
                    <a:pt x="51" y="18"/>
                  </a:lnTo>
                  <a:lnTo>
                    <a:pt x="57" y="12"/>
                  </a:lnTo>
                  <a:lnTo>
                    <a:pt x="57" y="9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6"/>
                  </a:lnTo>
                  <a:lnTo>
                    <a:pt x="63" y="3"/>
                  </a:lnTo>
                  <a:lnTo>
                    <a:pt x="69" y="0"/>
                  </a:lnTo>
                  <a:lnTo>
                    <a:pt x="72" y="6"/>
                  </a:lnTo>
                  <a:lnTo>
                    <a:pt x="75" y="9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81" y="15"/>
                  </a:lnTo>
                  <a:lnTo>
                    <a:pt x="84" y="15"/>
                  </a:lnTo>
                  <a:lnTo>
                    <a:pt x="87" y="21"/>
                  </a:lnTo>
                  <a:lnTo>
                    <a:pt x="87" y="24"/>
                  </a:lnTo>
                  <a:lnTo>
                    <a:pt x="93" y="30"/>
                  </a:lnTo>
                  <a:lnTo>
                    <a:pt x="102" y="33"/>
                  </a:lnTo>
                  <a:lnTo>
                    <a:pt x="102" y="39"/>
                  </a:lnTo>
                  <a:lnTo>
                    <a:pt x="102" y="45"/>
                  </a:lnTo>
                  <a:lnTo>
                    <a:pt x="96" y="45"/>
                  </a:lnTo>
                  <a:lnTo>
                    <a:pt x="99" y="48"/>
                  </a:lnTo>
                  <a:lnTo>
                    <a:pt x="105" y="51"/>
                  </a:lnTo>
                  <a:lnTo>
                    <a:pt x="99" y="54"/>
                  </a:lnTo>
                  <a:lnTo>
                    <a:pt x="96" y="57"/>
                  </a:lnTo>
                  <a:lnTo>
                    <a:pt x="96" y="60"/>
                  </a:lnTo>
                  <a:lnTo>
                    <a:pt x="96" y="63"/>
                  </a:lnTo>
                  <a:lnTo>
                    <a:pt x="99" y="63"/>
                  </a:lnTo>
                  <a:lnTo>
                    <a:pt x="99" y="66"/>
                  </a:lnTo>
                  <a:lnTo>
                    <a:pt x="102" y="69"/>
                  </a:lnTo>
                  <a:lnTo>
                    <a:pt x="102" y="75"/>
                  </a:lnTo>
                  <a:lnTo>
                    <a:pt x="99" y="81"/>
                  </a:lnTo>
                  <a:lnTo>
                    <a:pt x="102" y="84"/>
                  </a:lnTo>
                  <a:lnTo>
                    <a:pt x="102" y="87"/>
                  </a:lnTo>
                  <a:lnTo>
                    <a:pt x="105" y="87"/>
                  </a:lnTo>
                  <a:lnTo>
                    <a:pt x="102" y="93"/>
                  </a:lnTo>
                  <a:lnTo>
                    <a:pt x="105" y="93"/>
                  </a:lnTo>
                  <a:lnTo>
                    <a:pt x="108" y="96"/>
                  </a:lnTo>
                  <a:lnTo>
                    <a:pt x="108" y="99"/>
                  </a:lnTo>
                  <a:lnTo>
                    <a:pt x="108" y="102"/>
                  </a:lnTo>
                  <a:lnTo>
                    <a:pt x="108" y="105"/>
                  </a:lnTo>
                  <a:lnTo>
                    <a:pt x="105" y="108"/>
                  </a:lnTo>
                  <a:lnTo>
                    <a:pt x="108" y="108"/>
                  </a:lnTo>
                  <a:lnTo>
                    <a:pt x="111" y="108"/>
                  </a:lnTo>
                  <a:lnTo>
                    <a:pt x="111" y="111"/>
                  </a:lnTo>
                  <a:lnTo>
                    <a:pt x="108" y="114"/>
                  </a:lnTo>
                  <a:lnTo>
                    <a:pt x="111" y="114"/>
                  </a:lnTo>
                  <a:lnTo>
                    <a:pt x="114" y="117"/>
                  </a:lnTo>
                  <a:lnTo>
                    <a:pt x="111" y="117"/>
                  </a:lnTo>
                  <a:lnTo>
                    <a:pt x="111" y="120"/>
                  </a:lnTo>
                  <a:lnTo>
                    <a:pt x="111" y="123"/>
                  </a:lnTo>
                  <a:lnTo>
                    <a:pt x="111" y="126"/>
                  </a:lnTo>
                  <a:lnTo>
                    <a:pt x="111" y="129"/>
                  </a:lnTo>
                  <a:lnTo>
                    <a:pt x="114" y="132"/>
                  </a:lnTo>
                  <a:lnTo>
                    <a:pt x="111" y="132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08" y="138"/>
                  </a:lnTo>
                  <a:lnTo>
                    <a:pt x="108" y="141"/>
                  </a:lnTo>
                  <a:lnTo>
                    <a:pt x="108" y="144"/>
                  </a:lnTo>
                  <a:lnTo>
                    <a:pt x="111" y="144"/>
                  </a:lnTo>
                  <a:lnTo>
                    <a:pt x="114" y="144"/>
                  </a:lnTo>
                  <a:lnTo>
                    <a:pt x="114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20" y="147"/>
                  </a:lnTo>
                  <a:lnTo>
                    <a:pt x="123" y="147"/>
                  </a:lnTo>
                  <a:lnTo>
                    <a:pt x="123" y="150"/>
                  </a:lnTo>
                  <a:lnTo>
                    <a:pt x="129" y="144"/>
                  </a:lnTo>
                  <a:lnTo>
                    <a:pt x="129" y="141"/>
                  </a:lnTo>
                  <a:lnTo>
                    <a:pt x="129" y="147"/>
                  </a:lnTo>
                  <a:lnTo>
                    <a:pt x="126" y="153"/>
                  </a:lnTo>
                  <a:lnTo>
                    <a:pt x="129" y="153"/>
                  </a:lnTo>
                  <a:lnTo>
                    <a:pt x="132" y="153"/>
                  </a:lnTo>
                  <a:lnTo>
                    <a:pt x="132" y="156"/>
                  </a:lnTo>
                  <a:lnTo>
                    <a:pt x="135" y="159"/>
                  </a:lnTo>
                  <a:lnTo>
                    <a:pt x="138" y="159"/>
                  </a:lnTo>
                  <a:lnTo>
                    <a:pt x="138" y="156"/>
                  </a:lnTo>
                  <a:lnTo>
                    <a:pt x="141" y="159"/>
                  </a:lnTo>
                  <a:lnTo>
                    <a:pt x="144" y="162"/>
                  </a:lnTo>
                  <a:lnTo>
                    <a:pt x="147" y="162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7" y="165"/>
                  </a:lnTo>
                  <a:lnTo>
                    <a:pt x="147" y="168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5"/>
                  </a:lnTo>
                  <a:lnTo>
                    <a:pt x="147" y="178"/>
                  </a:lnTo>
                  <a:lnTo>
                    <a:pt x="147" y="181"/>
                  </a:lnTo>
                  <a:lnTo>
                    <a:pt x="138" y="184"/>
                  </a:lnTo>
                  <a:lnTo>
                    <a:pt x="141" y="190"/>
                  </a:lnTo>
                  <a:lnTo>
                    <a:pt x="141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9"/>
                  </a:lnTo>
                  <a:lnTo>
                    <a:pt x="147" y="202"/>
                  </a:lnTo>
                  <a:lnTo>
                    <a:pt x="147" y="205"/>
                  </a:lnTo>
                  <a:lnTo>
                    <a:pt x="147" y="211"/>
                  </a:lnTo>
                  <a:lnTo>
                    <a:pt x="147" y="217"/>
                  </a:lnTo>
                  <a:lnTo>
                    <a:pt x="150" y="223"/>
                  </a:lnTo>
                  <a:lnTo>
                    <a:pt x="153" y="220"/>
                  </a:lnTo>
                  <a:lnTo>
                    <a:pt x="156" y="220"/>
                  </a:lnTo>
                  <a:lnTo>
                    <a:pt x="156" y="211"/>
                  </a:lnTo>
                  <a:lnTo>
                    <a:pt x="159" y="205"/>
                  </a:lnTo>
                  <a:lnTo>
                    <a:pt x="156" y="202"/>
                  </a:lnTo>
                  <a:lnTo>
                    <a:pt x="159" y="199"/>
                  </a:lnTo>
                  <a:lnTo>
                    <a:pt x="162" y="202"/>
                  </a:lnTo>
                  <a:lnTo>
                    <a:pt x="165" y="199"/>
                  </a:lnTo>
                  <a:lnTo>
                    <a:pt x="165" y="196"/>
                  </a:lnTo>
                  <a:lnTo>
                    <a:pt x="168" y="193"/>
                  </a:lnTo>
                  <a:lnTo>
                    <a:pt x="168" y="196"/>
                  </a:lnTo>
                  <a:lnTo>
                    <a:pt x="171" y="196"/>
                  </a:lnTo>
                  <a:lnTo>
                    <a:pt x="174" y="193"/>
                  </a:lnTo>
                  <a:lnTo>
                    <a:pt x="177" y="193"/>
                  </a:lnTo>
                  <a:lnTo>
                    <a:pt x="183" y="193"/>
                  </a:lnTo>
                  <a:lnTo>
                    <a:pt x="186" y="190"/>
                  </a:lnTo>
                  <a:lnTo>
                    <a:pt x="189" y="190"/>
                  </a:lnTo>
                  <a:lnTo>
                    <a:pt x="192" y="187"/>
                  </a:lnTo>
                  <a:lnTo>
                    <a:pt x="192" y="184"/>
                  </a:lnTo>
                  <a:lnTo>
                    <a:pt x="195" y="181"/>
                  </a:lnTo>
                  <a:lnTo>
                    <a:pt x="198" y="181"/>
                  </a:lnTo>
                  <a:lnTo>
                    <a:pt x="198" y="178"/>
                  </a:lnTo>
                  <a:lnTo>
                    <a:pt x="201" y="175"/>
                  </a:lnTo>
                  <a:lnTo>
                    <a:pt x="204" y="175"/>
                  </a:lnTo>
                  <a:lnTo>
                    <a:pt x="207" y="178"/>
                  </a:lnTo>
                  <a:lnTo>
                    <a:pt x="210" y="178"/>
                  </a:lnTo>
                  <a:lnTo>
                    <a:pt x="210" y="187"/>
                  </a:lnTo>
                  <a:lnTo>
                    <a:pt x="207" y="187"/>
                  </a:lnTo>
                  <a:lnTo>
                    <a:pt x="204" y="190"/>
                  </a:lnTo>
                  <a:lnTo>
                    <a:pt x="204" y="193"/>
                  </a:lnTo>
                  <a:lnTo>
                    <a:pt x="201" y="199"/>
                  </a:lnTo>
                  <a:lnTo>
                    <a:pt x="195" y="196"/>
                  </a:lnTo>
                  <a:lnTo>
                    <a:pt x="198" y="205"/>
                  </a:lnTo>
                  <a:lnTo>
                    <a:pt x="198" y="211"/>
                  </a:lnTo>
                  <a:lnTo>
                    <a:pt x="198" y="214"/>
                  </a:lnTo>
                  <a:lnTo>
                    <a:pt x="201" y="217"/>
                  </a:lnTo>
                  <a:lnTo>
                    <a:pt x="201" y="220"/>
                  </a:lnTo>
                  <a:lnTo>
                    <a:pt x="204" y="223"/>
                  </a:lnTo>
                  <a:lnTo>
                    <a:pt x="204" y="232"/>
                  </a:lnTo>
                  <a:lnTo>
                    <a:pt x="207" y="235"/>
                  </a:lnTo>
                  <a:lnTo>
                    <a:pt x="210" y="235"/>
                  </a:lnTo>
                  <a:lnTo>
                    <a:pt x="213" y="235"/>
                  </a:lnTo>
                  <a:lnTo>
                    <a:pt x="219" y="241"/>
                  </a:lnTo>
                  <a:lnTo>
                    <a:pt x="219" y="244"/>
                  </a:lnTo>
                  <a:lnTo>
                    <a:pt x="219" y="247"/>
                  </a:lnTo>
                  <a:lnTo>
                    <a:pt x="222" y="247"/>
                  </a:lnTo>
                  <a:lnTo>
                    <a:pt x="225" y="250"/>
                  </a:lnTo>
                  <a:lnTo>
                    <a:pt x="231" y="250"/>
                  </a:lnTo>
                  <a:lnTo>
                    <a:pt x="231" y="247"/>
                  </a:lnTo>
                  <a:lnTo>
                    <a:pt x="237" y="244"/>
                  </a:lnTo>
                  <a:lnTo>
                    <a:pt x="237" y="247"/>
                  </a:lnTo>
                  <a:lnTo>
                    <a:pt x="237" y="250"/>
                  </a:lnTo>
                  <a:lnTo>
                    <a:pt x="240" y="250"/>
                  </a:lnTo>
                  <a:lnTo>
                    <a:pt x="243" y="250"/>
                  </a:lnTo>
                  <a:lnTo>
                    <a:pt x="249" y="250"/>
                  </a:lnTo>
                  <a:lnTo>
                    <a:pt x="252" y="247"/>
                  </a:lnTo>
                  <a:lnTo>
                    <a:pt x="255" y="244"/>
                  </a:lnTo>
                  <a:lnTo>
                    <a:pt x="258" y="244"/>
                  </a:lnTo>
                  <a:lnTo>
                    <a:pt x="258" y="241"/>
                  </a:lnTo>
                  <a:lnTo>
                    <a:pt x="258" y="238"/>
                  </a:lnTo>
                  <a:lnTo>
                    <a:pt x="258" y="235"/>
                  </a:lnTo>
                  <a:lnTo>
                    <a:pt x="258" y="232"/>
                  </a:lnTo>
                  <a:lnTo>
                    <a:pt x="255" y="229"/>
                  </a:lnTo>
                  <a:lnTo>
                    <a:pt x="255" y="226"/>
                  </a:lnTo>
                  <a:lnTo>
                    <a:pt x="258" y="226"/>
                  </a:lnTo>
                  <a:lnTo>
                    <a:pt x="261" y="223"/>
                  </a:lnTo>
                  <a:lnTo>
                    <a:pt x="264" y="220"/>
                  </a:lnTo>
                  <a:lnTo>
                    <a:pt x="270" y="220"/>
                  </a:lnTo>
                  <a:lnTo>
                    <a:pt x="276" y="220"/>
                  </a:lnTo>
                  <a:lnTo>
                    <a:pt x="279" y="220"/>
                  </a:lnTo>
                  <a:lnTo>
                    <a:pt x="282" y="220"/>
                  </a:lnTo>
                  <a:lnTo>
                    <a:pt x="285" y="220"/>
                  </a:lnTo>
                  <a:lnTo>
                    <a:pt x="285" y="214"/>
                  </a:lnTo>
                  <a:lnTo>
                    <a:pt x="288" y="208"/>
                  </a:lnTo>
                  <a:lnTo>
                    <a:pt x="288" y="205"/>
                  </a:lnTo>
                  <a:lnTo>
                    <a:pt x="291" y="202"/>
                  </a:lnTo>
                  <a:lnTo>
                    <a:pt x="294" y="202"/>
                  </a:lnTo>
                  <a:lnTo>
                    <a:pt x="297" y="199"/>
                  </a:lnTo>
                  <a:lnTo>
                    <a:pt x="297" y="196"/>
                  </a:lnTo>
                  <a:lnTo>
                    <a:pt x="297" y="193"/>
                  </a:lnTo>
                  <a:lnTo>
                    <a:pt x="303" y="196"/>
                  </a:lnTo>
                  <a:lnTo>
                    <a:pt x="306" y="193"/>
                  </a:lnTo>
                  <a:lnTo>
                    <a:pt x="309" y="193"/>
                  </a:lnTo>
                  <a:lnTo>
                    <a:pt x="309" y="190"/>
                  </a:lnTo>
                  <a:lnTo>
                    <a:pt x="312" y="190"/>
                  </a:lnTo>
                  <a:lnTo>
                    <a:pt x="315" y="190"/>
                  </a:lnTo>
                  <a:lnTo>
                    <a:pt x="318" y="190"/>
                  </a:lnTo>
                  <a:lnTo>
                    <a:pt x="321" y="187"/>
                  </a:lnTo>
                  <a:lnTo>
                    <a:pt x="318" y="184"/>
                  </a:lnTo>
                  <a:lnTo>
                    <a:pt x="318" y="181"/>
                  </a:lnTo>
                  <a:lnTo>
                    <a:pt x="318" y="178"/>
                  </a:lnTo>
                  <a:lnTo>
                    <a:pt x="321" y="178"/>
                  </a:lnTo>
                  <a:lnTo>
                    <a:pt x="324" y="178"/>
                  </a:lnTo>
                  <a:lnTo>
                    <a:pt x="327" y="178"/>
                  </a:lnTo>
                  <a:lnTo>
                    <a:pt x="330" y="181"/>
                  </a:lnTo>
                  <a:lnTo>
                    <a:pt x="333" y="178"/>
                  </a:lnTo>
                  <a:lnTo>
                    <a:pt x="336" y="178"/>
                  </a:lnTo>
                  <a:lnTo>
                    <a:pt x="336" y="181"/>
                  </a:lnTo>
                  <a:lnTo>
                    <a:pt x="339" y="181"/>
                  </a:lnTo>
                  <a:lnTo>
                    <a:pt x="345" y="184"/>
                  </a:lnTo>
                  <a:lnTo>
                    <a:pt x="348" y="184"/>
                  </a:lnTo>
                  <a:lnTo>
                    <a:pt x="348" y="181"/>
                  </a:lnTo>
                  <a:lnTo>
                    <a:pt x="348" y="178"/>
                  </a:lnTo>
                  <a:lnTo>
                    <a:pt x="348" y="175"/>
                  </a:lnTo>
                  <a:lnTo>
                    <a:pt x="345" y="175"/>
                  </a:lnTo>
                  <a:lnTo>
                    <a:pt x="345" y="171"/>
                  </a:lnTo>
                  <a:lnTo>
                    <a:pt x="351" y="175"/>
                  </a:lnTo>
                  <a:lnTo>
                    <a:pt x="354" y="178"/>
                  </a:lnTo>
                  <a:lnTo>
                    <a:pt x="357" y="175"/>
                  </a:lnTo>
                  <a:lnTo>
                    <a:pt x="357" y="171"/>
                  </a:lnTo>
                  <a:lnTo>
                    <a:pt x="357" y="168"/>
                  </a:lnTo>
                  <a:lnTo>
                    <a:pt x="363" y="165"/>
                  </a:lnTo>
                  <a:lnTo>
                    <a:pt x="363" y="171"/>
                  </a:lnTo>
                  <a:lnTo>
                    <a:pt x="366" y="162"/>
                  </a:lnTo>
                  <a:lnTo>
                    <a:pt x="369" y="162"/>
                  </a:lnTo>
                  <a:lnTo>
                    <a:pt x="366" y="159"/>
                  </a:lnTo>
                  <a:lnTo>
                    <a:pt x="363" y="156"/>
                  </a:lnTo>
                  <a:lnTo>
                    <a:pt x="366" y="156"/>
                  </a:lnTo>
                  <a:lnTo>
                    <a:pt x="363" y="153"/>
                  </a:lnTo>
                  <a:lnTo>
                    <a:pt x="363" y="150"/>
                  </a:lnTo>
                  <a:lnTo>
                    <a:pt x="366" y="147"/>
                  </a:lnTo>
                  <a:lnTo>
                    <a:pt x="366" y="144"/>
                  </a:lnTo>
                  <a:lnTo>
                    <a:pt x="363" y="144"/>
                  </a:lnTo>
                  <a:lnTo>
                    <a:pt x="363" y="141"/>
                  </a:lnTo>
                  <a:lnTo>
                    <a:pt x="366" y="141"/>
                  </a:lnTo>
                  <a:lnTo>
                    <a:pt x="369" y="144"/>
                  </a:lnTo>
                  <a:lnTo>
                    <a:pt x="372" y="144"/>
                  </a:lnTo>
                  <a:lnTo>
                    <a:pt x="372" y="141"/>
                  </a:lnTo>
                  <a:lnTo>
                    <a:pt x="372" y="138"/>
                  </a:lnTo>
                  <a:lnTo>
                    <a:pt x="369" y="135"/>
                  </a:lnTo>
                  <a:lnTo>
                    <a:pt x="375" y="135"/>
                  </a:lnTo>
                  <a:lnTo>
                    <a:pt x="375" y="132"/>
                  </a:lnTo>
                  <a:lnTo>
                    <a:pt x="378" y="126"/>
                  </a:lnTo>
                  <a:lnTo>
                    <a:pt x="378" y="123"/>
                  </a:lnTo>
                  <a:lnTo>
                    <a:pt x="378" y="120"/>
                  </a:lnTo>
                  <a:lnTo>
                    <a:pt x="381" y="114"/>
                  </a:lnTo>
                  <a:lnTo>
                    <a:pt x="384" y="114"/>
                  </a:lnTo>
                  <a:lnTo>
                    <a:pt x="393" y="120"/>
                  </a:lnTo>
                  <a:lnTo>
                    <a:pt x="399" y="123"/>
                  </a:lnTo>
                  <a:lnTo>
                    <a:pt x="405" y="123"/>
                  </a:lnTo>
                  <a:lnTo>
                    <a:pt x="405" y="126"/>
                  </a:lnTo>
                  <a:lnTo>
                    <a:pt x="408" y="129"/>
                  </a:lnTo>
                  <a:lnTo>
                    <a:pt x="405" y="135"/>
                  </a:lnTo>
                  <a:lnTo>
                    <a:pt x="408" y="138"/>
                  </a:lnTo>
                  <a:lnTo>
                    <a:pt x="411" y="138"/>
                  </a:lnTo>
                  <a:lnTo>
                    <a:pt x="414" y="138"/>
                  </a:lnTo>
                  <a:lnTo>
                    <a:pt x="417" y="135"/>
                  </a:lnTo>
                  <a:lnTo>
                    <a:pt x="420" y="138"/>
                  </a:lnTo>
                  <a:lnTo>
                    <a:pt x="423" y="141"/>
                  </a:lnTo>
                  <a:lnTo>
                    <a:pt x="426" y="138"/>
                  </a:lnTo>
                  <a:lnTo>
                    <a:pt x="429" y="138"/>
                  </a:lnTo>
                  <a:lnTo>
                    <a:pt x="429" y="141"/>
                  </a:lnTo>
                  <a:lnTo>
                    <a:pt x="432" y="144"/>
                  </a:lnTo>
                  <a:lnTo>
                    <a:pt x="435" y="141"/>
                  </a:lnTo>
                  <a:lnTo>
                    <a:pt x="438" y="141"/>
                  </a:lnTo>
                  <a:lnTo>
                    <a:pt x="444" y="144"/>
                  </a:lnTo>
                  <a:lnTo>
                    <a:pt x="447" y="144"/>
                  </a:lnTo>
                  <a:lnTo>
                    <a:pt x="444" y="147"/>
                  </a:lnTo>
                  <a:lnTo>
                    <a:pt x="444" y="150"/>
                  </a:lnTo>
                  <a:lnTo>
                    <a:pt x="447" y="150"/>
                  </a:lnTo>
                  <a:lnTo>
                    <a:pt x="447" y="153"/>
                  </a:lnTo>
                  <a:lnTo>
                    <a:pt x="450" y="153"/>
                  </a:lnTo>
                  <a:lnTo>
                    <a:pt x="450" y="150"/>
                  </a:lnTo>
                  <a:lnTo>
                    <a:pt x="453" y="150"/>
                  </a:lnTo>
                  <a:lnTo>
                    <a:pt x="456" y="147"/>
                  </a:lnTo>
                  <a:lnTo>
                    <a:pt x="459" y="144"/>
                  </a:lnTo>
                  <a:lnTo>
                    <a:pt x="459" y="141"/>
                  </a:lnTo>
                  <a:lnTo>
                    <a:pt x="462" y="138"/>
                  </a:lnTo>
                  <a:lnTo>
                    <a:pt x="462" y="135"/>
                  </a:lnTo>
                  <a:lnTo>
                    <a:pt x="462" y="132"/>
                  </a:lnTo>
                  <a:lnTo>
                    <a:pt x="465" y="129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74" y="123"/>
                  </a:lnTo>
                  <a:lnTo>
                    <a:pt x="477" y="123"/>
                  </a:lnTo>
                  <a:lnTo>
                    <a:pt x="483" y="126"/>
                  </a:lnTo>
                  <a:lnTo>
                    <a:pt x="486" y="126"/>
                  </a:lnTo>
                  <a:lnTo>
                    <a:pt x="489" y="126"/>
                  </a:lnTo>
                  <a:lnTo>
                    <a:pt x="489" y="123"/>
                  </a:lnTo>
                  <a:lnTo>
                    <a:pt x="492" y="120"/>
                  </a:lnTo>
                  <a:lnTo>
                    <a:pt x="495" y="123"/>
                  </a:lnTo>
                  <a:lnTo>
                    <a:pt x="498" y="120"/>
                  </a:lnTo>
                  <a:lnTo>
                    <a:pt x="501" y="120"/>
                  </a:lnTo>
                  <a:lnTo>
                    <a:pt x="504" y="126"/>
                  </a:lnTo>
                  <a:lnTo>
                    <a:pt x="507" y="126"/>
                  </a:lnTo>
                  <a:lnTo>
                    <a:pt x="510" y="126"/>
                  </a:lnTo>
                  <a:lnTo>
                    <a:pt x="513" y="129"/>
                  </a:lnTo>
                  <a:lnTo>
                    <a:pt x="507" y="132"/>
                  </a:lnTo>
                  <a:lnTo>
                    <a:pt x="510" y="132"/>
                  </a:lnTo>
                  <a:lnTo>
                    <a:pt x="510" y="135"/>
                  </a:lnTo>
                  <a:lnTo>
                    <a:pt x="513" y="138"/>
                  </a:lnTo>
                  <a:lnTo>
                    <a:pt x="516" y="138"/>
                  </a:lnTo>
                  <a:lnTo>
                    <a:pt x="516" y="135"/>
                  </a:lnTo>
                  <a:lnTo>
                    <a:pt x="519" y="132"/>
                  </a:lnTo>
                  <a:lnTo>
                    <a:pt x="522" y="126"/>
                  </a:lnTo>
                  <a:lnTo>
                    <a:pt x="525" y="126"/>
                  </a:lnTo>
                  <a:lnTo>
                    <a:pt x="528" y="126"/>
                  </a:lnTo>
                  <a:lnTo>
                    <a:pt x="528" y="129"/>
                  </a:lnTo>
                  <a:lnTo>
                    <a:pt x="528" y="132"/>
                  </a:lnTo>
                  <a:lnTo>
                    <a:pt x="531" y="135"/>
                  </a:lnTo>
                  <a:lnTo>
                    <a:pt x="535" y="135"/>
                  </a:lnTo>
                  <a:lnTo>
                    <a:pt x="538" y="135"/>
                  </a:lnTo>
                  <a:lnTo>
                    <a:pt x="541" y="138"/>
                  </a:lnTo>
                  <a:lnTo>
                    <a:pt x="538" y="138"/>
                  </a:lnTo>
                  <a:lnTo>
                    <a:pt x="538" y="141"/>
                  </a:lnTo>
                  <a:lnTo>
                    <a:pt x="535" y="141"/>
                  </a:lnTo>
                  <a:lnTo>
                    <a:pt x="535" y="144"/>
                  </a:lnTo>
                  <a:lnTo>
                    <a:pt x="535" y="147"/>
                  </a:lnTo>
                  <a:lnTo>
                    <a:pt x="538" y="147"/>
                  </a:lnTo>
                  <a:lnTo>
                    <a:pt x="538" y="144"/>
                  </a:lnTo>
                  <a:lnTo>
                    <a:pt x="538" y="147"/>
                  </a:lnTo>
                  <a:lnTo>
                    <a:pt x="541" y="147"/>
                  </a:lnTo>
                  <a:lnTo>
                    <a:pt x="541" y="150"/>
                  </a:lnTo>
                  <a:lnTo>
                    <a:pt x="544" y="150"/>
                  </a:lnTo>
                  <a:lnTo>
                    <a:pt x="541" y="153"/>
                  </a:lnTo>
                  <a:lnTo>
                    <a:pt x="541" y="156"/>
                  </a:lnTo>
                  <a:lnTo>
                    <a:pt x="538" y="156"/>
                  </a:lnTo>
                  <a:lnTo>
                    <a:pt x="538" y="159"/>
                  </a:lnTo>
                  <a:lnTo>
                    <a:pt x="535" y="159"/>
                  </a:lnTo>
                  <a:lnTo>
                    <a:pt x="538" y="162"/>
                  </a:lnTo>
                  <a:lnTo>
                    <a:pt x="535" y="162"/>
                  </a:lnTo>
                  <a:lnTo>
                    <a:pt x="535" y="159"/>
                  </a:lnTo>
                  <a:lnTo>
                    <a:pt x="535" y="162"/>
                  </a:lnTo>
                  <a:lnTo>
                    <a:pt x="535" y="165"/>
                  </a:lnTo>
                  <a:lnTo>
                    <a:pt x="538" y="165"/>
                  </a:lnTo>
                  <a:lnTo>
                    <a:pt x="538" y="168"/>
                  </a:lnTo>
                  <a:lnTo>
                    <a:pt x="535" y="168"/>
                  </a:lnTo>
                  <a:lnTo>
                    <a:pt x="535" y="171"/>
                  </a:lnTo>
                  <a:lnTo>
                    <a:pt x="531" y="171"/>
                  </a:lnTo>
                  <a:lnTo>
                    <a:pt x="528" y="171"/>
                  </a:lnTo>
                  <a:lnTo>
                    <a:pt x="528" y="175"/>
                  </a:lnTo>
                  <a:lnTo>
                    <a:pt x="525" y="175"/>
                  </a:lnTo>
                  <a:lnTo>
                    <a:pt x="522" y="175"/>
                  </a:lnTo>
                  <a:lnTo>
                    <a:pt x="522" y="178"/>
                  </a:lnTo>
                  <a:lnTo>
                    <a:pt x="519" y="178"/>
                  </a:lnTo>
                  <a:lnTo>
                    <a:pt x="519" y="181"/>
                  </a:lnTo>
                  <a:lnTo>
                    <a:pt x="516" y="181"/>
                  </a:lnTo>
                  <a:lnTo>
                    <a:pt x="513" y="181"/>
                  </a:lnTo>
                  <a:lnTo>
                    <a:pt x="510" y="181"/>
                  </a:lnTo>
                  <a:lnTo>
                    <a:pt x="510" y="178"/>
                  </a:lnTo>
                  <a:lnTo>
                    <a:pt x="507" y="175"/>
                  </a:lnTo>
                  <a:lnTo>
                    <a:pt x="504" y="175"/>
                  </a:lnTo>
                  <a:lnTo>
                    <a:pt x="501" y="178"/>
                  </a:lnTo>
                  <a:lnTo>
                    <a:pt x="498" y="178"/>
                  </a:lnTo>
                  <a:lnTo>
                    <a:pt x="498" y="181"/>
                  </a:lnTo>
                  <a:lnTo>
                    <a:pt x="495" y="187"/>
                  </a:lnTo>
                  <a:lnTo>
                    <a:pt x="498" y="190"/>
                  </a:lnTo>
                  <a:lnTo>
                    <a:pt x="495" y="190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3" y="190"/>
                  </a:lnTo>
                  <a:lnTo>
                    <a:pt x="477" y="187"/>
                  </a:lnTo>
                  <a:lnTo>
                    <a:pt x="477" y="193"/>
                  </a:lnTo>
                  <a:lnTo>
                    <a:pt x="474" y="196"/>
                  </a:lnTo>
                  <a:lnTo>
                    <a:pt x="471" y="193"/>
                  </a:lnTo>
                  <a:lnTo>
                    <a:pt x="468" y="190"/>
                  </a:lnTo>
                  <a:lnTo>
                    <a:pt x="465" y="196"/>
                  </a:lnTo>
                  <a:lnTo>
                    <a:pt x="462" y="196"/>
                  </a:lnTo>
                  <a:lnTo>
                    <a:pt x="459" y="199"/>
                  </a:lnTo>
                  <a:lnTo>
                    <a:pt x="462" y="202"/>
                  </a:lnTo>
                  <a:lnTo>
                    <a:pt x="462" y="208"/>
                  </a:lnTo>
                  <a:lnTo>
                    <a:pt x="465" y="211"/>
                  </a:lnTo>
                  <a:lnTo>
                    <a:pt x="465" y="217"/>
                  </a:lnTo>
                  <a:lnTo>
                    <a:pt x="465" y="220"/>
                  </a:lnTo>
                  <a:lnTo>
                    <a:pt x="465" y="223"/>
                  </a:lnTo>
                  <a:lnTo>
                    <a:pt x="462" y="223"/>
                  </a:lnTo>
                  <a:lnTo>
                    <a:pt x="468" y="226"/>
                  </a:lnTo>
                  <a:lnTo>
                    <a:pt x="471" y="229"/>
                  </a:lnTo>
                  <a:lnTo>
                    <a:pt x="471" y="232"/>
                  </a:lnTo>
                  <a:lnTo>
                    <a:pt x="474" y="232"/>
                  </a:lnTo>
                  <a:lnTo>
                    <a:pt x="471" y="238"/>
                  </a:lnTo>
                  <a:lnTo>
                    <a:pt x="465" y="238"/>
                  </a:lnTo>
                  <a:lnTo>
                    <a:pt x="462" y="235"/>
                  </a:lnTo>
                  <a:lnTo>
                    <a:pt x="456" y="235"/>
                  </a:lnTo>
                  <a:lnTo>
                    <a:pt x="453" y="238"/>
                  </a:lnTo>
                  <a:lnTo>
                    <a:pt x="450" y="238"/>
                  </a:lnTo>
                  <a:lnTo>
                    <a:pt x="447" y="235"/>
                  </a:lnTo>
                  <a:lnTo>
                    <a:pt x="450" y="238"/>
                  </a:lnTo>
                  <a:lnTo>
                    <a:pt x="450" y="241"/>
                  </a:lnTo>
                  <a:lnTo>
                    <a:pt x="450" y="244"/>
                  </a:lnTo>
                  <a:lnTo>
                    <a:pt x="441" y="244"/>
                  </a:lnTo>
                  <a:lnTo>
                    <a:pt x="435" y="250"/>
                  </a:lnTo>
                  <a:lnTo>
                    <a:pt x="438" y="256"/>
                  </a:lnTo>
                  <a:lnTo>
                    <a:pt x="435" y="256"/>
                  </a:lnTo>
                  <a:lnTo>
                    <a:pt x="435" y="259"/>
                  </a:lnTo>
                  <a:lnTo>
                    <a:pt x="438" y="259"/>
                  </a:lnTo>
                  <a:lnTo>
                    <a:pt x="438" y="262"/>
                  </a:lnTo>
                  <a:lnTo>
                    <a:pt x="432" y="271"/>
                  </a:lnTo>
                  <a:lnTo>
                    <a:pt x="429" y="274"/>
                  </a:lnTo>
                  <a:lnTo>
                    <a:pt x="426" y="277"/>
                  </a:lnTo>
                  <a:lnTo>
                    <a:pt x="426" y="283"/>
                  </a:lnTo>
                  <a:lnTo>
                    <a:pt x="423" y="286"/>
                  </a:lnTo>
                  <a:lnTo>
                    <a:pt x="420" y="289"/>
                  </a:lnTo>
                  <a:lnTo>
                    <a:pt x="420" y="292"/>
                  </a:lnTo>
                  <a:lnTo>
                    <a:pt x="417" y="295"/>
                  </a:lnTo>
                  <a:lnTo>
                    <a:pt x="423" y="298"/>
                  </a:lnTo>
                  <a:lnTo>
                    <a:pt x="426" y="298"/>
                  </a:lnTo>
                  <a:lnTo>
                    <a:pt x="429" y="298"/>
                  </a:lnTo>
                  <a:lnTo>
                    <a:pt x="435" y="298"/>
                  </a:lnTo>
                  <a:lnTo>
                    <a:pt x="438" y="298"/>
                  </a:lnTo>
                  <a:lnTo>
                    <a:pt x="441" y="298"/>
                  </a:lnTo>
                  <a:lnTo>
                    <a:pt x="447" y="295"/>
                  </a:lnTo>
                  <a:lnTo>
                    <a:pt x="450" y="295"/>
                  </a:lnTo>
                  <a:lnTo>
                    <a:pt x="453" y="295"/>
                  </a:lnTo>
                  <a:lnTo>
                    <a:pt x="456" y="295"/>
                  </a:lnTo>
                  <a:lnTo>
                    <a:pt x="465" y="295"/>
                  </a:lnTo>
                  <a:lnTo>
                    <a:pt x="468" y="295"/>
                  </a:lnTo>
                  <a:lnTo>
                    <a:pt x="468" y="298"/>
                  </a:lnTo>
                  <a:lnTo>
                    <a:pt x="471" y="301"/>
                  </a:lnTo>
                  <a:lnTo>
                    <a:pt x="474" y="301"/>
                  </a:lnTo>
                  <a:lnTo>
                    <a:pt x="477" y="301"/>
                  </a:lnTo>
                  <a:lnTo>
                    <a:pt x="480" y="301"/>
                  </a:lnTo>
                  <a:lnTo>
                    <a:pt x="483" y="301"/>
                  </a:lnTo>
                  <a:lnTo>
                    <a:pt x="489" y="304"/>
                  </a:lnTo>
                  <a:lnTo>
                    <a:pt x="492" y="304"/>
                  </a:lnTo>
                  <a:lnTo>
                    <a:pt x="492" y="307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2" y="316"/>
                  </a:lnTo>
                  <a:lnTo>
                    <a:pt x="498" y="319"/>
                  </a:lnTo>
                  <a:lnTo>
                    <a:pt x="498" y="322"/>
                  </a:lnTo>
                  <a:lnTo>
                    <a:pt x="492" y="322"/>
                  </a:lnTo>
                  <a:lnTo>
                    <a:pt x="489" y="322"/>
                  </a:lnTo>
                  <a:lnTo>
                    <a:pt x="486" y="322"/>
                  </a:lnTo>
                  <a:lnTo>
                    <a:pt x="486" y="325"/>
                  </a:lnTo>
                  <a:lnTo>
                    <a:pt x="480" y="328"/>
                  </a:lnTo>
                  <a:lnTo>
                    <a:pt x="477" y="328"/>
                  </a:lnTo>
                  <a:lnTo>
                    <a:pt x="477" y="331"/>
                  </a:lnTo>
                  <a:lnTo>
                    <a:pt x="474" y="334"/>
                  </a:lnTo>
                  <a:lnTo>
                    <a:pt x="477" y="337"/>
                  </a:lnTo>
                  <a:lnTo>
                    <a:pt x="480" y="337"/>
                  </a:lnTo>
                  <a:lnTo>
                    <a:pt x="483" y="337"/>
                  </a:lnTo>
                  <a:lnTo>
                    <a:pt x="483" y="334"/>
                  </a:lnTo>
                  <a:lnTo>
                    <a:pt x="486" y="334"/>
                  </a:lnTo>
                  <a:lnTo>
                    <a:pt x="486" y="337"/>
                  </a:lnTo>
                  <a:lnTo>
                    <a:pt x="489" y="340"/>
                  </a:lnTo>
                  <a:lnTo>
                    <a:pt x="492" y="340"/>
                  </a:lnTo>
                  <a:lnTo>
                    <a:pt x="501" y="343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8" y="343"/>
                  </a:lnTo>
                  <a:lnTo>
                    <a:pt x="498" y="346"/>
                  </a:lnTo>
                  <a:lnTo>
                    <a:pt x="495" y="346"/>
                  </a:lnTo>
                  <a:lnTo>
                    <a:pt x="495" y="349"/>
                  </a:lnTo>
                  <a:lnTo>
                    <a:pt x="495" y="352"/>
                  </a:lnTo>
                  <a:lnTo>
                    <a:pt x="495" y="355"/>
                  </a:lnTo>
                  <a:lnTo>
                    <a:pt x="492" y="355"/>
                  </a:lnTo>
                  <a:lnTo>
                    <a:pt x="489" y="355"/>
                  </a:lnTo>
                  <a:lnTo>
                    <a:pt x="486" y="355"/>
                  </a:lnTo>
                  <a:lnTo>
                    <a:pt x="483" y="355"/>
                  </a:lnTo>
                  <a:lnTo>
                    <a:pt x="483" y="358"/>
                  </a:lnTo>
                  <a:lnTo>
                    <a:pt x="480" y="358"/>
                  </a:lnTo>
                  <a:lnTo>
                    <a:pt x="477" y="358"/>
                  </a:lnTo>
                  <a:lnTo>
                    <a:pt x="474" y="358"/>
                  </a:lnTo>
                  <a:lnTo>
                    <a:pt x="474" y="361"/>
                  </a:lnTo>
                  <a:lnTo>
                    <a:pt x="471" y="361"/>
                  </a:lnTo>
                  <a:lnTo>
                    <a:pt x="471" y="364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1" y="367"/>
                  </a:lnTo>
                  <a:lnTo>
                    <a:pt x="468" y="367"/>
                  </a:lnTo>
                  <a:lnTo>
                    <a:pt x="465" y="367"/>
                  </a:lnTo>
                  <a:lnTo>
                    <a:pt x="462" y="367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9" y="367"/>
                  </a:lnTo>
                  <a:lnTo>
                    <a:pt x="459" y="364"/>
                  </a:lnTo>
                  <a:lnTo>
                    <a:pt x="456" y="364"/>
                  </a:lnTo>
                  <a:lnTo>
                    <a:pt x="453" y="364"/>
                  </a:lnTo>
                  <a:lnTo>
                    <a:pt x="450" y="364"/>
                  </a:lnTo>
                  <a:lnTo>
                    <a:pt x="447" y="364"/>
                  </a:lnTo>
                  <a:lnTo>
                    <a:pt x="447" y="361"/>
                  </a:lnTo>
                  <a:lnTo>
                    <a:pt x="444" y="361"/>
                  </a:lnTo>
                  <a:lnTo>
                    <a:pt x="441" y="361"/>
                  </a:lnTo>
                  <a:lnTo>
                    <a:pt x="441" y="358"/>
                  </a:lnTo>
                  <a:lnTo>
                    <a:pt x="438" y="361"/>
                  </a:lnTo>
                  <a:lnTo>
                    <a:pt x="441" y="361"/>
                  </a:lnTo>
                  <a:lnTo>
                    <a:pt x="444" y="361"/>
                  </a:lnTo>
                  <a:lnTo>
                    <a:pt x="444" y="364"/>
                  </a:lnTo>
                  <a:lnTo>
                    <a:pt x="441" y="364"/>
                  </a:lnTo>
                  <a:lnTo>
                    <a:pt x="438" y="364"/>
                  </a:lnTo>
                  <a:lnTo>
                    <a:pt x="438" y="367"/>
                  </a:lnTo>
                  <a:lnTo>
                    <a:pt x="438" y="364"/>
                  </a:lnTo>
                  <a:lnTo>
                    <a:pt x="435" y="364"/>
                  </a:lnTo>
                  <a:lnTo>
                    <a:pt x="432" y="364"/>
                  </a:lnTo>
                  <a:lnTo>
                    <a:pt x="432" y="361"/>
                  </a:lnTo>
                  <a:lnTo>
                    <a:pt x="429" y="361"/>
                  </a:lnTo>
                  <a:lnTo>
                    <a:pt x="426" y="361"/>
                  </a:lnTo>
                  <a:lnTo>
                    <a:pt x="423" y="361"/>
                  </a:lnTo>
                  <a:lnTo>
                    <a:pt x="420" y="358"/>
                  </a:lnTo>
                  <a:lnTo>
                    <a:pt x="420" y="361"/>
                  </a:lnTo>
                  <a:lnTo>
                    <a:pt x="420" y="358"/>
                  </a:lnTo>
                  <a:lnTo>
                    <a:pt x="417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8" y="358"/>
                  </a:lnTo>
                  <a:lnTo>
                    <a:pt x="408" y="355"/>
                  </a:lnTo>
                  <a:lnTo>
                    <a:pt x="405" y="355"/>
                  </a:lnTo>
                  <a:lnTo>
                    <a:pt x="402" y="355"/>
                  </a:lnTo>
                  <a:lnTo>
                    <a:pt x="402" y="358"/>
                  </a:lnTo>
                  <a:lnTo>
                    <a:pt x="399" y="358"/>
                  </a:lnTo>
                  <a:lnTo>
                    <a:pt x="399" y="361"/>
                  </a:lnTo>
                  <a:lnTo>
                    <a:pt x="396" y="361"/>
                  </a:lnTo>
                  <a:lnTo>
                    <a:pt x="393" y="361"/>
                  </a:lnTo>
                  <a:lnTo>
                    <a:pt x="390" y="361"/>
                  </a:lnTo>
                  <a:lnTo>
                    <a:pt x="390" y="364"/>
                  </a:lnTo>
                  <a:lnTo>
                    <a:pt x="387" y="361"/>
                  </a:lnTo>
                  <a:lnTo>
                    <a:pt x="384" y="361"/>
                  </a:lnTo>
                  <a:lnTo>
                    <a:pt x="381" y="361"/>
                  </a:lnTo>
                  <a:lnTo>
                    <a:pt x="378" y="361"/>
                  </a:lnTo>
                  <a:lnTo>
                    <a:pt x="375" y="361"/>
                  </a:lnTo>
                  <a:lnTo>
                    <a:pt x="375" y="364"/>
                  </a:lnTo>
                  <a:lnTo>
                    <a:pt x="372" y="364"/>
                  </a:lnTo>
                  <a:lnTo>
                    <a:pt x="369" y="364"/>
                  </a:lnTo>
                  <a:lnTo>
                    <a:pt x="369" y="367"/>
                  </a:lnTo>
                  <a:lnTo>
                    <a:pt x="366" y="367"/>
                  </a:lnTo>
                  <a:lnTo>
                    <a:pt x="366" y="370"/>
                  </a:lnTo>
                  <a:lnTo>
                    <a:pt x="366" y="373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9" y="373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3" y="376"/>
                  </a:lnTo>
                  <a:lnTo>
                    <a:pt x="360" y="376"/>
                  </a:lnTo>
                  <a:lnTo>
                    <a:pt x="357" y="376"/>
                  </a:lnTo>
                  <a:lnTo>
                    <a:pt x="357" y="379"/>
                  </a:lnTo>
                  <a:lnTo>
                    <a:pt x="354" y="379"/>
                  </a:lnTo>
                  <a:lnTo>
                    <a:pt x="351" y="382"/>
                  </a:lnTo>
                  <a:lnTo>
                    <a:pt x="348" y="385"/>
                  </a:lnTo>
                  <a:lnTo>
                    <a:pt x="351" y="385"/>
                  </a:lnTo>
                  <a:lnTo>
                    <a:pt x="351" y="388"/>
                  </a:lnTo>
                  <a:lnTo>
                    <a:pt x="348" y="388"/>
                  </a:lnTo>
                  <a:lnTo>
                    <a:pt x="348" y="391"/>
                  </a:lnTo>
                  <a:lnTo>
                    <a:pt x="345" y="394"/>
                  </a:lnTo>
                  <a:lnTo>
                    <a:pt x="342" y="394"/>
                  </a:lnTo>
                  <a:lnTo>
                    <a:pt x="339" y="394"/>
                  </a:lnTo>
                  <a:lnTo>
                    <a:pt x="336" y="397"/>
                  </a:lnTo>
                  <a:lnTo>
                    <a:pt x="333" y="397"/>
                  </a:lnTo>
                  <a:lnTo>
                    <a:pt x="330" y="397"/>
                  </a:lnTo>
                  <a:lnTo>
                    <a:pt x="327" y="397"/>
                  </a:lnTo>
                  <a:lnTo>
                    <a:pt x="327" y="394"/>
                  </a:lnTo>
                  <a:lnTo>
                    <a:pt x="324" y="394"/>
                  </a:lnTo>
                  <a:lnTo>
                    <a:pt x="321" y="394"/>
                  </a:lnTo>
                  <a:lnTo>
                    <a:pt x="318" y="394"/>
                  </a:lnTo>
                  <a:lnTo>
                    <a:pt x="315" y="394"/>
                  </a:lnTo>
                  <a:lnTo>
                    <a:pt x="312" y="394"/>
                  </a:lnTo>
                  <a:lnTo>
                    <a:pt x="309" y="394"/>
                  </a:lnTo>
                  <a:lnTo>
                    <a:pt x="309" y="397"/>
                  </a:lnTo>
                  <a:lnTo>
                    <a:pt x="306" y="397"/>
                  </a:lnTo>
                  <a:lnTo>
                    <a:pt x="303" y="397"/>
                  </a:lnTo>
                  <a:lnTo>
                    <a:pt x="303" y="400"/>
                  </a:lnTo>
                  <a:lnTo>
                    <a:pt x="300" y="400"/>
                  </a:lnTo>
                  <a:lnTo>
                    <a:pt x="297" y="400"/>
                  </a:lnTo>
                  <a:lnTo>
                    <a:pt x="294" y="400"/>
                  </a:lnTo>
                  <a:lnTo>
                    <a:pt x="291" y="400"/>
                  </a:lnTo>
                  <a:lnTo>
                    <a:pt x="291" y="397"/>
                  </a:lnTo>
                  <a:lnTo>
                    <a:pt x="288" y="397"/>
                  </a:lnTo>
                  <a:lnTo>
                    <a:pt x="285" y="397"/>
                  </a:lnTo>
                  <a:lnTo>
                    <a:pt x="282" y="394"/>
                  </a:lnTo>
                  <a:lnTo>
                    <a:pt x="279" y="394"/>
                  </a:lnTo>
                  <a:lnTo>
                    <a:pt x="276" y="394"/>
                  </a:lnTo>
                  <a:lnTo>
                    <a:pt x="273" y="394"/>
                  </a:lnTo>
                  <a:lnTo>
                    <a:pt x="270" y="394"/>
                  </a:lnTo>
                  <a:lnTo>
                    <a:pt x="267" y="394"/>
                  </a:lnTo>
                  <a:lnTo>
                    <a:pt x="264" y="394"/>
                  </a:lnTo>
                  <a:lnTo>
                    <a:pt x="261" y="397"/>
                  </a:lnTo>
                  <a:lnTo>
                    <a:pt x="261" y="400"/>
                  </a:lnTo>
                  <a:lnTo>
                    <a:pt x="261" y="403"/>
                  </a:lnTo>
                  <a:lnTo>
                    <a:pt x="261" y="406"/>
                  </a:lnTo>
                  <a:lnTo>
                    <a:pt x="261" y="403"/>
                  </a:lnTo>
                  <a:lnTo>
                    <a:pt x="258" y="403"/>
                  </a:lnTo>
                  <a:lnTo>
                    <a:pt x="255" y="403"/>
                  </a:lnTo>
                  <a:lnTo>
                    <a:pt x="252" y="403"/>
                  </a:lnTo>
                  <a:lnTo>
                    <a:pt x="249" y="403"/>
                  </a:lnTo>
                  <a:lnTo>
                    <a:pt x="246" y="403"/>
                  </a:lnTo>
                  <a:lnTo>
                    <a:pt x="243" y="403"/>
                  </a:lnTo>
                  <a:lnTo>
                    <a:pt x="240" y="403"/>
                  </a:lnTo>
                  <a:lnTo>
                    <a:pt x="237" y="403"/>
                  </a:lnTo>
                  <a:lnTo>
                    <a:pt x="234" y="403"/>
                  </a:lnTo>
                  <a:lnTo>
                    <a:pt x="231" y="406"/>
                  </a:lnTo>
                  <a:lnTo>
                    <a:pt x="228" y="406"/>
                  </a:lnTo>
                  <a:lnTo>
                    <a:pt x="225" y="409"/>
                  </a:lnTo>
                  <a:lnTo>
                    <a:pt x="225" y="412"/>
                  </a:lnTo>
                  <a:lnTo>
                    <a:pt x="222" y="412"/>
                  </a:lnTo>
                  <a:lnTo>
                    <a:pt x="222" y="415"/>
                  </a:lnTo>
                  <a:lnTo>
                    <a:pt x="219" y="415"/>
                  </a:lnTo>
                  <a:lnTo>
                    <a:pt x="216" y="418"/>
                  </a:lnTo>
                  <a:lnTo>
                    <a:pt x="213" y="421"/>
                  </a:lnTo>
                  <a:lnTo>
                    <a:pt x="210" y="421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4"/>
                  </a:lnTo>
                  <a:lnTo>
                    <a:pt x="207" y="424"/>
                  </a:lnTo>
                  <a:lnTo>
                    <a:pt x="210" y="427"/>
                  </a:lnTo>
                  <a:lnTo>
                    <a:pt x="207" y="427"/>
                  </a:lnTo>
                  <a:lnTo>
                    <a:pt x="204" y="427"/>
                  </a:lnTo>
                  <a:lnTo>
                    <a:pt x="201" y="427"/>
                  </a:lnTo>
                  <a:lnTo>
                    <a:pt x="198" y="430"/>
                  </a:lnTo>
                  <a:lnTo>
                    <a:pt x="195" y="433"/>
                  </a:lnTo>
                  <a:lnTo>
                    <a:pt x="192" y="436"/>
                  </a:lnTo>
                  <a:lnTo>
                    <a:pt x="195" y="439"/>
                  </a:lnTo>
                  <a:lnTo>
                    <a:pt x="192" y="439"/>
                  </a:lnTo>
                  <a:lnTo>
                    <a:pt x="189" y="439"/>
                  </a:lnTo>
                  <a:lnTo>
                    <a:pt x="189" y="442"/>
                  </a:lnTo>
                  <a:lnTo>
                    <a:pt x="186" y="439"/>
                  </a:lnTo>
                  <a:lnTo>
                    <a:pt x="183" y="439"/>
                  </a:lnTo>
                  <a:lnTo>
                    <a:pt x="183" y="436"/>
                  </a:lnTo>
                  <a:lnTo>
                    <a:pt x="180" y="436"/>
                  </a:lnTo>
                  <a:lnTo>
                    <a:pt x="177" y="433"/>
                  </a:lnTo>
                  <a:lnTo>
                    <a:pt x="174" y="433"/>
                  </a:lnTo>
                  <a:lnTo>
                    <a:pt x="171" y="433"/>
                  </a:lnTo>
                  <a:lnTo>
                    <a:pt x="168" y="433"/>
                  </a:lnTo>
                  <a:lnTo>
                    <a:pt x="165" y="433"/>
                  </a:lnTo>
                  <a:lnTo>
                    <a:pt x="162" y="433"/>
                  </a:lnTo>
                  <a:lnTo>
                    <a:pt x="162" y="436"/>
                  </a:lnTo>
                  <a:lnTo>
                    <a:pt x="159" y="436"/>
                  </a:lnTo>
                  <a:lnTo>
                    <a:pt x="159" y="433"/>
                  </a:lnTo>
                  <a:lnTo>
                    <a:pt x="156" y="433"/>
                  </a:lnTo>
                  <a:lnTo>
                    <a:pt x="156" y="430"/>
                  </a:lnTo>
                  <a:lnTo>
                    <a:pt x="153" y="430"/>
                  </a:lnTo>
                  <a:lnTo>
                    <a:pt x="153" y="427"/>
                  </a:lnTo>
                  <a:lnTo>
                    <a:pt x="150" y="427"/>
                  </a:lnTo>
                  <a:lnTo>
                    <a:pt x="150" y="424"/>
                  </a:lnTo>
                  <a:lnTo>
                    <a:pt x="147" y="424"/>
                  </a:lnTo>
                  <a:lnTo>
                    <a:pt x="144" y="424"/>
                  </a:lnTo>
                  <a:lnTo>
                    <a:pt x="144" y="421"/>
                  </a:lnTo>
                  <a:lnTo>
                    <a:pt x="141" y="421"/>
                  </a:lnTo>
                  <a:lnTo>
                    <a:pt x="141" y="418"/>
                  </a:lnTo>
                  <a:lnTo>
                    <a:pt x="138" y="418"/>
                  </a:lnTo>
                  <a:lnTo>
                    <a:pt x="135" y="418"/>
                  </a:lnTo>
                  <a:lnTo>
                    <a:pt x="135" y="421"/>
                  </a:lnTo>
                  <a:lnTo>
                    <a:pt x="132" y="421"/>
                  </a:lnTo>
                  <a:lnTo>
                    <a:pt x="132" y="418"/>
                  </a:lnTo>
                  <a:lnTo>
                    <a:pt x="132" y="421"/>
                  </a:lnTo>
                  <a:lnTo>
                    <a:pt x="129" y="421"/>
                  </a:lnTo>
                  <a:lnTo>
                    <a:pt x="132" y="418"/>
                  </a:lnTo>
                  <a:lnTo>
                    <a:pt x="132" y="415"/>
                  </a:lnTo>
                  <a:lnTo>
                    <a:pt x="135" y="415"/>
                  </a:lnTo>
                  <a:lnTo>
                    <a:pt x="135" y="412"/>
                  </a:lnTo>
                  <a:lnTo>
                    <a:pt x="138" y="412"/>
                  </a:lnTo>
                  <a:lnTo>
                    <a:pt x="138" y="409"/>
                  </a:lnTo>
                  <a:lnTo>
                    <a:pt x="135" y="409"/>
                  </a:lnTo>
                  <a:lnTo>
                    <a:pt x="135" y="406"/>
                  </a:lnTo>
                  <a:lnTo>
                    <a:pt x="135" y="403"/>
                  </a:lnTo>
                  <a:lnTo>
                    <a:pt x="132" y="403"/>
                  </a:lnTo>
                  <a:lnTo>
                    <a:pt x="132" y="400"/>
                  </a:lnTo>
                  <a:lnTo>
                    <a:pt x="129" y="397"/>
                  </a:lnTo>
                  <a:lnTo>
                    <a:pt x="126" y="397"/>
                  </a:lnTo>
                  <a:lnTo>
                    <a:pt x="126" y="400"/>
                  </a:lnTo>
                  <a:lnTo>
                    <a:pt x="123" y="400"/>
                  </a:lnTo>
                  <a:lnTo>
                    <a:pt x="120" y="400"/>
                  </a:lnTo>
                  <a:lnTo>
                    <a:pt x="117" y="400"/>
                  </a:lnTo>
                  <a:lnTo>
                    <a:pt x="114" y="397"/>
                  </a:lnTo>
                  <a:lnTo>
                    <a:pt x="117" y="397"/>
                  </a:lnTo>
                  <a:lnTo>
                    <a:pt x="114" y="394"/>
                  </a:lnTo>
                  <a:lnTo>
                    <a:pt x="111" y="391"/>
                  </a:lnTo>
                  <a:lnTo>
                    <a:pt x="108" y="391"/>
                  </a:lnTo>
                  <a:lnTo>
                    <a:pt x="105" y="391"/>
                  </a:lnTo>
                  <a:lnTo>
                    <a:pt x="102" y="394"/>
                  </a:lnTo>
                  <a:lnTo>
                    <a:pt x="99" y="394"/>
                  </a:lnTo>
                  <a:lnTo>
                    <a:pt x="96" y="394"/>
                  </a:lnTo>
                  <a:lnTo>
                    <a:pt x="93" y="394"/>
                  </a:lnTo>
                  <a:lnTo>
                    <a:pt x="93" y="397"/>
                  </a:lnTo>
                  <a:lnTo>
                    <a:pt x="93" y="394"/>
                  </a:lnTo>
                  <a:lnTo>
                    <a:pt x="90" y="394"/>
                  </a:lnTo>
                  <a:lnTo>
                    <a:pt x="90" y="397"/>
                  </a:lnTo>
                  <a:lnTo>
                    <a:pt x="90" y="394"/>
                  </a:lnTo>
                  <a:lnTo>
                    <a:pt x="90" y="391"/>
                  </a:lnTo>
                  <a:lnTo>
                    <a:pt x="90" y="388"/>
                  </a:lnTo>
                  <a:lnTo>
                    <a:pt x="90" y="385"/>
                  </a:lnTo>
                  <a:lnTo>
                    <a:pt x="93" y="385"/>
                  </a:lnTo>
                  <a:lnTo>
                    <a:pt x="93" y="382"/>
                  </a:lnTo>
                  <a:lnTo>
                    <a:pt x="93" y="379"/>
                  </a:lnTo>
                  <a:lnTo>
                    <a:pt x="90" y="379"/>
                  </a:lnTo>
                  <a:lnTo>
                    <a:pt x="90" y="376"/>
                  </a:lnTo>
                  <a:lnTo>
                    <a:pt x="93" y="373"/>
                  </a:lnTo>
                  <a:lnTo>
                    <a:pt x="93" y="370"/>
                  </a:lnTo>
                  <a:lnTo>
                    <a:pt x="90" y="370"/>
                  </a:lnTo>
                  <a:lnTo>
                    <a:pt x="90" y="367"/>
                  </a:lnTo>
                  <a:lnTo>
                    <a:pt x="87" y="364"/>
                  </a:lnTo>
                  <a:lnTo>
                    <a:pt x="84" y="364"/>
                  </a:lnTo>
                  <a:lnTo>
                    <a:pt x="81" y="364"/>
                  </a:lnTo>
                  <a:lnTo>
                    <a:pt x="78" y="364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69" y="364"/>
                  </a:lnTo>
                  <a:lnTo>
                    <a:pt x="69" y="367"/>
                  </a:lnTo>
                  <a:lnTo>
                    <a:pt x="66" y="367"/>
                  </a:lnTo>
                  <a:lnTo>
                    <a:pt x="63" y="367"/>
                  </a:lnTo>
                  <a:lnTo>
                    <a:pt x="60" y="367"/>
                  </a:lnTo>
                  <a:lnTo>
                    <a:pt x="60" y="370"/>
                  </a:lnTo>
                  <a:lnTo>
                    <a:pt x="57" y="370"/>
                  </a:lnTo>
                  <a:lnTo>
                    <a:pt x="57" y="373"/>
                  </a:lnTo>
                  <a:lnTo>
                    <a:pt x="57" y="376"/>
                  </a:lnTo>
                  <a:lnTo>
                    <a:pt x="60" y="376"/>
                  </a:lnTo>
                  <a:lnTo>
                    <a:pt x="60" y="379"/>
                  </a:lnTo>
                  <a:lnTo>
                    <a:pt x="63" y="379"/>
                  </a:lnTo>
                  <a:lnTo>
                    <a:pt x="63" y="382"/>
                  </a:lnTo>
                  <a:lnTo>
                    <a:pt x="60" y="382"/>
                  </a:lnTo>
                  <a:lnTo>
                    <a:pt x="63" y="385"/>
                  </a:lnTo>
                  <a:lnTo>
                    <a:pt x="60" y="385"/>
                  </a:lnTo>
                  <a:lnTo>
                    <a:pt x="60" y="388"/>
                  </a:lnTo>
                  <a:lnTo>
                    <a:pt x="60" y="391"/>
                  </a:lnTo>
                  <a:lnTo>
                    <a:pt x="63" y="391"/>
                  </a:lnTo>
                  <a:lnTo>
                    <a:pt x="60" y="391"/>
                  </a:lnTo>
                  <a:lnTo>
                    <a:pt x="57" y="391"/>
                  </a:lnTo>
                  <a:lnTo>
                    <a:pt x="57" y="388"/>
                  </a:lnTo>
                  <a:lnTo>
                    <a:pt x="54" y="388"/>
                  </a:lnTo>
                  <a:lnTo>
                    <a:pt x="54" y="385"/>
                  </a:lnTo>
                  <a:lnTo>
                    <a:pt x="54" y="382"/>
                  </a:lnTo>
                  <a:lnTo>
                    <a:pt x="54" y="379"/>
                  </a:lnTo>
                  <a:lnTo>
                    <a:pt x="54" y="376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51" y="376"/>
                  </a:lnTo>
                  <a:lnTo>
                    <a:pt x="51" y="373"/>
                  </a:lnTo>
                  <a:lnTo>
                    <a:pt x="48" y="373"/>
                  </a:lnTo>
                  <a:lnTo>
                    <a:pt x="48" y="370"/>
                  </a:lnTo>
                  <a:lnTo>
                    <a:pt x="51" y="370"/>
                  </a:lnTo>
                  <a:lnTo>
                    <a:pt x="51" y="367"/>
                  </a:lnTo>
                  <a:lnTo>
                    <a:pt x="51" y="364"/>
                  </a:lnTo>
                  <a:lnTo>
                    <a:pt x="54" y="364"/>
                  </a:lnTo>
                  <a:lnTo>
                    <a:pt x="51" y="361"/>
                  </a:lnTo>
                  <a:lnTo>
                    <a:pt x="51" y="364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48" y="358"/>
                  </a:lnTo>
                  <a:lnTo>
                    <a:pt x="51" y="358"/>
                  </a:lnTo>
                  <a:lnTo>
                    <a:pt x="51" y="355"/>
                  </a:lnTo>
                  <a:lnTo>
                    <a:pt x="54" y="352"/>
                  </a:lnTo>
                  <a:lnTo>
                    <a:pt x="54" y="349"/>
                  </a:lnTo>
                  <a:lnTo>
                    <a:pt x="54" y="346"/>
                  </a:lnTo>
                  <a:lnTo>
                    <a:pt x="57" y="346"/>
                  </a:lnTo>
                  <a:lnTo>
                    <a:pt x="57" y="349"/>
                  </a:lnTo>
                  <a:lnTo>
                    <a:pt x="60" y="349"/>
                  </a:lnTo>
                  <a:lnTo>
                    <a:pt x="60" y="346"/>
                  </a:lnTo>
                  <a:lnTo>
                    <a:pt x="63" y="346"/>
                  </a:lnTo>
                  <a:lnTo>
                    <a:pt x="63" y="343"/>
                  </a:lnTo>
                  <a:lnTo>
                    <a:pt x="63" y="340"/>
                  </a:lnTo>
                  <a:lnTo>
                    <a:pt x="60" y="337"/>
                  </a:lnTo>
                  <a:lnTo>
                    <a:pt x="60" y="334"/>
                  </a:lnTo>
                  <a:lnTo>
                    <a:pt x="60" y="331"/>
                  </a:lnTo>
                  <a:lnTo>
                    <a:pt x="57" y="331"/>
                  </a:lnTo>
                  <a:lnTo>
                    <a:pt x="57" y="328"/>
                  </a:lnTo>
                  <a:lnTo>
                    <a:pt x="60" y="328"/>
                  </a:lnTo>
                  <a:lnTo>
                    <a:pt x="60" y="325"/>
                  </a:lnTo>
                  <a:lnTo>
                    <a:pt x="57" y="325"/>
                  </a:lnTo>
                  <a:lnTo>
                    <a:pt x="57" y="322"/>
                  </a:lnTo>
                  <a:lnTo>
                    <a:pt x="57" y="319"/>
                  </a:lnTo>
                  <a:lnTo>
                    <a:pt x="54" y="319"/>
                  </a:lnTo>
                  <a:lnTo>
                    <a:pt x="54" y="316"/>
                  </a:lnTo>
                  <a:lnTo>
                    <a:pt x="51" y="316"/>
                  </a:lnTo>
                  <a:lnTo>
                    <a:pt x="51" y="313"/>
                  </a:lnTo>
                  <a:lnTo>
                    <a:pt x="48" y="313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8" y="304"/>
                  </a:lnTo>
                  <a:lnTo>
                    <a:pt x="45" y="301"/>
                  </a:lnTo>
                  <a:lnTo>
                    <a:pt x="45" y="298"/>
                  </a:lnTo>
                  <a:lnTo>
                    <a:pt x="42" y="298"/>
                  </a:lnTo>
                  <a:lnTo>
                    <a:pt x="42" y="295"/>
                  </a:lnTo>
                  <a:lnTo>
                    <a:pt x="39" y="295"/>
                  </a:lnTo>
                  <a:lnTo>
                    <a:pt x="36" y="295"/>
                  </a:lnTo>
                  <a:lnTo>
                    <a:pt x="36" y="292"/>
                  </a:lnTo>
                  <a:lnTo>
                    <a:pt x="33" y="292"/>
                  </a:lnTo>
                  <a:lnTo>
                    <a:pt x="36" y="289"/>
                  </a:lnTo>
                  <a:lnTo>
                    <a:pt x="33" y="286"/>
                  </a:lnTo>
                  <a:lnTo>
                    <a:pt x="33" y="283"/>
                  </a:lnTo>
                  <a:lnTo>
                    <a:pt x="33" y="280"/>
                  </a:lnTo>
                  <a:lnTo>
                    <a:pt x="30" y="280"/>
                  </a:lnTo>
                  <a:lnTo>
                    <a:pt x="30" y="277"/>
                  </a:lnTo>
                  <a:lnTo>
                    <a:pt x="27" y="277"/>
                  </a:lnTo>
                  <a:lnTo>
                    <a:pt x="27" y="274"/>
                  </a:lnTo>
                  <a:lnTo>
                    <a:pt x="24" y="274"/>
                  </a:lnTo>
                  <a:lnTo>
                    <a:pt x="24" y="271"/>
                  </a:lnTo>
                  <a:lnTo>
                    <a:pt x="21" y="271"/>
                  </a:lnTo>
                  <a:lnTo>
                    <a:pt x="21" y="268"/>
                  </a:lnTo>
                  <a:lnTo>
                    <a:pt x="18" y="268"/>
                  </a:lnTo>
                  <a:lnTo>
                    <a:pt x="18" y="265"/>
                  </a:lnTo>
                  <a:lnTo>
                    <a:pt x="21" y="265"/>
                  </a:lnTo>
                  <a:lnTo>
                    <a:pt x="21" y="262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1" y="265"/>
                  </a:lnTo>
                  <a:lnTo>
                    <a:pt x="24" y="265"/>
                  </a:lnTo>
                  <a:lnTo>
                    <a:pt x="24" y="268"/>
                  </a:lnTo>
                  <a:lnTo>
                    <a:pt x="24" y="271"/>
                  </a:lnTo>
                  <a:lnTo>
                    <a:pt x="27" y="271"/>
                  </a:lnTo>
                  <a:lnTo>
                    <a:pt x="27" y="274"/>
                  </a:lnTo>
                  <a:lnTo>
                    <a:pt x="30" y="274"/>
                  </a:lnTo>
                  <a:lnTo>
                    <a:pt x="30" y="277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3" y="274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30" y="274"/>
                  </a:lnTo>
                  <a:lnTo>
                    <a:pt x="30" y="271"/>
                  </a:lnTo>
                  <a:lnTo>
                    <a:pt x="27" y="268"/>
                  </a:lnTo>
                  <a:lnTo>
                    <a:pt x="24" y="265"/>
                  </a:lnTo>
                  <a:lnTo>
                    <a:pt x="24" y="262"/>
                  </a:lnTo>
                  <a:lnTo>
                    <a:pt x="27" y="262"/>
                  </a:lnTo>
                  <a:lnTo>
                    <a:pt x="24" y="259"/>
                  </a:lnTo>
                  <a:lnTo>
                    <a:pt x="24" y="256"/>
                  </a:lnTo>
                  <a:lnTo>
                    <a:pt x="21" y="256"/>
                  </a:lnTo>
                  <a:lnTo>
                    <a:pt x="18" y="256"/>
                  </a:lnTo>
                  <a:lnTo>
                    <a:pt x="18" y="259"/>
                  </a:lnTo>
                  <a:lnTo>
                    <a:pt x="21" y="259"/>
                  </a:lnTo>
                  <a:lnTo>
                    <a:pt x="18" y="259"/>
                  </a:lnTo>
                  <a:lnTo>
                    <a:pt x="15" y="259"/>
                  </a:lnTo>
                  <a:lnTo>
                    <a:pt x="15" y="262"/>
                  </a:lnTo>
                  <a:lnTo>
                    <a:pt x="15" y="259"/>
                  </a:lnTo>
                  <a:lnTo>
                    <a:pt x="12" y="259"/>
                  </a:lnTo>
                  <a:lnTo>
                    <a:pt x="15" y="259"/>
                  </a:lnTo>
                  <a:lnTo>
                    <a:pt x="15" y="256"/>
                  </a:lnTo>
                  <a:lnTo>
                    <a:pt x="12" y="256"/>
                  </a:lnTo>
                  <a:lnTo>
                    <a:pt x="9" y="256"/>
                  </a:lnTo>
                  <a:lnTo>
                    <a:pt x="12" y="256"/>
                  </a:lnTo>
                  <a:lnTo>
                    <a:pt x="12" y="253"/>
                  </a:lnTo>
                  <a:lnTo>
                    <a:pt x="12" y="250"/>
                  </a:lnTo>
                  <a:lnTo>
                    <a:pt x="12" y="247"/>
                  </a:lnTo>
                  <a:lnTo>
                    <a:pt x="9" y="247"/>
                  </a:lnTo>
                  <a:lnTo>
                    <a:pt x="9" y="244"/>
                  </a:lnTo>
                  <a:lnTo>
                    <a:pt x="12" y="244"/>
                  </a:lnTo>
                  <a:lnTo>
                    <a:pt x="12" y="241"/>
                  </a:lnTo>
                  <a:lnTo>
                    <a:pt x="9" y="241"/>
                  </a:lnTo>
                  <a:lnTo>
                    <a:pt x="9" y="238"/>
                  </a:lnTo>
                  <a:lnTo>
                    <a:pt x="12" y="238"/>
                  </a:lnTo>
                  <a:lnTo>
                    <a:pt x="12" y="235"/>
                  </a:lnTo>
                  <a:lnTo>
                    <a:pt x="12" y="232"/>
                  </a:lnTo>
                  <a:lnTo>
                    <a:pt x="12" y="229"/>
                  </a:lnTo>
                  <a:lnTo>
                    <a:pt x="15" y="229"/>
                  </a:lnTo>
                  <a:lnTo>
                    <a:pt x="15" y="226"/>
                  </a:lnTo>
                  <a:lnTo>
                    <a:pt x="15" y="229"/>
                  </a:lnTo>
                  <a:lnTo>
                    <a:pt x="18" y="229"/>
                  </a:lnTo>
                  <a:lnTo>
                    <a:pt x="18" y="226"/>
                  </a:lnTo>
                  <a:lnTo>
                    <a:pt x="21" y="226"/>
                  </a:lnTo>
                  <a:lnTo>
                    <a:pt x="18" y="226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32"/>
                  </a:lnTo>
                  <a:lnTo>
                    <a:pt x="24" y="232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3" y="232"/>
                  </a:lnTo>
                  <a:lnTo>
                    <a:pt x="36" y="232"/>
                  </a:lnTo>
                  <a:lnTo>
                    <a:pt x="36" y="229"/>
                  </a:lnTo>
                  <a:lnTo>
                    <a:pt x="39" y="226"/>
                  </a:lnTo>
                  <a:lnTo>
                    <a:pt x="42" y="223"/>
                  </a:lnTo>
                  <a:lnTo>
                    <a:pt x="45" y="220"/>
                  </a:lnTo>
                  <a:lnTo>
                    <a:pt x="45" y="217"/>
                  </a:lnTo>
                  <a:lnTo>
                    <a:pt x="45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08"/>
                  </a:lnTo>
                  <a:lnTo>
                    <a:pt x="48" y="205"/>
                  </a:lnTo>
                  <a:lnTo>
                    <a:pt x="48" y="202"/>
                  </a:lnTo>
                  <a:lnTo>
                    <a:pt x="48" y="199"/>
                  </a:lnTo>
                  <a:lnTo>
                    <a:pt x="48" y="196"/>
                  </a:lnTo>
                  <a:lnTo>
                    <a:pt x="48" y="190"/>
                  </a:lnTo>
                  <a:lnTo>
                    <a:pt x="48" y="187"/>
                  </a:lnTo>
                  <a:lnTo>
                    <a:pt x="51" y="187"/>
                  </a:lnTo>
                  <a:lnTo>
                    <a:pt x="51" y="184"/>
                  </a:lnTo>
                  <a:lnTo>
                    <a:pt x="51" y="181"/>
                  </a:lnTo>
                  <a:lnTo>
                    <a:pt x="48" y="181"/>
                  </a:lnTo>
                  <a:lnTo>
                    <a:pt x="48" y="178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8" y="165"/>
                  </a:lnTo>
                  <a:lnTo>
                    <a:pt x="48" y="162"/>
                  </a:lnTo>
                  <a:lnTo>
                    <a:pt x="48" y="159"/>
                  </a:lnTo>
                  <a:lnTo>
                    <a:pt x="45" y="159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5" y="150"/>
                  </a:lnTo>
                  <a:lnTo>
                    <a:pt x="42" y="150"/>
                  </a:lnTo>
                  <a:lnTo>
                    <a:pt x="45" y="150"/>
                  </a:lnTo>
                  <a:lnTo>
                    <a:pt x="45" y="147"/>
                  </a:lnTo>
                  <a:lnTo>
                    <a:pt x="45" y="144"/>
                  </a:lnTo>
                  <a:lnTo>
                    <a:pt x="42" y="141"/>
                  </a:lnTo>
                  <a:lnTo>
                    <a:pt x="42" y="138"/>
                  </a:lnTo>
                  <a:lnTo>
                    <a:pt x="42" y="135"/>
                  </a:lnTo>
                  <a:lnTo>
                    <a:pt x="39" y="135"/>
                  </a:lnTo>
                  <a:lnTo>
                    <a:pt x="39" y="132"/>
                  </a:lnTo>
                  <a:lnTo>
                    <a:pt x="39" y="129"/>
                  </a:lnTo>
                  <a:lnTo>
                    <a:pt x="39" y="126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3" y="123"/>
                  </a:lnTo>
                  <a:lnTo>
                    <a:pt x="33" y="120"/>
                  </a:lnTo>
                  <a:lnTo>
                    <a:pt x="33" y="117"/>
                  </a:lnTo>
                  <a:lnTo>
                    <a:pt x="30" y="117"/>
                  </a:lnTo>
                  <a:lnTo>
                    <a:pt x="30" y="114"/>
                  </a:lnTo>
                  <a:lnTo>
                    <a:pt x="30" y="111"/>
                  </a:lnTo>
                  <a:lnTo>
                    <a:pt x="27" y="111"/>
                  </a:lnTo>
                  <a:lnTo>
                    <a:pt x="27" y="108"/>
                  </a:lnTo>
                  <a:lnTo>
                    <a:pt x="24" y="108"/>
                  </a:lnTo>
                  <a:lnTo>
                    <a:pt x="24" y="105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5" y="96"/>
                  </a:lnTo>
                  <a:lnTo>
                    <a:pt x="15" y="93"/>
                  </a:lnTo>
                  <a:lnTo>
                    <a:pt x="12" y="90"/>
                  </a:lnTo>
                  <a:lnTo>
                    <a:pt x="12" y="87"/>
                  </a:lnTo>
                  <a:lnTo>
                    <a:pt x="12" y="84"/>
                  </a:lnTo>
                  <a:lnTo>
                    <a:pt x="9" y="84"/>
                  </a:lnTo>
                  <a:lnTo>
                    <a:pt x="9" y="81"/>
                  </a:lnTo>
                  <a:lnTo>
                    <a:pt x="6" y="78"/>
                  </a:lnTo>
                  <a:lnTo>
                    <a:pt x="3" y="75"/>
                  </a:lnTo>
                  <a:lnTo>
                    <a:pt x="0" y="72"/>
                  </a:lnTo>
                  <a:lnTo>
                    <a:pt x="6" y="75"/>
                  </a:lnTo>
                  <a:close/>
                </a:path>
              </a:pathLst>
            </a:custGeom>
            <a:solidFill>
              <a:srgbClr val="FFFFCC"/>
            </a:solidFill>
            <a:ln w="4826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156" name="Text Box 43">
              <a:extLst>
                <a:ext uri="{FF2B5EF4-FFF2-40B4-BE49-F238E27FC236}">
                  <a16:creationId xmlns:a16="http://schemas.microsoft.com/office/drawing/2014/main" id="{ABB2F4F8-049F-4083-83E6-9C5541D103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09715" y="3979863"/>
              <a:ext cx="901700" cy="23018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EC</a:t>
              </a:r>
            </a:p>
            <a:p>
              <a:pPr algn="ctr" eaLnBrk="1" hangingPunct="1"/>
              <a:r>
                <a:rPr lang="en-US" altLang="en-US" sz="1000" b="1" dirty="0"/>
                <a:t>1.1</a:t>
              </a:r>
            </a:p>
          </p:txBody>
        </p:sp>
        <p:sp>
          <p:nvSpPr>
            <p:cNvPr id="157" name="Text Box 44">
              <a:extLst>
                <a:ext uri="{FF2B5EF4-FFF2-40B4-BE49-F238E27FC236}">
                  <a16:creationId xmlns:a16="http://schemas.microsoft.com/office/drawing/2014/main" id="{8B67BB91-95E7-4E86-87DA-3FA2AE66D1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1513" y="3502025"/>
              <a:ext cx="931862" cy="27305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C</a:t>
              </a:r>
            </a:p>
            <a:p>
              <a:pPr algn="ctr" eaLnBrk="1" hangingPunct="1"/>
              <a:r>
                <a:rPr lang="en-US" altLang="en-US" sz="1000" b="1" dirty="0"/>
                <a:t>33.8</a:t>
              </a:r>
            </a:p>
          </p:txBody>
        </p:sp>
        <p:sp>
          <p:nvSpPr>
            <p:cNvPr id="158" name="Text Box 45">
              <a:extLst>
                <a:ext uri="{FF2B5EF4-FFF2-40B4-BE49-F238E27FC236}">
                  <a16:creationId xmlns:a16="http://schemas.microsoft.com/office/drawing/2014/main" id="{262D0483-DAB0-49D6-883E-E27B9470FE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11416" y="2902745"/>
              <a:ext cx="776287" cy="2778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NW</a:t>
              </a:r>
            </a:p>
            <a:p>
              <a:pPr algn="ctr" eaLnBrk="1" hangingPunct="1"/>
              <a:r>
                <a:rPr lang="en-US" altLang="en-US" sz="1000" b="1" dirty="0"/>
                <a:t>7.7</a:t>
              </a:r>
            </a:p>
          </p:txBody>
        </p:sp>
        <p:sp>
          <p:nvSpPr>
            <p:cNvPr id="159" name="Text Box 46">
              <a:extLst>
                <a:ext uri="{FF2B5EF4-FFF2-40B4-BE49-F238E27FC236}">
                  <a16:creationId xmlns:a16="http://schemas.microsoft.com/office/drawing/2014/main" id="{ED2953D4-8047-4AC2-A072-24208C1EEF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8542" y="3263900"/>
              <a:ext cx="514606" cy="32861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FS</a:t>
              </a:r>
            </a:p>
            <a:p>
              <a:pPr algn="ctr" eaLnBrk="1" hangingPunct="1"/>
              <a:r>
                <a:rPr lang="en-US" altLang="en-US" sz="1000" b="1" dirty="0"/>
                <a:t>14.6</a:t>
              </a:r>
            </a:p>
          </p:txBody>
        </p:sp>
        <p:sp>
          <p:nvSpPr>
            <p:cNvPr id="160" name="Text Box 47">
              <a:extLst>
                <a:ext uri="{FF2B5EF4-FFF2-40B4-BE49-F238E27FC236}">
                  <a16:creationId xmlns:a16="http://schemas.microsoft.com/office/drawing/2014/main" id="{D1CE54B3-070D-4384-A37A-EB1485C018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46701" y="2619375"/>
              <a:ext cx="298374" cy="284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MP</a:t>
              </a:r>
            </a:p>
            <a:p>
              <a:pPr algn="ctr" eaLnBrk="1" hangingPunct="1"/>
              <a:r>
                <a:rPr lang="en-US" altLang="en-US" sz="1000" b="1" dirty="0"/>
                <a:t>3.8</a:t>
              </a:r>
            </a:p>
          </p:txBody>
        </p:sp>
        <p:sp>
          <p:nvSpPr>
            <p:cNvPr id="161" name="Text Box 48">
              <a:extLst>
                <a:ext uri="{FF2B5EF4-FFF2-40B4-BE49-F238E27FC236}">
                  <a16:creationId xmlns:a16="http://schemas.microsoft.com/office/drawing/2014/main" id="{493AB1D8-45BE-4549-A1F4-83180D1DA3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02074" y="2356345"/>
              <a:ext cx="765175" cy="414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LP</a:t>
              </a:r>
            </a:p>
            <a:p>
              <a:pPr algn="ctr" eaLnBrk="1" hangingPunct="1"/>
              <a:r>
                <a:rPr lang="en-US" altLang="en-US" sz="1000" b="1" dirty="0"/>
                <a:t>1.0</a:t>
              </a:r>
            </a:p>
          </p:txBody>
        </p:sp>
        <p:sp>
          <p:nvSpPr>
            <p:cNvPr id="162" name="Text Box 49">
              <a:extLst>
                <a:ext uri="{FF2B5EF4-FFF2-40B4-BE49-F238E27FC236}">
                  <a16:creationId xmlns:a16="http://schemas.microsoft.com/office/drawing/2014/main" id="{A8487A76-28BE-41E7-85D1-69BD237536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3000" y="2403475"/>
              <a:ext cx="703263" cy="250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GP</a:t>
              </a:r>
            </a:p>
            <a:p>
              <a:pPr algn="ctr" eaLnBrk="1" hangingPunct="1"/>
              <a:r>
                <a:rPr lang="en-US" altLang="en-US" sz="1000" b="1" dirty="0">
                  <a:solidFill>
                    <a:srgbClr val="000000"/>
                  </a:solidFill>
                </a:rPr>
                <a:t>9.0</a:t>
              </a:r>
              <a:endParaRPr lang="en-US" altLang="en-US" sz="1000" b="1" dirty="0"/>
            </a:p>
          </p:txBody>
        </p:sp>
        <p:sp>
          <p:nvSpPr>
            <p:cNvPr id="163" name="Text Box 50">
              <a:extLst>
                <a:ext uri="{FF2B5EF4-FFF2-40B4-BE49-F238E27FC236}">
                  <a16:creationId xmlns:a16="http://schemas.microsoft.com/office/drawing/2014/main" id="{72266BA9-76B7-43F2-A1E2-9BDC43E4B6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96185" y="3186112"/>
              <a:ext cx="687387" cy="43338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KZN</a:t>
              </a:r>
            </a:p>
            <a:p>
              <a:pPr algn="ctr" eaLnBrk="1" hangingPunct="1"/>
              <a:r>
                <a:rPr lang="en-US" altLang="en-US" sz="1000" b="1" dirty="0"/>
                <a:t>1.1</a:t>
              </a:r>
            </a:p>
          </p:txBody>
        </p:sp>
        <p:sp>
          <p:nvSpPr>
            <p:cNvPr id="164" name="Line 51">
              <a:extLst>
                <a:ext uri="{FF2B5EF4-FFF2-40B4-BE49-F238E27FC236}">
                  <a16:creationId xmlns:a16="http://schemas.microsoft.com/office/drawing/2014/main" id="{3B984DF4-FAFF-4F52-9201-24171EAB13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8938" y="2568575"/>
              <a:ext cx="495300" cy="3857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65" name="Line 52">
              <a:extLst>
                <a:ext uri="{FF2B5EF4-FFF2-40B4-BE49-F238E27FC236}">
                  <a16:creationId xmlns:a16="http://schemas.microsoft.com/office/drawing/2014/main" id="{10CC3B48-CA98-4AA1-842C-B0A04A7E2E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80000" y="2733675"/>
              <a:ext cx="331788" cy="555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ZA"/>
            </a:p>
          </p:txBody>
        </p:sp>
        <p:sp>
          <p:nvSpPr>
            <p:cNvPr id="166" name="Text Box 44">
              <a:extLst>
                <a:ext uri="{FF2B5EF4-FFF2-40B4-BE49-F238E27FC236}">
                  <a16:creationId xmlns:a16="http://schemas.microsoft.com/office/drawing/2014/main" id="{4397F88D-60A9-4C2C-824B-F02A87234E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10150" y="4228744"/>
              <a:ext cx="931862" cy="196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BBE0E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595" tIns="29298" rIns="58595" bIns="29298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000" b="1" dirty="0"/>
                <a:t>WC</a:t>
              </a:r>
            </a:p>
            <a:p>
              <a:pPr algn="ctr" eaLnBrk="1" hangingPunct="1"/>
              <a:r>
                <a:rPr lang="en-US" altLang="en-US" sz="1000" b="1" dirty="0"/>
                <a:t>3.6</a:t>
              </a:r>
            </a:p>
          </p:txBody>
        </p:sp>
      </p:grpSp>
      <p:sp>
        <p:nvSpPr>
          <p:cNvPr id="167" name="TextBox 166">
            <a:extLst>
              <a:ext uri="{FF2B5EF4-FFF2-40B4-BE49-F238E27FC236}">
                <a16:creationId xmlns:a16="http://schemas.microsoft.com/office/drawing/2014/main" id="{3A8A421C-25BE-4C45-8449-624334338DA1}"/>
              </a:ext>
            </a:extLst>
          </p:cNvPr>
          <p:cNvSpPr txBox="1"/>
          <p:nvPr/>
        </p:nvSpPr>
        <p:spPr>
          <a:xfrm>
            <a:off x="9636648" y="4523716"/>
            <a:ext cx="941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24 May</a:t>
            </a:r>
          </a:p>
        </p:txBody>
      </p:sp>
    </p:spTree>
    <p:extLst>
      <p:ext uri="{BB962C8B-B14F-4D97-AF65-F5344CB8AC3E}">
        <p14:creationId xmlns:p14="http://schemas.microsoft.com/office/powerpoint/2010/main" val="2910302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2" y="4389887"/>
            <a:ext cx="3557470" cy="23491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u="none" dirty="0">
                <a:solidFill>
                  <a:schemeClr val="bg1"/>
                </a:solidFill>
              </a:rPr>
              <a:t>Proportion testing positive by health sub-district in South Africa </a:t>
            </a:r>
            <a:br>
              <a:rPr lang="en-US" sz="3200" u="none" dirty="0">
                <a:solidFill>
                  <a:schemeClr val="bg1"/>
                </a:solidFill>
              </a:rPr>
            </a:br>
            <a:r>
              <a:rPr lang="en-US" b="0" u="none" dirty="0">
                <a:solidFill>
                  <a:schemeClr val="accent4"/>
                </a:solidFill>
              </a:rPr>
              <a:t>for the week </a:t>
            </a:r>
            <a:r>
              <a:rPr lang="en-ZA" b="0" u="none" dirty="0">
                <a:solidFill>
                  <a:schemeClr val="accent4"/>
                </a:solidFill>
              </a:rPr>
              <a:t>ending </a:t>
            </a:r>
            <a:r>
              <a:rPr lang="en-GB" b="0" u="none" dirty="0">
                <a:solidFill>
                  <a:schemeClr val="accent4"/>
                </a:solidFill>
              </a:rPr>
              <a:t>15 May 2021 (week 19)</a:t>
            </a:r>
            <a:endParaRPr lang="en-ZA" sz="3200" b="0" u="none" dirty="0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6632" y="1358400"/>
            <a:ext cx="3489500" cy="245123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26632" y="4569185"/>
            <a:ext cx="1507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accent1"/>
                </a:solidFill>
              </a:rPr>
              <a:t>Week 18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6632" y="1551858"/>
            <a:ext cx="1507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accent1"/>
                </a:solidFill>
              </a:rPr>
              <a:t>Week 17</a:t>
            </a:r>
          </a:p>
        </p:txBody>
      </p:sp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0120" y="1645285"/>
            <a:ext cx="7421880" cy="5212715"/>
          </a:xfrm>
          <a:prstGeom prst="rect">
            <a:avLst/>
          </a:prstGeom>
        </p:spPr>
      </p:pic>
      <p:sp>
        <p:nvSpPr>
          <p:cNvPr id="5" name="Arrow: Down 4">
            <a:extLst>
              <a:ext uri="{FF2B5EF4-FFF2-40B4-BE49-F238E27FC236}">
                <a16:creationId xmlns:a16="http://schemas.microsoft.com/office/drawing/2014/main" id="{90775617-6E8D-416F-B7AD-D26EADD3A6A5}"/>
              </a:ext>
            </a:extLst>
          </p:cNvPr>
          <p:cNvSpPr/>
          <p:nvPr/>
        </p:nvSpPr>
        <p:spPr>
          <a:xfrm>
            <a:off x="1871382" y="3809631"/>
            <a:ext cx="169689" cy="3026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87AA73F7-BF84-42C0-9D8F-73826B19E263}"/>
              </a:ext>
            </a:extLst>
          </p:cNvPr>
          <p:cNvSpPr/>
          <p:nvPr/>
        </p:nvSpPr>
        <p:spPr>
          <a:xfrm rot="16200000">
            <a:off x="4123567" y="5427674"/>
            <a:ext cx="169992" cy="11231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44036A-EED9-43B2-819B-464AC5CF7A22}"/>
              </a:ext>
            </a:extLst>
          </p:cNvPr>
          <p:cNvSpPr txBox="1"/>
          <p:nvPr/>
        </p:nvSpPr>
        <p:spPr>
          <a:xfrm>
            <a:off x="7218676" y="2490770"/>
            <a:ext cx="1507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>
                <a:solidFill>
                  <a:schemeClr val="accent1"/>
                </a:solidFill>
              </a:rPr>
              <a:t>Week 1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2E5261-D83B-4F87-8AF6-5D85DF4A8B76}"/>
              </a:ext>
            </a:extLst>
          </p:cNvPr>
          <p:cNvSpPr txBox="1"/>
          <p:nvPr/>
        </p:nvSpPr>
        <p:spPr>
          <a:xfrm>
            <a:off x="3647004" y="1551858"/>
            <a:ext cx="5282287" cy="707886"/>
          </a:xfrm>
          <a:prstGeom prst="rect">
            <a:avLst/>
          </a:prstGeom>
          <a:noFill/>
          <a:ln w="38100">
            <a:solidFill>
              <a:schemeClr val="accent4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 the past weeks, districts with high proportion testing positive has been increasing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70361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 descr="Covid-19 outline">
            <a:extLst>
              <a:ext uri="{FF2B5EF4-FFF2-40B4-BE49-F238E27FC236}">
                <a16:creationId xmlns:a16="http://schemas.microsoft.com/office/drawing/2014/main" id="{F549E6E1-7F9F-4C2A-AE1B-0E35698E26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51188" y="3485013"/>
            <a:ext cx="722372" cy="722372"/>
          </a:xfrm>
          <a:prstGeom prst="rect">
            <a:avLst/>
          </a:prstGeom>
        </p:spPr>
      </p:pic>
      <p:pic>
        <p:nvPicPr>
          <p:cNvPr id="32" name="Graphic 31" descr="Covid-19 outline">
            <a:extLst>
              <a:ext uri="{FF2B5EF4-FFF2-40B4-BE49-F238E27FC236}">
                <a16:creationId xmlns:a16="http://schemas.microsoft.com/office/drawing/2014/main" id="{AC6C3F7B-FC82-4438-A3DA-33C4057389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1827" y="4761615"/>
            <a:ext cx="1662430" cy="16624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58A60B-C34C-6A43-9A34-BF458F9BAE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solidFill>
            <a:schemeClr val="tx2"/>
          </a:solidFill>
        </p:spPr>
        <p:txBody>
          <a:bodyPr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of resurgence indicators and trigg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BDD9E1-B7AD-0143-914C-AC882B37775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605588"/>
            <a:ext cx="431800" cy="252412"/>
          </a:xfrm>
        </p:spPr>
        <p:txBody>
          <a:bodyPr/>
          <a:lstStyle/>
          <a:p>
            <a:fld id="{29CFBFE5-830B-A142-B1D4-ADD8112F0156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Graphic 5" descr="Covid-19 outline">
            <a:extLst>
              <a:ext uri="{FF2B5EF4-FFF2-40B4-BE49-F238E27FC236}">
                <a16:creationId xmlns:a16="http://schemas.microsoft.com/office/drawing/2014/main" id="{76F0DDC2-7048-433D-8E30-63E8FD3410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1991" y="4720248"/>
            <a:ext cx="914400" cy="914400"/>
          </a:xfrm>
          <a:prstGeom prst="rect">
            <a:avLst/>
          </a:prstGeom>
        </p:spPr>
      </p:pic>
      <p:pic>
        <p:nvPicPr>
          <p:cNvPr id="7" name="Graphic 6" descr="Covid-19 outline">
            <a:extLst>
              <a:ext uri="{FF2B5EF4-FFF2-40B4-BE49-F238E27FC236}">
                <a16:creationId xmlns:a16="http://schemas.microsoft.com/office/drawing/2014/main" id="{2CFC88C7-8255-4BF5-9177-2D94D20735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78815" y="4811215"/>
            <a:ext cx="561353" cy="561353"/>
          </a:xfrm>
          <a:prstGeom prst="rect">
            <a:avLst/>
          </a:prstGeom>
        </p:spPr>
      </p:pic>
      <p:pic>
        <p:nvPicPr>
          <p:cNvPr id="8" name="Graphic 7" descr="Covid-19 outline">
            <a:extLst>
              <a:ext uri="{FF2B5EF4-FFF2-40B4-BE49-F238E27FC236}">
                <a16:creationId xmlns:a16="http://schemas.microsoft.com/office/drawing/2014/main" id="{B9768744-7427-4B7E-889F-0956D918E7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82097" y="3506367"/>
            <a:ext cx="1307541" cy="1307541"/>
          </a:xfrm>
          <a:prstGeom prst="rect">
            <a:avLst/>
          </a:prstGeom>
        </p:spPr>
      </p:pic>
      <p:pic>
        <p:nvPicPr>
          <p:cNvPr id="9" name="Graphic 8" descr="Covid-19 outline">
            <a:extLst>
              <a:ext uri="{FF2B5EF4-FFF2-40B4-BE49-F238E27FC236}">
                <a16:creationId xmlns:a16="http://schemas.microsoft.com/office/drawing/2014/main" id="{72FF5AC0-8CF0-4509-A3CB-3206EEAEEA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75781" y="698960"/>
            <a:ext cx="1195558" cy="1195558"/>
          </a:xfrm>
          <a:prstGeom prst="rect">
            <a:avLst/>
          </a:prstGeom>
        </p:spPr>
      </p:pic>
      <p:pic>
        <p:nvPicPr>
          <p:cNvPr id="10" name="Graphic 9" descr="Covid-19 outline">
            <a:extLst>
              <a:ext uri="{FF2B5EF4-FFF2-40B4-BE49-F238E27FC236}">
                <a16:creationId xmlns:a16="http://schemas.microsoft.com/office/drawing/2014/main" id="{F5C63BDE-F565-4BD5-A742-4BFB5DC7437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0475" y="2035524"/>
            <a:ext cx="491855" cy="491855"/>
          </a:xfrm>
          <a:prstGeom prst="rect">
            <a:avLst/>
          </a:prstGeom>
        </p:spPr>
      </p:pic>
      <p:pic>
        <p:nvPicPr>
          <p:cNvPr id="11" name="Graphic 10" descr="Covid-19 outline">
            <a:extLst>
              <a:ext uri="{FF2B5EF4-FFF2-40B4-BE49-F238E27FC236}">
                <a16:creationId xmlns:a16="http://schemas.microsoft.com/office/drawing/2014/main" id="{CB203452-9A95-4D40-9F60-C522BC7901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61699" y="1059836"/>
            <a:ext cx="1210729" cy="1210729"/>
          </a:xfrm>
          <a:prstGeom prst="rect">
            <a:avLst/>
          </a:prstGeom>
        </p:spPr>
      </p:pic>
      <p:pic>
        <p:nvPicPr>
          <p:cNvPr id="13" name="Graphic 12" descr="Covid-19 outline">
            <a:extLst>
              <a:ext uri="{FF2B5EF4-FFF2-40B4-BE49-F238E27FC236}">
                <a16:creationId xmlns:a16="http://schemas.microsoft.com/office/drawing/2014/main" id="{0ECCB2D9-3E12-4CDE-8C72-112E99100E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9290" y="1026182"/>
            <a:ext cx="914400" cy="914400"/>
          </a:xfrm>
          <a:prstGeom prst="rect">
            <a:avLst/>
          </a:prstGeom>
        </p:spPr>
      </p:pic>
      <p:pic>
        <p:nvPicPr>
          <p:cNvPr id="15" name="Graphic 14" descr="Covid-19 outline">
            <a:extLst>
              <a:ext uri="{FF2B5EF4-FFF2-40B4-BE49-F238E27FC236}">
                <a16:creationId xmlns:a16="http://schemas.microsoft.com/office/drawing/2014/main" id="{B6D769BF-4586-4276-8ECA-FEAA79670D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063" y="4246083"/>
            <a:ext cx="1223682" cy="1223682"/>
          </a:xfrm>
          <a:prstGeom prst="rect">
            <a:avLst/>
          </a:prstGeom>
        </p:spPr>
      </p:pic>
      <p:pic>
        <p:nvPicPr>
          <p:cNvPr id="16" name="Graphic 15" descr="Covid-19 outline">
            <a:extLst>
              <a:ext uri="{FF2B5EF4-FFF2-40B4-BE49-F238E27FC236}">
                <a16:creationId xmlns:a16="http://schemas.microsoft.com/office/drawing/2014/main" id="{224DD417-6B86-4BBF-9C94-FE32966527A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7280" y="5173918"/>
            <a:ext cx="806021" cy="806021"/>
          </a:xfrm>
          <a:prstGeom prst="rect">
            <a:avLst/>
          </a:prstGeom>
        </p:spPr>
      </p:pic>
      <p:pic>
        <p:nvPicPr>
          <p:cNvPr id="17" name="Graphic 16" descr="Covid-19 outline">
            <a:extLst>
              <a:ext uri="{FF2B5EF4-FFF2-40B4-BE49-F238E27FC236}">
                <a16:creationId xmlns:a16="http://schemas.microsoft.com/office/drawing/2014/main" id="{09C7BBE1-D4DD-4F9E-B19C-9F5F3991970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17925" y="5339699"/>
            <a:ext cx="495789" cy="495789"/>
          </a:xfrm>
          <a:prstGeom prst="rect">
            <a:avLst/>
          </a:prstGeom>
        </p:spPr>
      </p:pic>
      <p:pic>
        <p:nvPicPr>
          <p:cNvPr id="19" name="Graphic 18" descr="Covid-19 outline">
            <a:extLst>
              <a:ext uri="{FF2B5EF4-FFF2-40B4-BE49-F238E27FC236}">
                <a16:creationId xmlns:a16="http://schemas.microsoft.com/office/drawing/2014/main" id="{ACCDBDB7-5A77-4545-9601-4166A6E6521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89795" y="1198851"/>
            <a:ext cx="806021" cy="806021"/>
          </a:xfrm>
          <a:prstGeom prst="rect">
            <a:avLst/>
          </a:prstGeom>
        </p:spPr>
      </p:pic>
      <p:pic>
        <p:nvPicPr>
          <p:cNvPr id="21" name="Graphic 20" descr="Covid-19 outline">
            <a:extLst>
              <a:ext uri="{FF2B5EF4-FFF2-40B4-BE49-F238E27FC236}">
                <a16:creationId xmlns:a16="http://schemas.microsoft.com/office/drawing/2014/main" id="{F8F738E6-D3C8-4D59-8211-51CCF78D147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5917" y="3647796"/>
            <a:ext cx="695532" cy="695532"/>
          </a:xfrm>
          <a:prstGeom prst="rect">
            <a:avLst/>
          </a:prstGeom>
        </p:spPr>
      </p:pic>
      <p:pic>
        <p:nvPicPr>
          <p:cNvPr id="23" name="Graphic 22" descr="Covid-19 outline">
            <a:extLst>
              <a:ext uri="{FF2B5EF4-FFF2-40B4-BE49-F238E27FC236}">
                <a16:creationId xmlns:a16="http://schemas.microsoft.com/office/drawing/2014/main" id="{0ECCE485-C145-4A90-BED4-2AA2D908D1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21" y="1240175"/>
            <a:ext cx="806021" cy="806021"/>
          </a:xfrm>
          <a:prstGeom prst="rect">
            <a:avLst/>
          </a:prstGeom>
        </p:spPr>
      </p:pic>
      <p:pic>
        <p:nvPicPr>
          <p:cNvPr id="25" name="Graphic 24" descr="Covid-19 outline">
            <a:extLst>
              <a:ext uri="{FF2B5EF4-FFF2-40B4-BE49-F238E27FC236}">
                <a16:creationId xmlns:a16="http://schemas.microsoft.com/office/drawing/2014/main" id="{71E4E969-8867-44AB-BDCA-388F3C35D39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29039" y="2366644"/>
            <a:ext cx="574704" cy="574704"/>
          </a:xfrm>
          <a:prstGeom prst="rect">
            <a:avLst/>
          </a:prstGeom>
        </p:spPr>
      </p:pic>
      <p:pic>
        <p:nvPicPr>
          <p:cNvPr id="26" name="Graphic 25" descr="Covid-19 outline">
            <a:extLst>
              <a:ext uri="{FF2B5EF4-FFF2-40B4-BE49-F238E27FC236}">
                <a16:creationId xmlns:a16="http://schemas.microsoft.com/office/drawing/2014/main" id="{02FB2D1D-BF29-4AD9-9A57-A297685444B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69450" y="1059836"/>
            <a:ext cx="741026" cy="741026"/>
          </a:xfrm>
          <a:prstGeom prst="rect">
            <a:avLst/>
          </a:prstGeom>
        </p:spPr>
      </p:pic>
      <p:pic>
        <p:nvPicPr>
          <p:cNvPr id="34" name="Graphic 33" descr="Covid-19 outline">
            <a:extLst>
              <a:ext uri="{FF2B5EF4-FFF2-40B4-BE49-F238E27FC236}">
                <a16:creationId xmlns:a16="http://schemas.microsoft.com/office/drawing/2014/main" id="{9063F1A9-8A58-45AD-AA5B-AD3C9C8F27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39944" y="-298826"/>
            <a:ext cx="927597" cy="927597"/>
          </a:xfrm>
          <a:prstGeom prst="rect">
            <a:avLst/>
          </a:prstGeom>
        </p:spPr>
      </p:pic>
      <p:pic>
        <p:nvPicPr>
          <p:cNvPr id="35" name="Graphic 34" descr="Covid-19 outline">
            <a:extLst>
              <a:ext uri="{FF2B5EF4-FFF2-40B4-BE49-F238E27FC236}">
                <a16:creationId xmlns:a16="http://schemas.microsoft.com/office/drawing/2014/main" id="{BA306A51-1D8D-4DF2-88F8-42AFDDD52A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51685" y="6291176"/>
            <a:ext cx="561353" cy="561353"/>
          </a:xfrm>
          <a:prstGeom prst="rect">
            <a:avLst/>
          </a:prstGeom>
        </p:spPr>
      </p:pic>
      <p:pic>
        <p:nvPicPr>
          <p:cNvPr id="36" name="Graphic 35" descr="Covid-19 outline">
            <a:extLst>
              <a:ext uri="{FF2B5EF4-FFF2-40B4-BE49-F238E27FC236}">
                <a16:creationId xmlns:a16="http://schemas.microsoft.com/office/drawing/2014/main" id="{A3FAFAE9-597D-499D-B3D2-6F6B7387F6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32266" y="5402341"/>
            <a:ext cx="1010387" cy="1010387"/>
          </a:xfrm>
          <a:prstGeom prst="rect">
            <a:avLst/>
          </a:prstGeom>
        </p:spPr>
      </p:pic>
      <p:pic>
        <p:nvPicPr>
          <p:cNvPr id="37" name="Graphic 36" descr="Covid-19 outline">
            <a:extLst>
              <a:ext uri="{FF2B5EF4-FFF2-40B4-BE49-F238E27FC236}">
                <a16:creationId xmlns:a16="http://schemas.microsoft.com/office/drawing/2014/main" id="{E8887C6A-9FF7-4D02-8F17-3D9C31FACA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35520" y="6505565"/>
            <a:ext cx="561353" cy="561353"/>
          </a:xfrm>
          <a:prstGeom prst="rect">
            <a:avLst/>
          </a:prstGeom>
        </p:spPr>
      </p:pic>
      <p:pic>
        <p:nvPicPr>
          <p:cNvPr id="38" name="Graphic 37" descr="Covid-19 outline">
            <a:extLst>
              <a:ext uri="{FF2B5EF4-FFF2-40B4-BE49-F238E27FC236}">
                <a16:creationId xmlns:a16="http://schemas.microsoft.com/office/drawing/2014/main" id="{C2F4FCD1-8E16-4B41-A051-B054EB94A5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4227" y="164972"/>
            <a:ext cx="561353" cy="561353"/>
          </a:xfrm>
          <a:prstGeom prst="rect">
            <a:avLst/>
          </a:prstGeom>
        </p:spPr>
      </p:pic>
      <p:pic>
        <p:nvPicPr>
          <p:cNvPr id="39" name="Graphic 38" descr="Covid-19 outline">
            <a:extLst>
              <a:ext uri="{FF2B5EF4-FFF2-40B4-BE49-F238E27FC236}">
                <a16:creationId xmlns:a16="http://schemas.microsoft.com/office/drawing/2014/main" id="{0362DDC6-F081-4FA2-BDB0-521BECE730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79909" y="-234760"/>
            <a:ext cx="1077495" cy="1077495"/>
          </a:xfrm>
          <a:prstGeom prst="rect">
            <a:avLst/>
          </a:prstGeom>
        </p:spPr>
      </p:pic>
      <p:pic>
        <p:nvPicPr>
          <p:cNvPr id="40" name="Graphic 39" descr="Covid-19 outline">
            <a:extLst>
              <a:ext uri="{FF2B5EF4-FFF2-40B4-BE49-F238E27FC236}">
                <a16:creationId xmlns:a16="http://schemas.microsoft.com/office/drawing/2014/main" id="{AE825837-6867-4972-BB57-81217393F0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0744" y="718086"/>
            <a:ext cx="491855" cy="491855"/>
          </a:xfrm>
          <a:prstGeom prst="rect">
            <a:avLst/>
          </a:prstGeom>
        </p:spPr>
      </p:pic>
      <p:pic>
        <p:nvPicPr>
          <p:cNvPr id="41" name="Graphic 40" descr="Covid-19 outline">
            <a:extLst>
              <a:ext uri="{FF2B5EF4-FFF2-40B4-BE49-F238E27FC236}">
                <a16:creationId xmlns:a16="http://schemas.microsoft.com/office/drawing/2014/main" id="{74C01679-3BED-4460-B6C2-9D5390ABAF3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2402" y="50815"/>
            <a:ext cx="292362" cy="29236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D32E265-E809-449A-A079-05359A847FC2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356211" y="5634647"/>
            <a:ext cx="3149489" cy="113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5382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50E6EBC-0C47-458B-9C61-6597EAA10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52736"/>
          </a:xfrm>
        </p:spPr>
        <p:txBody>
          <a:bodyPr/>
          <a:lstStyle/>
          <a:p>
            <a:pPr algn="ctr"/>
            <a:r>
              <a:rPr lang="en-US" sz="3600" u="none" dirty="0"/>
              <a:t>Provincial Overview of Sustained Increase &amp; Wave Monitoring</a:t>
            </a:r>
            <a:endParaRPr lang="en-GB" sz="3600" u="non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 cstate="print"/>
          <a:stretch>
            <a:fillRect/>
          </a:stretch>
        </p:blipFill>
        <p:spPr>
          <a:xfrm>
            <a:off x="1220236" y="1074187"/>
            <a:ext cx="9751527" cy="487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337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__powerpoint_presentation_with_slide_number.pptx" id="{5AA5AD89-7584-4D0E-B061-DBAFE6114C3A}" vid="{313D8ABB-B1E1-4E67-B524-664A81E8AD7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550D18EAED0A41851B741E7241197F" ma:contentTypeVersion="4" ma:contentTypeDescription="Create a new document." ma:contentTypeScope="" ma:versionID="7af8eeef4cfbd231a7bad46cdd91983f">
  <xsd:schema xmlns:xsd="http://www.w3.org/2001/XMLSchema" xmlns:xs="http://www.w3.org/2001/XMLSchema" xmlns:p="http://schemas.microsoft.com/office/2006/metadata/properties" xmlns:ns3="a9484867-edf0-466c-bef6-12db1a9d804c" targetNamespace="http://schemas.microsoft.com/office/2006/metadata/properties" ma:root="true" ma:fieldsID="389c2c8939f5f13a35e8e563447fa96a" ns3:_="">
    <xsd:import namespace="a9484867-edf0-466c-bef6-12db1a9d804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484867-edf0-466c-bef6-12db1a9d80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5BA789-2833-4A72-9064-F6D010BAB1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EAF33B-4AF9-497E-A601-CCA6BCAF44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484867-edf0-466c-bef6-12db1a9d80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5C6994-79AE-46C6-BF2A-CCD8ABC80C8A}">
  <ds:schemaRefs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a9484867-edf0-466c-bef6-12db1a9d804c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41</TotalTime>
  <Words>737</Words>
  <Application>Microsoft Office PowerPoint</Application>
  <PresentationFormat>Widescreen</PresentationFormat>
  <Paragraphs>174</Paragraphs>
  <Slides>19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Arial</vt:lpstr>
      <vt:lpstr>Calibri</vt:lpstr>
      <vt:lpstr>Century Gothic</vt:lpstr>
      <vt:lpstr>Courier New</vt:lpstr>
      <vt:lpstr>Segoe UI</vt:lpstr>
      <vt:lpstr>Tahoma</vt:lpstr>
      <vt:lpstr>Verdana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PowerPoint Presentation</vt:lpstr>
      <vt:lpstr>Introduction </vt:lpstr>
      <vt:lpstr>Average daily tests &amp; proportion of positive tests</vt:lpstr>
      <vt:lpstr>Confirmed SARS-Cov-2 cases by province (7-day moving average cases per 100,000 population – up to 27 May 2021)</vt:lpstr>
      <vt:lpstr>Confirmed SARS-Cov-2 cases by province (7-day moving average cases per 100,000 population – up to 27 May 2021)</vt:lpstr>
      <vt:lpstr>Temporal provincial trends in Covid-19 cases</vt:lpstr>
      <vt:lpstr>Proportion testing positive by health sub-district in South Africa  for the week ending 15 May 2021 (week 19)</vt:lpstr>
      <vt:lpstr>PowerPoint Presentation</vt:lpstr>
      <vt:lpstr>Provincial Overview of Sustained Increase &amp; Wave Monitoring</vt:lpstr>
      <vt:lpstr>Triggers for New COVID-19 Restrictions: 7 to 14 days advance warning</vt:lpstr>
      <vt:lpstr>Hospitalisation &amp; Death Trends per province As of 21 May 2021</vt:lpstr>
      <vt:lpstr>National Oxygen Volume Trends</vt:lpstr>
      <vt:lpstr>Justification for urgent  change in  the restrictions </vt:lpstr>
      <vt:lpstr>Justification for urgent  change in  the restrictions</vt:lpstr>
      <vt:lpstr>PowerPoint Presentation</vt:lpstr>
      <vt:lpstr>Registrations as at 28 May at 10h40  </vt:lpstr>
      <vt:lpstr>Vaccinations – As at Midnight on 26 May 2021</vt:lpstr>
      <vt:lpstr>COVID-19 Vaccination Sit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drack Mngemane</dc:creator>
  <cp:lastModifiedBy>Rashaad</cp:lastModifiedBy>
  <cp:revision>231</cp:revision>
  <dcterms:created xsi:type="dcterms:W3CDTF">2021-01-11T05:47:24Z</dcterms:created>
  <dcterms:modified xsi:type="dcterms:W3CDTF">2021-05-31T06:2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550D18EAED0A41851B741E7241197F</vt:lpwstr>
  </property>
</Properties>
</file>